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Lst>
  <p:notesMasterIdLst>
    <p:notesMasterId r:id="rId71"/>
  </p:notesMasterIdLst>
  <p:sldIdLst>
    <p:sldId id="292" r:id="rId3"/>
    <p:sldId id="259" r:id="rId4"/>
    <p:sldId id="3327" r:id="rId5"/>
    <p:sldId id="4699" r:id="rId6"/>
    <p:sldId id="4508" r:id="rId7"/>
    <p:sldId id="4510" r:id="rId8"/>
    <p:sldId id="4274" r:id="rId9"/>
    <p:sldId id="4275" r:id="rId10"/>
    <p:sldId id="4515" r:id="rId11"/>
    <p:sldId id="4497" r:id="rId12"/>
    <p:sldId id="4221" r:id="rId13"/>
    <p:sldId id="4697" r:id="rId14"/>
    <p:sldId id="4499" r:id="rId15"/>
    <p:sldId id="4500" r:id="rId16"/>
    <p:sldId id="283" r:id="rId17"/>
    <p:sldId id="4524" r:id="rId18"/>
    <p:sldId id="4525" r:id="rId19"/>
    <p:sldId id="263" r:id="rId20"/>
    <p:sldId id="4527" r:id="rId21"/>
    <p:sldId id="4526" r:id="rId22"/>
    <p:sldId id="4528" r:id="rId23"/>
    <p:sldId id="4694" r:id="rId24"/>
    <p:sldId id="266" r:id="rId25"/>
    <p:sldId id="267" r:id="rId26"/>
    <p:sldId id="261" r:id="rId27"/>
    <p:sldId id="4695" r:id="rId28"/>
    <p:sldId id="302" r:id="rId29"/>
    <p:sldId id="4509" r:id="rId30"/>
    <p:sldId id="4517" r:id="rId31"/>
    <p:sldId id="4522" r:id="rId32"/>
    <p:sldId id="4518" r:id="rId33"/>
    <p:sldId id="4523" r:id="rId34"/>
    <p:sldId id="4085" r:id="rId35"/>
    <p:sldId id="4704" r:id="rId36"/>
    <p:sldId id="4520" r:id="rId37"/>
    <p:sldId id="4519" r:id="rId38"/>
    <p:sldId id="4512" r:id="rId39"/>
    <p:sldId id="4506" r:id="rId40"/>
    <p:sldId id="4493" r:id="rId41"/>
    <p:sldId id="4696" r:id="rId42"/>
    <p:sldId id="4675" r:id="rId43"/>
    <p:sldId id="4692" r:id="rId44"/>
    <p:sldId id="4693" r:id="rId45"/>
    <p:sldId id="335" r:id="rId46"/>
    <p:sldId id="339" r:id="rId47"/>
    <p:sldId id="338" r:id="rId48"/>
    <p:sldId id="4691" r:id="rId49"/>
    <p:sldId id="337" r:id="rId50"/>
    <p:sldId id="336" r:id="rId51"/>
    <p:sldId id="4681" r:id="rId52"/>
    <p:sldId id="4678" r:id="rId53"/>
    <p:sldId id="4700" r:id="rId54"/>
    <p:sldId id="4701" r:id="rId55"/>
    <p:sldId id="4702" r:id="rId56"/>
    <p:sldId id="4703" r:id="rId57"/>
    <p:sldId id="4676" r:id="rId58"/>
    <p:sldId id="4677" r:id="rId59"/>
    <p:sldId id="4682" r:id="rId60"/>
    <p:sldId id="4689" r:id="rId61"/>
    <p:sldId id="4683" r:id="rId62"/>
    <p:sldId id="4684" r:id="rId63"/>
    <p:sldId id="4685" r:id="rId64"/>
    <p:sldId id="4686" r:id="rId65"/>
    <p:sldId id="4687" r:id="rId66"/>
    <p:sldId id="4688" r:id="rId67"/>
    <p:sldId id="4690" r:id="rId68"/>
    <p:sldId id="4705" r:id="rId69"/>
    <p:sldId id="4698"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3" d="100"/>
          <a:sy n="113" d="100"/>
        </p:scale>
        <p:origin x="96" y="158"/>
      </p:cViewPr>
      <p:guideLst/>
    </p:cSldViewPr>
  </p:slideViewPr>
  <p:notesTextViewPr>
    <p:cViewPr>
      <p:scale>
        <a:sx n="1" d="1"/>
        <a:sy n="1" d="1"/>
      </p:scale>
      <p:origin x="0" y="0"/>
    </p:cViewPr>
  </p:notesTextViewPr>
  <p:notesViewPr>
    <p:cSldViewPr snapToGrid="0">
      <p:cViewPr varScale="1">
        <p:scale>
          <a:sx n="50" d="100"/>
          <a:sy n="50" d="100"/>
        </p:scale>
        <p:origin x="2708" y="5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svg"/><Relationship Id="rId1" Type="http://schemas.openxmlformats.org/officeDocument/2006/relationships/image" Target="../media/image42.png"/><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C77288-A6E6-44A5-BE61-4FE1B7B349CA}"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52429AE1-7C84-43E9-95C0-2B7092D7248B}">
      <dgm:prSet phldrT="[Text]"/>
      <dgm:spPr/>
      <dgm:t>
        <a:bodyPr/>
        <a:lstStyle/>
        <a:p>
          <a:r>
            <a:rPr lang="en-US" dirty="0"/>
            <a:t>Staffing and Training </a:t>
          </a:r>
        </a:p>
      </dgm:t>
    </dgm:pt>
    <dgm:pt modelId="{B694E5C2-87A7-446D-9035-FA7DFD95277A}" type="parTrans" cxnId="{CB18ABE2-84AC-436C-98B5-3D8EAEFC95B9}">
      <dgm:prSet/>
      <dgm:spPr/>
      <dgm:t>
        <a:bodyPr/>
        <a:lstStyle/>
        <a:p>
          <a:endParaRPr lang="en-US"/>
        </a:p>
      </dgm:t>
    </dgm:pt>
    <dgm:pt modelId="{BC872892-A4E7-43D4-96D7-B81AB3C80E5F}" type="sibTrans" cxnId="{CB18ABE2-84AC-436C-98B5-3D8EAEFC95B9}">
      <dgm:prSet/>
      <dgm:spPr/>
      <dgm:t>
        <a:bodyPr/>
        <a:lstStyle/>
        <a:p>
          <a:endParaRPr lang="en-US"/>
        </a:p>
      </dgm:t>
    </dgm:pt>
    <dgm:pt modelId="{1FDB012B-C5BE-42F8-9DDA-2F002A142D65}">
      <dgm:prSet/>
      <dgm:spPr/>
      <dgm:t>
        <a:bodyPr/>
        <a:lstStyle/>
        <a:p>
          <a:r>
            <a:rPr lang="en-US" dirty="0"/>
            <a:t>Procurement of Equipment</a:t>
          </a:r>
        </a:p>
      </dgm:t>
    </dgm:pt>
    <dgm:pt modelId="{5A020724-52F7-4B6B-A21F-9382138CDB47}" type="parTrans" cxnId="{2C3358D8-D922-4B50-91F3-03C4D72A7D47}">
      <dgm:prSet/>
      <dgm:spPr/>
      <dgm:t>
        <a:bodyPr/>
        <a:lstStyle/>
        <a:p>
          <a:endParaRPr lang="en-US"/>
        </a:p>
      </dgm:t>
    </dgm:pt>
    <dgm:pt modelId="{E26F1D3C-E2FA-4AED-A892-A1FFC885F9C6}" type="sibTrans" cxnId="{2C3358D8-D922-4B50-91F3-03C4D72A7D47}">
      <dgm:prSet/>
      <dgm:spPr/>
      <dgm:t>
        <a:bodyPr/>
        <a:lstStyle/>
        <a:p>
          <a:endParaRPr lang="en-US"/>
        </a:p>
      </dgm:t>
    </dgm:pt>
    <dgm:pt modelId="{D5F8FD63-C0A7-4949-B834-C466D52A07BA}">
      <dgm:prSet/>
      <dgm:spPr/>
      <dgm:t>
        <a:bodyPr/>
        <a:lstStyle/>
        <a:p>
          <a:r>
            <a:rPr lang="en-US" dirty="0"/>
            <a:t>Engagement with the Ministry of Health</a:t>
          </a:r>
        </a:p>
      </dgm:t>
    </dgm:pt>
    <dgm:pt modelId="{C73EFCC2-EC02-473D-B37C-8232CA6023DF}" type="parTrans" cxnId="{726E8043-CBC0-4C06-BD4A-E608D4613F85}">
      <dgm:prSet/>
      <dgm:spPr/>
      <dgm:t>
        <a:bodyPr/>
        <a:lstStyle/>
        <a:p>
          <a:endParaRPr lang="en-US"/>
        </a:p>
      </dgm:t>
    </dgm:pt>
    <dgm:pt modelId="{06597A7C-1C74-448F-8773-6742EF84F840}" type="sibTrans" cxnId="{726E8043-CBC0-4C06-BD4A-E608D4613F85}">
      <dgm:prSet/>
      <dgm:spPr/>
      <dgm:t>
        <a:bodyPr/>
        <a:lstStyle/>
        <a:p>
          <a:endParaRPr lang="en-US"/>
        </a:p>
      </dgm:t>
    </dgm:pt>
    <dgm:pt modelId="{3413E299-16BB-4A4C-BDCD-42F6B255DB3B}" type="pres">
      <dgm:prSet presAssocID="{ABC77288-A6E6-44A5-BE61-4FE1B7B349CA}" presName="Name0" presStyleCnt="0">
        <dgm:presLayoutVars>
          <dgm:dir/>
          <dgm:resizeHandles val="exact"/>
        </dgm:presLayoutVars>
      </dgm:prSet>
      <dgm:spPr/>
    </dgm:pt>
    <dgm:pt modelId="{42714C64-3025-4984-9741-37BD4A335316}" type="pres">
      <dgm:prSet presAssocID="{52429AE1-7C84-43E9-95C0-2B7092D7248B}" presName="composite" presStyleCnt="0"/>
      <dgm:spPr/>
    </dgm:pt>
    <dgm:pt modelId="{4A7139CA-D8EC-4D7E-88F0-02BA9E1B4C01}" type="pres">
      <dgm:prSet presAssocID="{52429AE1-7C84-43E9-95C0-2B7092D7248B}" presName="rect1" presStyleLbl="trAlignAcc1" presStyleIdx="0" presStyleCnt="3">
        <dgm:presLayoutVars>
          <dgm:bulletEnabled val="1"/>
        </dgm:presLayoutVars>
      </dgm:prSet>
      <dgm:spPr/>
    </dgm:pt>
    <dgm:pt modelId="{A70FBD98-8F7A-496C-B555-0D58670D2F36}" type="pres">
      <dgm:prSet presAssocID="{52429AE1-7C84-43E9-95C0-2B7092D7248B}" presName="rect2" presStyleLbl="fgImgPlac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Office worker"/>
        </a:ext>
      </dgm:extLst>
    </dgm:pt>
    <dgm:pt modelId="{77052AE6-9FE3-4707-B2A9-D1CE20C01920}" type="pres">
      <dgm:prSet presAssocID="{BC872892-A4E7-43D4-96D7-B81AB3C80E5F}" presName="sibTrans" presStyleCnt="0"/>
      <dgm:spPr/>
    </dgm:pt>
    <dgm:pt modelId="{8F4C818E-14CF-4C45-AACE-D32C539F1482}" type="pres">
      <dgm:prSet presAssocID="{1FDB012B-C5BE-42F8-9DDA-2F002A142D65}" presName="composite" presStyleCnt="0"/>
      <dgm:spPr/>
    </dgm:pt>
    <dgm:pt modelId="{B9204946-7386-40A0-AEA6-BD5B99028444}" type="pres">
      <dgm:prSet presAssocID="{1FDB012B-C5BE-42F8-9DDA-2F002A142D65}" presName="rect1" presStyleLbl="trAlignAcc1" presStyleIdx="1" presStyleCnt="3">
        <dgm:presLayoutVars>
          <dgm:bulletEnabled val="1"/>
        </dgm:presLayoutVars>
      </dgm:prSet>
      <dgm:spPr/>
    </dgm:pt>
    <dgm:pt modelId="{8C8848BD-AAE1-4A09-A43E-FA539CBDA454}" type="pres">
      <dgm:prSet presAssocID="{1FDB012B-C5BE-42F8-9DDA-2F002A142D65}" presName="rect2" presStyleLbl="fgImgPlac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Tools"/>
        </a:ext>
      </dgm:extLst>
    </dgm:pt>
    <dgm:pt modelId="{3AFD85A8-1547-4B55-A473-A06AD7A6EF69}" type="pres">
      <dgm:prSet presAssocID="{E26F1D3C-E2FA-4AED-A892-A1FFC885F9C6}" presName="sibTrans" presStyleCnt="0"/>
      <dgm:spPr/>
    </dgm:pt>
    <dgm:pt modelId="{DD54FAFD-71D8-4296-B70B-FCCE6E86CA27}" type="pres">
      <dgm:prSet presAssocID="{D5F8FD63-C0A7-4949-B834-C466D52A07BA}" presName="composite" presStyleCnt="0"/>
      <dgm:spPr/>
    </dgm:pt>
    <dgm:pt modelId="{769397FB-23DC-458C-909E-CF00112383AB}" type="pres">
      <dgm:prSet presAssocID="{D5F8FD63-C0A7-4949-B834-C466D52A07BA}" presName="rect1" presStyleLbl="trAlignAcc1" presStyleIdx="2" presStyleCnt="3">
        <dgm:presLayoutVars>
          <dgm:bulletEnabled val="1"/>
        </dgm:presLayoutVars>
      </dgm:prSet>
      <dgm:spPr/>
    </dgm:pt>
    <dgm:pt modelId="{95C064A6-FD7C-44D0-8F21-C8D4CB9BB53E}" type="pres">
      <dgm:prSet presAssocID="{D5F8FD63-C0A7-4949-B834-C466D52A07BA}" presName="rect2"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Medical"/>
        </a:ext>
      </dgm:extLst>
    </dgm:pt>
  </dgm:ptLst>
  <dgm:cxnLst>
    <dgm:cxn modelId="{1D073742-101C-4449-8BE9-5B17C7915582}" type="presOf" srcId="{52429AE1-7C84-43E9-95C0-2B7092D7248B}" destId="{4A7139CA-D8EC-4D7E-88F0-02BA9E1B4C01}" srcOrd="0" destOrd="0" presId="urn:microsoft.com/office/officeart/2008/layout/PictureStrips"/>
    <dgm:cxn modelId="{726E8043-CBC0-4C06-BD4A-E608D4613F85}" srcId="{ABC77288-A6E6-44A5-BE61-4FE1B7B349CA}" destId="{D5F8FD63-C0A7-4949-B834-C466D52A07BA}" srcOrd="2" destOrd="0" parTransId="{C73EFCC2-EC02-473D-B37C-8232CA6023DF}" sibTransId="{06597A7C-1C74-448F-8773-6742EF84F840}"/>
    <dgm:cxn modelId="{1CF62D92-5A6C-4725-B342-884C4C0C6D41}" type="presOf" srcId="{1FDB012B-C5BE-42F8-9DDA-2F002A142D65}" destId="{B9204946-7386-40A0-AEA6-BD5B99028444}" srcOrd="0" destOrd="0" presId="urn:microsoft.com/office/officeart/2008/layout/PictureStrips"/>
    <dgm:cxn modelId="{2C3358D8-D922-4B50-91F3-03C4D72A7D47}" srcId="{ABC77288-A6E6-44A5-BE61-4FE1B7B349CA}" destId="{1FDB012B-C5BE-42F8-9DDA-2F002A142D65}" srcOrd="1" destOrd="0" parTransId="{5A020724-52F7-4B6B-A21F-9382138CDB47}" sibTransId="{E26F1D3C-E2FA-4AED-A892-A1FFC885F9C6}"/>
    <dgm:cxn modelId="{03460EDD-2516-4DE1-8B93-30B8E1D1A615}" type="presOf" srcId="{ABC77288-A6E6-44A5-BE61-4FE1B7B349CA}" destId="{3413E299-16BB-4A4C-BDCD-42F6B255DB3B}" srcOrd="0" destOrd="0" presId="urn:microsoft.com/office/officeart/2008/layout/PictureStrips"/>
    <dgm:cxn modelId="{726D5CE0-B5DF-4747-BF9D-B9F05C1493A4}" type="presOf" srcId="{D5F8FD63-C0A7-4949-B834-C466D52A07BA}" destId="{769397FB-23DC-458C-909E-CF00112383AB}" srcOrd="0" destOrd="0" presId="urn:microsoft.com/office/officeart/2008/layout/PictureStrips"/>
    <dgm:cxn modelId="{CB18ABE2-84AC-436C-98B5-3D8EAEFC95B9}" srcId="{ABC77288-A6E6-44A5-BE61-4FE1B7B349CA}" destId="{52429AE1-7C84-43E9-95C0-2B7092D7248B}" srcOrd="0" destOrd="0" parTransId="{B694E5C2-87A7-446D-9035-FA7DFD95277A}" sibTransId="{BC872892-A4E7-43D4-96D7-B81AB3C80E5F}"/>
    <dgm:cxn modelId="{0559EAA5-714E-4950-8372-7D6BA660D40D}" type="presParOf" srcId="{3413E299-16BB-4A4C-BDCD-42F6B255DB3B}" destId="{42714C64-3025-4984-9741-37BD4A335316}" srcOrd="0" destOrd="0" presId="urn:microsoft.com/office/officeart/2008/layout/PictureStrips"/>
    <dgm:cxn modelId="{BAE3FECB-959A-48A6-ABAB-2CBBB541CE1A}" type="presParOf" srcId="{42714C64-3025-4984-9741-37BD4A335316}" destId="{4A7139CA-D8EC-4D7E-88F0-02BA9E1B4C01}" srcOrd="0" destOrd="0" presId="urn:microsoft.com/office/officeart/2008/layout/PictureStrips"/>
    <dgm:cxn modelId="{00318DC3-6DA0-4E7C-85E7-0F9EB8AB2641}" type="presParOf" srcId="{42714C64-3025-4984-9741-37BD4A335316}" destId="{A70FBD98-8F7A-496C-B555-0D58670D2F36}" srcOrd="1" destOrd="0" presId="urn:microsoft.com/office/officeart/2008/layout/PictureStrips"/>
    <dgm:cxn modelId="{DBA7C6D1-668B-4B1F-8A62-6702EBBB88A0}" type="presParOf" srcId="{3413E299-16BB-4A4C-BDCD-42F6B255DB3B}" destId="{77052AE6-9FE3-4707-B2A9-D1CE20C01920}" srcOrd="1" destOrd="0" presId="urn:microsoft.com/office/officeart/2008/layout/PictureStrips"/>
    <dgm:cxn modelId="{636B53CC-D799-4895-8F4A-716F418C2190}" type="presParOf" srcId="{3413E299-16BB-4A4C-BDCD-42F6B255DB3B}" destId="{8F4C818E-14CF-4C45-AACE-D32C539F1482}" srcOrd="2" destOrd="0" presId="urn:microsoft.com/office/officeart/2008/layout/PictureStrips"/>
    <dgm:cxn modelId="{201DBAD3-FEE9-4682-B071-3A2AFF471917}" type="presParOf" srcId="{8F4C818E-14CF-4C45-AACE-D32C539F1482}" destId="{B9204946-7386-40A0-AEA6-BD5B99028444}" srcOrd="0" destOrd="0" presId="urn:microsoft.com/office/officeart/2008/layout/PictureStrips"/>
    <dgm:cxn modelId="{6DBFA45B-4077-4A89-99BC-25A97091D1AC}" type="presParOf" srcId="{8F4C818E-14CF-4C45-AACE-D32C539F1482}" destId="{8C8848BD-AAE1-4A09-A43E-FA539CBDA454}" srcOrd="1" destOrd="0" presId="urn:microsoft.com/office/officeart/2008/layout/PictureStrips"/>
    <dgm:cxn modelId="{A65EF47F-05E8-4C08-BFD3-BDA9C276B44C}" type="presParOf" srcId="{3413E299-16BB-4A4C-BDCD-42F6B255DB3B}" destId="{3AFD85A8-1547-4B55-A473-A06AD7A6EF69}" srcOrd="3" destOrd="0" presId="urn:microsoft.com/office/officeart/2008/layout/PictureStrips"/>
    <dgm:cxn modelId="{1397962E-DCB6-4251-9FE0-65C2B3319C07}" type="presParOf" srcId="{3413E299-16BB-4A4C-BDCD-42F6B255DB3B}" destId="{DD54FAFD-71D8-4296-B70B-FCCE6E86CA27}" srcOrd="4" destOrd="0" presId="urn:microsoft.com/office/officeart/2008/layout/PictureStrips"/>
    <dgm:cxn modelId="{20C7F7AF-5868-46C3-9935-7961DE536B61}" type="presParOf" srcId="{DD54FAFD-71D8-4296-B70B-FCCE6E86CA27}" destId="{769397FB-23DC-458C-909E-CF00112383AB}" srcOrd="0" destOrd="0" presId="urn:microsoft.com/office/officeart/2008/layout/PictureStrips"/>
    <dgm:cxn modelId="{759FAD94-5674-4C68-8690-0A51868578D0}" type="presParOf" srcId="{DD54FAFD-71D8-4296-B70B-FCCE6E86CA27}" destId="{95C064A6-FD7C-44D0-8F21-C8D4CB9BB53E}"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70B02D-0A34-4B61-BDC0-4F0A5B2B84C6}" type="doc">
      <dgm:prSet loTypeId="urn:microsoft.com/office/officeart/2005/8/layout/cycle7" loCatId="cycle" qsTypeId="urn:microsoft.com/office/officeart/2005/8/quickstyle/simple1" qsCatId="simple" csTypeId="urn:microsoft.com/office/officeart/2005/8/colors/colorful2" csCatId="colorful" phldr="1"/>
      <dgm:spPr/>
      <dgm:t>
        <a:bodyPr/>
        <a:lstStyle/>
        <a:p>
          <a:endParaRPr lang="en-US"/>
        </a:p>
      </dgm:t>
    </dgm:pt>
    <dgm:pt modelId="{70E28325-9BD5-4B85-B994-7A255759839D}">
      <dgm:prSet phldrT="[Text]"/>
      <dgm:spPr/>
      <dgm:t>
        <a:bodyPr/>
        <a:lstStyle/>
        <a:p>
          <a:r>
            <a:rPr lang="en-US" b="1" dirty="0"/>
            <a:t>Application for Incentives</a:t>
          </a:r>
        </a:p>
      </dgm:t>
    </dgm:pt>
    <dgm:pt modelId="{AAC56B1A-93A3-43E7-BC40-2B7456F5197F}" type="parTrans" cxnId="{FBAEC9F2-A895-424D-8B5B-43E46D40D900}">
      <dgm:prSet/>
      <dgm:spPr/>
      <dgm:t>
        <a:bodyPr/>
        <a:lstStyle/>
        <a:p>
          <a:endParaRPr lang="en-US"/>
        </a:p>
      </dgm:t>
    </dgm:pt>
    <dgm:pt modelId="{FA6C7FFD-3299-4072-A54A-4936E90CA029}" type="sibTrans" cxnId="{FBAEC9F2-A895-424D-8B5B-43E46D40D900}">
      <dgm:prSet/>
      <dgm:spPr/>
      <dgm:t>
        <a:bodyPr/>
        <a:lstStyle/>
        <a:p>
          <a:endParaRPr lang="en-US"/>
        </a:p>
      </dgm:t>
    </dgm:pt>
    <dgm:pt modelId="{49E8D633-E842-4F3B-B4BF-685FD8D276C6}">
      <dgm:prSet phldrT="[Text]"/>
      <dgm:spPr/>
      <dgm:t>
        <a:bodyPr/>
        <a:lstStyle/>
        <a:p>
          <a:r>
            <a:rPr lang="en-US" b="1" dirty="0"/>
            <a:t>Cabinet of Ministers</a:t>
          </a:r>
        </a:p>
      </dgm:t>
    </dgm:pt>
    <dgm:pt modelId="{BE22FFDF-CB64-4DCB-BCAF-760465D106B2}" type="parTrans" cxnId="{1924E417-C074-4DAA-BCEB-2AEAC2685989}">
      <dgm:prSet/>
      <dgm:spPr/>
      <dgm:t>
        <a:bodyPr/>
        <a:lstStyle/>
        <a:p>
          <a:endParaRPr lang="en-US"/>
        </a:p>
      </dgm:t>
    </dgm:pt>
    <dgm:pt modelId="{AE725A4B-FCF8-4C51-9B66-735D30B35432}" type="sibTrans" cxnId="{1924E417-C074-4DAA-BCEB-2AEAC2685989}">
      <dgm:prSet/>
      <dgm:spPr/>
      <dgm:t>
        <a:bodyPr/>
        <a:lstStyle/>
        <a:p>
          <a:endParaRPr lang="en-US" dirty="0"/>
        </a:p>
      </dgm:t>
    </dgm:pt>
    <dgm:pt modelId="{045B128B-8E5C-4D5B-BA9A-70D87143CD72}">
      <dgm:prSet phldrT="[Text]"/>
      <dgm:spPr/>
      <dgm:t>
        <a:bodyPr/>
        <a:lstStyle/>
        <a:p>
          <a:r>
            <a:rPr lang="en-US" b="1" dirty="0"/>
            <a:t>Tourism Investment Committee</a:t>
          </a:r>
        </a:p>
      </dgm:t>
    </dgm:pt>
    <dgm:pt modelId="{CD550088-6164-49B6-BF18-59A11E6F29AE}" type="parTrans" cxnId="{AD6DC64B-45D0-4766-84FF-7E94768778B7}">
      <dgm:prSet/>
      <dgm:spPr/>
      <dgm:t>
        <a:bodyPr/>
        <a:lstStyle/>
        <a:p>
          <a:endParaRPr lang="en-US"/>
        </a:p>
      </dgm:t>
    </dgm:pt>
    <dgm:pt modelId="{BA1EBA7D-26FF-49E7-B5EA-CA193EA461AF}" type="sibTrans" cxnId="{AD6DC64B-45D0-4766-84FF-7E94768778B7}">
      <dgm:prSet/>
      <dgm:spPr/>
      <dgm:t>
        <a:bodyPr/>
        <a:lstStyle/>
        <a:p>
          <a:endParaRPr lang="en-US"/>
        </a:p>
      </dgm:t>
    </dgm:pt>
    <dgm:pt modelId="{A2A17AF5-CD93-4C5C-B0C1-94AF2FF89F01}" type="pres">
      <dgm:prSet presAssocID="{8D70B02D-0A34-4B61-BDC0-4F0A5B2B84C6}" presName="Name0" presStyleCnt="0">
        <dgm:presLayoutVars>
          <dgm:dir/>
          <dgm:resizeHandles val="exact"/>
        </dgm:presLayoutVars>
      </dgm:prSet>
      <dgm:spPr/>
    </dgm:pt>
    <dgm:pt modelId="{69EE22F0-FF2E-4349-B171-91AD74FEAC8F}" type="pres">
      <dgm:prSet presAssocID="{70E28325-9BD5-4B85-B994-7A255759839D}" presName="node" presStyleLbl="node1" presStyleIdx="0" presStyleCnt="3">
        <dgm:presLayoutVars>
          <dgm:bulletEnabled val="1"/>
        </dgm:presLayoutVars>
      </dgm:prSet>
      <dgm:spPr/>
    </dgm:pt>
    <dgm:pt modelId="{D18B3396-457B-4A27-9248-3D3FAE97A8A8}" type="pres">
      <dgm:prSet presAssocID="{FA6C7FFD-3299-4072-A54A-4936E90CA029}" presName="sibTrans" presStyleLbl="sibTrans2D1" presStyleIdx="0" presStyleCnt="3"/>
      <dgm:spPr/>
    </dgm:pt>
    <dgm:pt modelId="{0C91541F-A086-4673-A7D6-CC3F745428D5}" type="pres">
      <dgm:prSet presAssocID="{FA6C7FFD-3299-4072-A54A-4936E90CA029}" presName="connectorText" presStyleLbl="sibTrans2D1" presStyleIdx="0" presStyleCnt="3"/>
      <dgm:spPr/>
    </dgm:pt>
    <dgm:pt modelId="{EA2424BA-E8EA-4E72-B954-AE0410C848E8}" type="pres">
      <dgm:prSet presAssocID="{49E8D633-E842-4F3B-B4BF-685FD8D276C6}" presName="node" presStyleLbl="node1" presStyleIdx="1" presStyleCnt="3">
        <dgm:presLayoutVars>
          <dgm:bulletEnabled val="1"/>
        </dgm:presLayoutVars>
      </dgm:prSet>
      <dgm:spPr/>
    </dgm:pt>
    <dgm:pt modelId="{17D17226-0672-449B-85E3-AD24F72FED94}" type="pres">
      <dgm:prSet presAssocID="{AE725A4B-FCF8-4C51-9B66-735D30B35432}" presName="sibTrans" presStyleLbl="sibTrans2D1" presStyleIdx="1" presStyleCnt="3" custAng="4772416" custFlipVert="1" custFlipHor="0" custScaleX="5275" custScaleY="11590" custLinFactX="100000" custLinFactY="400000" custLinFactNeighborX="173577" custLinFactNeighborY="403768"/>
      <dgm:spPr/>
    </dgm:pt>
    <dgm:pt modelId="{C7BD2502-8F5C-407B-8767-269DC192206E}" type="pres">
      <dgm:prSet presAssocID="{AE725A4B-FCF8-4C51-9B66-735D30B35432}" presName="connectorText" presStyleLbl="sibTrans2D1" presStyleIdx="1" presStyleCnt="3"/>
      <dgm:spPr/>
    </dgm:pt>
    <dgm:pt modelId="{8D63B217-67EB-42F6-9212-D73450189549}" type="pres">
      <dgm:prSet presAssocID="{045B128B-8E5C-4D5B-BA9A-70D87143CD72}" presName="node" presStyleLbl="node1" presStyleIdx="2" presStyleCnt="3">
        <dgm:presLayoutVars>
          <dgm:bulletEnabled val="1"/>
        </dgm:presLayoutVars>
      </dgm:prSet>
      <dgm:spPr/>
    </dgm:pt>
    <dgm:pt modelId="{33985F3E-0529-43A5-8ABA-6DDA41501CD3}" type="pres">
      <dgm:prSet presAssocID="{BA1EBA7D-26FF-49E7-B5EA-CA193EA461AF}" presName="sibTrans" presStyleLbl="sibTrans2D1" presStyleIdx="2" presStyleCnt="3"/>
      <dgm:spPr/>
    </dgm:pt>
    <dgm:pt modelId="{A00A0CB7-A42E-4C20-ABBD-2219DE956F36}" type="pres">
      <dgm:prSet presAssocID="{BA1EBA7D-26FF-49E7-B5EA-CA193EA461AF}" presName="connectorText" presStyleLbl="sibTrans2D1" presStyleIdx="2" presStyleCnt="3"/>
      <dgm:spPr/>
    </dgm:pt>
  </dgm:ptLst>
  <dgm:cxnLst>
    <dgm:cxn modelId="{AA32EE06-ED0C-4A78-BDAC-A6111D64CCB9}" type="presOf" srcId="{BA1EBA7D-26FF-49E7-B5EA-CA193EA461AF}" destId="{A00A0CB7-A42E-4C20-ABBD-2219DE956F36}" srcOrd="1" destOrd="0" presId="urn:microsoft.com/office/officeart/2005/8/layout/cycle7"/>
    <dgm:cxn modelId="{4A925D07-468B-473B-98EF-04A0E2F38C74}" type="presOf" srcId="{70E28325-9BD5-4B85-B994-7A255759839D}" destId="{69EE22F0-FF2E-4349-B171-91AD74FEAC8F}" srcOrd="0" destOrd="0" presId="urn:microsoft.com/office/officeart/2005/8/layout/cycle7"/>
    <dgm:cxn modelId="{1924E417-C074-4DAA-BCEB-2AEAC2685989}" srcId="{8D70B02D-0A34-4B61-BDC0-4F0A5B2B84C6}" destId="{49E8D633-E842-4F3B-B4BF-685FD8D276C6}" srcOrd="1" destOrd="0" parTransId="{BE22FFDF-CB64-4DCB-BCAF-760465D106B2}" sibTransId="{AE725A4B-FCF8-4C51-9B66-735D30B35432}"/>
    <dgm:cxn modelId="{46FA851B-30A0-4AA9-8259-ECABA58356E3}" type="presOf" srcId="{045B128B-8E5C-4D5B-BA9A-70D87143CD72}" destId="{8D63B217-67EB-42F6-9212-D73450189549}" srcOrd="0" destOrd="0" presId="urn:microsoft.com/office/officeart/2005/8/layout/cycle7"/>
    <dgm:cxn modelId="{2630311D-413F-451F-B5C0-4C0CB6D95442}" type="presOf" srcId="{BA1EBA7D-26FF-49E7-B5EA-CA193EA461AF}" destId="{33985F3E-0529-43A5-8ABA-6DDA41501CD3}" srcOrd="0" destOrd="0" presId="urn:microsoft.com/office/officeart/2005/8/layout/cycle7"/>
    <dgm:cxn modelId="{2E613737-7B67-4E3B-8926-271E703EF869}" type="presOf" srcId="{8D70B02D-0A34-4B61-BDC0-4F0A5B2B84C6}" destId="{A2A17AF5-CD93-4C5C-B0C1-94AF2FF89F01}" srcOrd="0" destOrd="0" presId="urn:microsoft.com/office/officeart/2005/8/layout/cycle7"/>
    <dgm:cxn modelId="{12882362-2E20-46B1-B877-2CA79348485D}" type="presOf" srcId="{FA6C7FFD-3299-4072-A54A-4936E90CA029}" destId="{0C91541F-A086-4673-A7D6-CC3F745428D5}" srcOrd="1" destOrd="0" presId="urn:microsoft.com/office/officeart/2005/8/layout/cycle7"/>
    <dgm:cxn modelId="{AD6DC64B-45D0-4766-84FF-7E94768778B7}" srcId="{8D70B02D-0A34-4B61-BDC0-4F0A5B2B84C6}" destId="{045B128B-8E5C-4D5B-BA9A-70D87143CD72}" srcOrd="2" destOrd="0" parTransId="{CD550088-6164-49B6-BF18-59A11E6F29AE}" sibTransId="{BA1EBA7D-26FF-49E7-B5EA-CA193EA461AF}"/>
    <dgm:cxn modelId="{EC7DC06E-2174-4228-AD78-17505B36CE00}" type="presOf" srcId="{AE725A4B-FCF8-4C51-9B66-735D30B35432}" destId="{C7BD2502-8F5C-407B-8767-269DC192206E}" srcOrd="1" destOrd="0" presId="urn:microsoft.com/office/officeart/2005/8/layout/cycle7"/>
    <dgm:cxn modelId="{7D05A6D6-8AD1-4D84-ACA6-C2BD18F1E231}" type="presOf" srcId="{FA6C7FFD-3299-4072-A54A-4936E90CA029}" destId="{D18B3396-457B-4A27-9248-3D3FAE97A8A8}" srcOrd="0" destOrd="0" presId="urn:microsoft.com/office/officeart/2005/8/layout/cycle7"/>
    <dgm:cxn modelId="{DAB6C7E3-532C-45C7-8635-EFB62C18DCCD}" type="presOf" srcId="{AE725A4B-FCF8-4C51-9B66-735D30B35432}" destId="{17D17226-0672-449B-85E3-AD24F72FED94}" srcOrd="0" destOrd="0" presId="urn:microsoft.com/office/officeart/2005/8/layout/cycle7"/>
    <dgm:cxn modelId="{DEB457EC-D210-4D93-A04D-39E5C1A826CD}" type="presOf" srcId="{49E8D633-E842-4F3B-B4BF-685FD8D276C6}" destId="{EA2424BA-E8EA-4E72-B954-AE0410C848E8}" srcOrd="0" destOrd="0" presId="urn:microsoft.com/office/officeart/2005/8/layout/cycle7"/>
    <dgm:cxn modelId="{FBAEC9F2-A895-424D-8B5B-43E46D40D900}" srcId="{8D70B02D-0A34-4B61-BDC0-4F0A5B2B84C6}" destId="{70E28325-9BD5-4B85-B994-7A255759839D}" srcOrd="0" destOrd="0" parTransId="{AAC56B1A-93A3-43E7-BC40-2B7456F5197F}" sibTransId="{FA6C7FFD-3299-4072-A54A-4936E90CA029}"/>
    <dgm:cxn modelId="{C0A034AD-F176-46A1-87E7-02DF0D531478}" type="presParOf" srcId="{A2A17AF5-CD93-4C5C-B0C1-94AF2FF89F01}" destId="{69EE22F0-FF2E-4349-B171-91AD74FEAC8F}" srcOrd="0" destOrd="0" presId="urn:microsoft.com/office/officeart/2005/8/layout/cycle7"/>
    <dgm:cxn modelId="{206DCEE1-D3FF-4367-B81F-0C10E06D26B2}" type="presParOf" srcId="{A2A17AF5-CD93-4C5C-B0C1-94AF2FF89F01}" destId="{D18B3396-457B-4A27-9248-3D3FAE97A8A8}" srcOrd="1" destOrd="0" presId="urn:microsoft.com/office/officeart/2005/8/layout/cycle7"/>
    <dgm:cxn modelId="{F89E94AA-4D89-47CF-AFB5-6A1234208739}" type="presParOf" srcId="{D18B3396-457B-4A27-9248-3D3FAE97A8A8}" destId="{0C91541F-A086-4673-A7D6-CC3F745428D5}" srcOrd="0" destOrd="0" presId="urn:microsoft.com/office/officeart/2005/8/layout/cycle7"/>
    <dgm:cxn modelId="{AFE922EA-93E4-4A72-85DA-F9DA2A951EF7}" type="presParOf" srcId="{A2A17AF5-CD93-4C5C-B0C1-94AF2FF89F01}" destId="{EA2424BA-E8EA-4E72-B954-AE0410C848E8}" srcOrd="2" destOrd="0" presId="urn:microsoft.com/office/officeart/2005/8/layout/cycle7"/>
    <dgm:cxn modelId="{B3C624BD-E395-418C-95B2-1F3BA6266096}" type="presParOf" srcId="{A2A17AF5-CD93-4C5C-B0C1-94AF2FF89F01}" destId="{17D17226-0672-449B-85E3-AD24F72FED94}" srcOrd="3" destOrd="0" presId="urn:microsoft.com/office/officeart/2005/8/layout/cycle7"/>
    <dgm:cxn modelId="{44A16A50-F8E6-4264-B360-E004FD076A59}" type="presParOf" srcId="{17D17226-0672-449B-85E3-AD24F72FED94}" destId="{C7BD2502-8F5C-407B-8767-269DC192206E}" srcOrd="0" destOrd="0" presId="urn:microsoft.com/office/officeart/2005/8/layout/cycle7"/>
    <dgm:cxn modelId="{45A3C9AD-F70E-47F7-A542-99C51519443A}" type="presParOf" srcId="{A2A17AF5-CD93-4C5C-B0C1-94AF2FF89F01}" destId="{8D63B217-67EB-42F6-9212-D73450189549}" srcOrd="4" destOrd="0" presId="urn:microsoft.com/office/officeart/2005/8/layout/cycle7"/>
    <dgm:cxn modelId="{F015B812-2D73-4E18-855B-F6E2AFED69C2}" type="presParOf" srcId="{A2A17AF5-CD93-4C5C-B0C1-94AF2FF89F01}" destId="{33985F3E-0529-43A5-8ABA-6DDA41501CD3}" srcOrd="5" destOrd="0" presId="urn:microsoft.com/office/officeart/2005/8/layout/cycle7"/>
    <dgm:cxn modelId="{66DE9F1D-8BBC-4364-BF7A-B736DAB5C8AA}" type="presParOf" srcId="{33985F3E-0529-43A5-8ABA-6DDA41501CD3}" destId="{A00A0CB7-A42E-4C20-ABBD-2219DE956F36}" srcOrd="0" destOrd="0" presId="urn:microsoft.com/office/officeart/2005/8/layout/cycle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7139CA-D8EC-4D7E-88F0-02BA9E1B4C01}">
      <dsp:nvSpPr>
        <dsp:cNvPr id="0" name=""/>
        <dsp:cNvSpPr/>
      </dsp:nvSpPr>
      <dsp:spPr>
        <a:xfrm>
          <a:off x="158760" y="535072"/>
          <a:ext cx="3739170" cy="11684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91458"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Staffing and Training </a:t>
          </a:r>
        </a:p>
      </dsp:txBody>
      <dsp:txXfrm>
        <a:off x="158760" y="535072"/>
        <a:ext cx="3739170" cy="1168490"/>
      </dsp:txXfrm>
    </dsp:sp>
    <dsp:sp modelId="{A70FBD98-8F7A-496C-B555-0D58670D2F36}">
      <dsp:nvSpPr>
        <dsp:cNvPr id="0" name=""/>
        <dsp:cNvSpPr/>
      </dsp:nvSpPr>
      <dsp:spPr>
        <a:xfrm>
          <a:off x="2961" y="366290"/>
          <a:ext cx="817943" cy="122691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9204946-7386-40A0-AEA6-BD5B99028444}">
      <dsp:nvSpPr>
        <dsp:cNvPr id="0" name=""/>
        <dsp:cNvSpPr/>
      </dsp:nvSpPr>
      <dsp:spPr>
        <a:xfrm>
          <a:off x="4226795" y="535072"/>
          <a:ext cx="3739170" cy="11684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91458"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Procurement of Equipment</a:t>
          </a:r>
        </a:p>
      </dsp:txBody>
      <dsp:txXfrm>
        <a:off x="4226795" y="535072"/>
        <a:ext cx="3739170" cy="1168490"/>
      </dsp:txXfrm>
    </dsp:sp>
    <dsp:sp modelId="{8C8848BD-AAE1-4A09-A43E-FA539CBDA454}">
      <dsp:nvSpPr>
        <dsp:cNvPr id="0" name=""/>
        <dsp:cNvSpPr/>
      </dsp:nvSpPr>
      <dsp:spPr>
        <a:xfrm>
          <a:off x="4070997" y="366290"/>
          <a:ext cx="817943" cy="122691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9397FB-23DC-458C-909E-CF00112383AB}">
      <dsp:nvSpPr>
        <dsp:cNvPr id="0" name=""/>
        <dsp:cNvSpPr/>
      </dsp:nvSpPr>
      <dsp:spPr>
        <a:xfrm>
          <a:off x="2192778" y="2006072"/>
          <a:ext cx="3739170" cy="1168490"/>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91458"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Engagement with the Ministry of Health</a:t>
          </a:r>
        </a:p>
      </dsp:txBody>
      <dsp:txXfrm>
        <a:off x="2192778" y="2006072"/>
        <a:ext cx="3739170" cy="1168490"/>
      </dsp:txXfrm>
    </dsp:sp>
    <dsp:sp modelId="{95C064A6-FD7C-44D0-8F21-C8D4CB9BB53E}">
      <dsp:nvSpPr>
        <dsp:cNvPr id="0" name=""/>
        <dsp:cNvSpPr/>
      </dsp:nvSpPr>
      <dsp:spPr>
        <a:xfrm>
          <a:off x="2036979" y="1837290"/>
          <a:ext cx="817943" cy="122691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EE22F0-FF2E-4349-B171-91AD74FEAC8F}">
      <dsp:nvSpPr>
        <dsp:cNvPr id="0" name=""/>
        <dsp:cNvSpPr/>
      </dsp:nvSpPr>
      <dsp:spPr>
        <a:xfrm>
          <a:off x="4043474" y="927"/>
          <a:ext cx="2428651" cy="121432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Application for Incentives</a:t>
          </a:r>
        </a:p>
      </dsp:txBody>
      <dsp:txXfrm>
        <a:off x="4079040" y="36493"/>
        <a:ext cx="2357519" cy="1143193"/>
      </dsp:txXfrm>
    </dsp:sp>
    <dsp:sp modelId="{D18B3396-457B-4A27-9248-3D3FAE97A8A8}">
      <dsp:nvSpPr>
        <dsp:cNvPr id="0" name=""/>
        <dsp:cNvSpPr/>
      </dsp:nvSpPr>
      <dsp:spPr>
        <a:xfrm rot="3600000">
          <a:off x="5628094" y="2131000"/>
          <a:ext cx="1263298" cy="425014"/>
        </a:xfrm>
        <a:prstGeom prst="lef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5755598" y="2216003"/>
        <a:ext cx="1008290" cy="255008"/>
      </dsp:txXfrm>
    </dsp:sp>
    <dsp:sp modelId="{EA2424BA-E8EA-4E72-B954-AE0410C848E8}">
      <dsp:nvSpPr>
        <dsp:cNvPr id="0" name=""/>
        <dsp:cNvSpPr/>
      </dsp:nvSpPr>
      <dsp:spPr>
        <a:xfrm>
          <a:off x="6047361" y="3471761"/>
          <a:ext cx="2428651" cy="1214325"/>
        </a:xfrm>
        <a:prstGeom prst="roundRect">
          <a:avLst>
            <a:gd name="adj" fmla="val 10000"/>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Cabinet of Ministers</a:t>
          </a:r>
        </a:p>
      </dsp:txBody>
      <dsp:txXfrm>
        <a:off x="6082927" y="3507327"/>
        <a:ext cx="2357519" cy="1143193"/>
      </dsp:txXfrm>
    </dsp:sp>
    <dsp:sp modelId="{17D17226-0672-449B-85E3-AD24F72FED94}">
      <dsp:nvSpPr>
        <dsp:cNvPr id="0" name=""/>
        <dsp:cNvSpPr/>
      </dsp:nvSpPr>
      <dsp:spPr>
        <a:xfrm rot="6027584" flipV="1">
          <a:off x="8680574" y="4662385"/>
          <a:ext cx="66638" cy="49259"/>
        </a:xfrm>
        <a:prstGeom prst="leftRightArrow">
          <a:avLst>
            <a:gd name="adj1" fmla="val 60000"/>
            <a:gd name="adj2" fmla="val 50000"/>
          </a:avLst>
        </a:prstGeom>
        <a:solidFill>
          <a:schemeClr val="accent2">
            <a:hueOff val="-727682"/>
            <a:satOff val="-41964"/>
            <a:lumOff val="431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8695352" y="4672237"/>
        <a:ext cx="37082" cy="29555"/>
      </dsp:txXfrm>
    </dsp:sp>
    <dsp:sp modelId="{8D63B217-67EB-42F6-9212-D73450189549}">
      <dsp:nvSpPr>
        <dsp:cNvPr id="0" name=""/>
        <dsp:cNvSpPr/>
      </dsp:nvSpPr>
      <dsp:spPr>
        <a:xfrm>
          <a:off x="2039586" y="3471761"/>
          <a:ext cx="2428651" cy="1214325"/>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t>Tourism Investment Committee</a:t>
          </a:r>
        </a:p>
      </dsp:txBody>
      <dsp:txXfrm>
        <a:off x="2075152" y="3507327"/>
        <a:ext cx="2357519" cy="1143193"/>
      </dsp:txXfrm>
    </dsp:sp>
    <dsp:sp modelId="{33985F3E-0529-43A5-8ABA-6DDA41501CD3}">
      <dsp:nvSpPr>
        <dsp:cNvPr id="0" name=""/>
        <dsp:cNvSpPr/>
      </dsp:nvSpPr>
      <dsp:spPr>
        <a:xfrm rot="18000000">
          <a:off x="3624207" y="2131000"/>
          <a:ext cx="1263298" cy="425014"/>
        </a:xfrm>
        <a:prstGeom prst="leftRightArrow">
          <a:avLst>
            <a:gd name="adj1" fmla="val 60000"/>
            <a:gd name="adj2" fmla="val 50000"/>
          </a:avLst>
        </a:prstGeom>
        <a:solidFill>
          <a:schemeClr val="accent2">
            <a:hueOff val="-1455363"/>
            <a:satOff val="-83928"/>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751711" y="2216003"/>
        <a:ext cx="1008290" cy="255008"/>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91C9F0-6A9B-40A1-88D0-A392C67E01B6}" type="datetimeFigureOut">
              <a:rPr lang="en-US" smtClean="0"/>
              <a:t>8/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83A2AC-45BD-434A-A13D-259189EC45B3}" type="slidenum">
              <a:rPr lang="en-US" smtClean="0"/>
              <a:t>‹#›</a:t>
            </a:fld>
            <a:endParaRPr lang="en-US"/>
          </a:p>
        </p:txBody>
      </p:sp>
    </p:spTree>
    <p:extLst>
      <p:ext uri="{BB962C8B-B14F-4D97-AF65-F5344CB8AC3E}">
        <p14:creationId xmlns:p14="http://schemas.microsoft.com/office/powerpoint/2010/main" val="2166626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1</a:t>
            </a:fld>
            <a:endParaRPr lang="en-US"/>
          </a:p>
        </p:txBody>
      </p:sp>
    </p:spTree>
    <p:extLst>
      <p:ext uri="{BB962C8B-B14F-4D97-AF65-F5344CB8AC3E}">
        <p14:creationId xmlns:p14="http://schemas.microsoft.com/office/powerpoint/2010/main" val="3633118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14</a:t>
            </a:fld>
            <a:endParaRPr lang="en-US"/>
          </a:p>
        </p:txBody>
      </p:sp>
    </p:spTree>
    <p:extLst>
      <p:ext uri="{BB962C8B-B14F-4D97-AF65-F5344CB8AC3E}">
        <p14:creationId xmlns:p14="http://schemas.microsoft.com/office/powerpoint/2010/main" val="2537063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US" sz="1800" dirty="0">
                <a:effectLst/>
                <a:latin typeface="Calisto MT" panose="02040603050505030304" pitchFamily="18" charset="0"/>
                <a:ea typeface="Calibri" panose="020F0502020204030204" pitchFamily="34" charset="0"/>
                <a:cs typeface="Times New Roman" panose="02020603050405020304" pitchFamily="18" charset="0"/>
              </a:rPr>
              <a:t>To date, s</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ubmissions for the Tourism Certification Committee have been successfully received from all members listed in the legislation. </a:t>
            </a:r>
          </a:p>
          <a:p>
            <a:pPr marL="0" indent="0" algn="just">
              <a:buFont typeface="+mj-lt"/>
              <a:buNone/>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indent="0" algn="just">
              <a:buFont typeface="+mj-lt"/>
              <a:buNone/>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Additionally, a memorandum has been sent to the Cabinet for the official appointment of the Tourism Certification Committee. This formal appointment will allow the committee to begin its important work </a:t>
            </a:r>
            <a:r>
              <a:rPr lang="en-US" sz="2800" dirty="0"/>
              <a:t>to consider and determine an application for a tourism certificate or sustainable tourism certificate; to issue, suspend or revoke a tourism certific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Regulations </a:t>
            </a:r>
            <a:r>
              <a:rPr lang="en-US" sz="1800" kern="100">
                <a:effectLst/>
                <a:latin typeface="Calibri" panose="020F0502020204030204" pitchFamily="34" charset="0"/>
                <a:ea typeface="Times New Roman" panose="02020603050405020304" pitchFamily="18" charset="0"/>
                <a:cs typeface="Times New Roman" panose="02020603050405020304" pitchFamily="18" charset="0"/>
              </a:rPr>
              <a:t>are scheduled to be published </a:t>
            </a: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during the week of August 19. These regulations will provide the necessary framework for the certification processes, </a:t>
            </a:r>
            <a:endParaRPr lang="en-US" dirty="0"/>
          </a:p>
        </p:txBody>
      </p:sp>
      <p:sp>
        <p:nvSpPr>
          <p:cNvPr id="4" name="Slide Number Placeholder 3"/>
          <p:cNvSpPr>
            <a:spLocks noGrp="1"/>
          </p:cNvSpPr>
          <p:nvPr>
            <p:ph type="sldNum" sz="quarter" idx="5"/>
          </p:nvPr>
        </p:nvSpPr>
        <p:spPr/>
        <p:txBody>
          <a:bodyPr/>
          <a:lstStyle/>
          <a:p>
            <a:fld id="{17189D32-D895-4280-8083-B4055CA1EF62}" type="slidenum">
              <a:rPr lang="en-US" smtClean="0"/>
              <a:t>16</a:t>
            </a:fld>
            <a:endParaRPr lang="en-US"/>
          </a:p>
        </p:txBody>
      </p:sp>
    </p:spTree>
    <p:extLst>
      <p:ext uri="{BB962C8B-B14F-4D97-AF65-F5344CB8AC3E}">
        <p14:creationId xmlns:p14="http://schemas.microsoft.com/office/powerpoint/2010/main" val="4096308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en-US" dirty="0"/>
              <a:t>New staff members have been hired and trained, to ensure they are fully prepared to carry out their responsibilities under the TDA</a:t>
            </a:r>
          </a:p>
          <a:p>
            <a:endParaRPr lang="en-US" dirty="0"/>
          </a:p>
          <a:p>
            <a:r>
              <a:rPr lang="en-US" dirty="0"/>
              <a:t>To facilitate the Certification process, the MOT procured essential equipment for inspectorates and the Unit.</a:t>
            </a:r>
          </a:p>
          <a:p>
            <a:endParaRPr lang="en-US" dirty="0"/>
          </a:p>
          <a:p>
            <a:r>
              <a:rPr lang="en-US" dirty="0"/>
              <a:t>A meeting with the Ministry of Health was held to discuss the Public Health </a:t>
            </a:r>
            <a:r>
              <a:rPr lang="en-US" dirty="0" err="1"/>
              <a:t>Licence</a:t>
            </a:r>
            <a:r>
              <a:rPr lang="en-US" dirty="0"/>
              <a:t>, which is a key component of the certification requirements.</a:t>
            </a:r>
          </a:p>
        </p:txBody>
      </p:sp>
      <p:sp>
        <p:nvSpPr>
          <p:cNvPr id="4" name="Slide Number Placeholder 3"/>
          <p:cNvSpPr>
            <a:spLocks noGrp="1"/>
          </p:cNvSpPr>
          <p:nvPr>
            <p:ph type="sldNum" sz="quarter" idx="5"/>
          </p:nvPr>
        </p:nvSpPr>
        <p:spPr/>
        <p:txBody>
          <a:bodyPr/>
          <a:lstStyle/>
          <a:p>
            <a:fld id="{17189D32-D895-4280-8083-B4055CA1EF62}" type="slidenum">
              <a:rPr lang="en-US" smtClean="0"/>
              <a:t>17</a:t>
            </a:fld>
            <a:endParaRPr lang="en-US"/>
          </a:p>
        </p:txBody>
      </p:sp>
    </p:spTree>
    <p:extLst>
      <p:ext uri="{BB962C8B-B14F-4D97-AF65-F5344CB8AC3E}">
        <p14:creationId xmlns:p14="http://schemas.microsoft.com/office/powerpoint/2010/main" val="1436464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ffectively manage the Certification process, a phased approach will be adopted, initially focusing on the Accommodation sector. Each sector will be targeted within a 3 month period to ensure that each sector receives the attention needed to be certified.</a:t>
            </a:r>
          </a:p>
        </p:txBody>
      </p:sp>
      <p:sp>
        <p:nvSpPr>
          <p:cNvPr id="4" name="Slide Number Placeholder 3"/>
          <p:cNvSpPr>
            <a:spLocks noGrp="1"/>
          </p:cNvSpPr>
          <p:nvPr>
            <p:ph type="sldNum" sz="quarter" idx="10"/>
          </p:nvPr>
        </p:nvSpPr>
        <p:spPr/>
        <p:txBody>
          <a:bodyPr/>
          <a:lstStyle/>
          <a:p>
            <a:fld id="{F7021451-1387-4CA6-816F-3879F97B5CBC}" type="slidenum">
              <a:rPr lang="en-US"/>
              <a:t>1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sto MT" panose="02040603050505030304" pitchFamily="18" charset="0"/>
                <a:ea typeface="Calibri" panose="020F0502020204030204" pitchFamily="34" charset="0"/>
                <a:cs typeface="Times New Roman" panose="02020603050405020304" pitchFamily="18" charset="0"/>
              </a:rPr>
              <a:t>As part of Certification Unit’s efforts, approximately 308 correspondences were sent to the accommodation operators, providing information about the Certification </a:t>
            </a:r>
            <a:r>
              <a:rPr lang="en-US" sz="1800" dirty="0" err="1">
                <a:effectLst/>
                <a:latin typeface="Calisto MT" panose="02040603050505030304" pitchFamily="18" charset="0"/>
                <a:ea typeface="Calibri" panose="020F0502020204030204" pitchFamily="34" charset="0"/>
                <a:cs typeface="Times New Roman" panose="02020603050405020304" pitchFamily="18" charset="0"/>
              </a:rPr>
              <a:t>programme</a:t>
            </a:r>
            <a:r>
              <a:rPr lang="en-US" sz="1800" dirty="0">
                <a:effectLst/>
                <a:latin typeface="Calisto MT" panose="02040603050505030304" pitchFamily="18" charset="0"/>
                <a:ea typeface="Calibri" panose="020F0502020204030204" pitchFamily="34" charset="0"/>
                <a:cs typeface="Times New Roman" panose="02020603050405020304" pitchFamily="18" charset="0"/>
              </a:rPr>
              <a:t> and the requirements to be Certifi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sto MT" panose="02040603050505030304" pitchFamily="18" charset="0"/>
                <a:ea typeface="Calibri" panose="020F0502020204030204" pitchFamily="34" charset="0"/>
                <a:cs typeface="Times New Roman" panose="02020603050405020304" pitchFamily="18" charset="0"/>
              </a:rPr>
              <a:t>To date, a total of 17 accommodations have been inspected. These inspections are essential to verify that accommodations meet the minimum requirements to operate.</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19</a:t>
            </a:fld>
            <a:endParaRPr lang="en-US"/>
          </a:p>
        </p:txBody>
      </p:sp>
    </p:spTree>
    <p:extLst>
      <p:ext uri="{BB962C8B-B14F-4D97-AF65-F5344CB8AC3E}">
        <p14:creationId xmlns:p14="http://schemas.microsoft.com/office/powerpoint/2010/main" val="3766370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lignment with the TDA, these documents are essential for Certification.  (go through li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ffective April 15, 2024, a</a:t>
            </a:r>
            <a:r>
              <a:rPr lang="en-US" sz="1800" dirty="0">
                <a:effectLst/>
                <a:latin typeface="Calisto MT" panose="02040603050505030304" pitchFamily="18" charset="0"/>
                <a:ea typeface="Times New Roman" panose="02020603050405020304" pitchFamily="18" charset="0"/>
              </a:rPr>
              <a:t>ll applicants seeking to advertise, offer or provide a tourism product or service to a visitor must be certified as an ‘Approved Tourism Operator’ by the Ministry.  </a:t>
            </a:r>
            <a:endParaRPr lang="en-US" sz="18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17189D32-D895-4280-8083-B4055CA1EF62}" type="slidenum">
              <a:rPr lang="en-US" smtClean="0"/>
              <a:t>20</a:t>
            </a:fld>
            <a:endParaRPr lang="en-US"/>
          </a:p>
        </p:txBody>
      </p:sp>
    </p:spTree>
    <p:extLst>
      <p:ext uri="{BB962C8B-B14F-4D97-AF65-F5344CB8AC3E}">
        <p14:creationId xmlns:p14="http://schemas.microsoft.com/office/powerpoint/2010/main" val="28197800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kern="0" dirty="0">
                <a:effectLst/>
                <a:latin typeface="Arial" panose="020B0604020202020204" pitchFamily="34" charset="0"/>
                <a:ea typeface="Times New Roman" panose="02020603050405020304" pitchFamily="18" charset="0"/>
                <a:cs typeface="Times New Roman" panose="02020603050405020304" pitchFamily="18" charset="0"/>
              </a:rPr>
              <a:t>Specific targets are set to ensure the certification process remains on track and progresses efficiently</a:t>
            </a:r>
          </a:p>
          <a:p>
            <a:endParaRPr lang="en-US" dirty="0"/>
          </a:p>
          <a:p>
            <a:r>
              <a:rPr lang="en-US" sz="1800" kern="0" dirty="0">
                <a:effectLst/>
                <a:latin typeface="Arial" panose="020B0604020202020204" pitchFamily="34" charset="0"/>
                <a:ea typeface="Times New Roman" panose="02020603050405020304" pitchFamily="18" charset="0"/>
                <a:cs typeface="Times New Roman" panose="02020603050405020304" pitchFamily="18" charset="0"/>
              </a:rPr>
              <a:t>The unit will focus on reaching out to 10 operators each day, particularly those from COVID-19 certified accommodations who have already submitted some documents, as well as new accommodations not currently listed in the Ministry of Tourism database. The goal is to guide these operators through the remaining certification requirements and assist them in completing the certification process.</a:t>
            </a:r>
          </a:p>
          <a:p>
            <a:endParaRPr lang="en-US" sz="1800" kern="0" dirty="0">
              <a:effectLst/>
              <a:latin typeface="Arial" panose="020B0604020202020204" pitchFamily="34" charset="0"/>
              <a:cs typeface="Times New Roman" panose="02020603050405020304" pitchFamily="18" charset="0"/>
            </a:endParaRPr>
          </a:p>
          <a:p>
            <a:r>
              <a:rPr lang="en-US" dirty="0"/>
              <a:t>The unit will also aim to conduct 20 follow-ups per day with operators who have submitted the majority of their documents. These follow-ups are crucial for ensuring that these operators finalize their submissions and achieve certification.</a:t>
            </a:r>
          </a:p>
        </p:txBody>
      </p:sp>
      <p:sp>
        <p:nvSpPr>
          <p:cNvPr id="4" name="Slide Number Placeholder 3"/>
          <p:cNvSpPr>
            <a:spLocks noGrp="1"/>
          </p:cNvSpPr>
          <p:nvPr>
            <p:ph type="sldNum" sz="quarter" idx="5"/>
          </p:nvPr>
        </p:nvSpPr>
        <p:spPr/>
        <p:txBody>
          <a:bodyPr/>
          <a:lstStyle/>
          <a:p>
            <a:fld id="{17189D32-D895-4280-8083-B4055CA1EF62}" type="slidenum">
              <a:rPr lang="en-US" smtClean="0"/>
              <a:t>21</a:t>
            </a:fld>
            <a:endParaRPr lang="en-US"/>
          </a:p>
        </p:txBody>
      </p:sp>
    </p:spTree>
    <p:extLst>
      <p:ext uri="{BB962C8B-B14F-4D97-AF65-F5344CB8AC3E}">
        <p14:creationId xmlns:p14="http://schemas.microsoft.com/office/powerpoint/2010/main" val="413856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530193B-564F-4854-8A52-728F3FB19C85}" type="slidenum">
              <a:rPr lang="en-US" noProof="0" smtClean="0"/>
              <a:t>27</a:t>
            </a:fld>
            <a:endParaRPr lang="en-US" noProof="0" dirty="0"/>
          </a:p>
        </p:txBody>
      </p:sp>
    </p:spTree>
    <p:extLst>
      <p:ext uri="{BB962C8B-B14F-4D97-AF65-F5344CB8AC3E}">
        <p14:creationId xmlns:p14="http://schemas.microsoft.com/office/powerpoint/2010/main" val="25079122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Slide Number Placeholder 3"/>
          <p:cNvSpPr>
            <a:spLocks noGrp="1"/>
          </p:cNvSpPr>
          <p:nvPr>
            <p:ph type="sldNum" sz="quarter" idx="5"/>
          </p:nvPr>
        </p:nvSpPr>
        <p:spPr/>
        <p:txBody>
          <a:bodyPr/>
          <a:lstStyle/>
          <a:p>
            <a:fld id="{8530193B-564F-4854-8A52-728F3FB19C85}" type="slidenum">
              <a:rPr lang="en-US" noProof="0" smtClean="0"/>
              <a:t>28</a:t>
            </a:fld>
            <a:endParaRPr lang="en-US" noProof="0" dirty="0"/>
          </a:p>
        </p:txBody>
      </p:sp>
    </p:spTree>
    <p:extLst>
      <p:ext uri="{BB962C8B-B14F-4D97-AF65-F5344CB8AC3E}">
        <p14:creationId xmlns:p14="http://schemas.microsoft.com/office/powerpoint/2010/main" val="224922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4318C0B4-C2E9-447C-A32C-14A5932DE65A}" type="slidenum">
              <a:rPr lang="en-US" smtClean="0"/>
              <a:t>29</a:t>
            </a:fld>
            <a:endParaRPr lang="en-US"/>
          </a:p>
        </p:txBody>
      </p:sp>
    </p:spTree>
    <p:extLst>
      <p:ext uri="{BB962C8B-B14F-4D97-AF65-F5344CB8AC3E}">
        <p14:creationId xmlns:p14="http://schemas.microsoft.com/office/powerpoint/2010/main" val="806948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5</a:t>
            </a:fld>
            <a:endParaRPr lang="en-US"/>
          </a:p>
        </p:txBody>
      </p:sp>
    </p:spTree>
    <p:extLst>
      <p:ext uri="{BB962C8B-B14F-4D97-AF65-F5344CB8AC3E}">
        <p14:creationId xmlns:p14="http://schemas.microsoft.com/office/powerpoint/2010/main" val="3748154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30</a:t>
            </a:fld>
            <a:endParaRPr lang="en-US"/>
          </a:p>
        </p:txBody>
      </p:sp>
    </p:spTree>
    <p:extLst>
      <p:ext uri="{BB962C8B-B14F-4D97-AF65-F5344CB8AC3E}">
        <p14:creationId xmlns:p14="http://schemas.microsoft.com/office/powerpoint/2010/main" val="12095758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4318C0B4-C2E9-447C-A32C-14A5932DE65A}" type="slidenum">
              <a:rPr lang="en-US" smtClean="0"/>
              <a:t>31</a:t>
            </a:fld>
            <a:endParaRPr lang="en-US"/>
          </a:p>
        </p:txBody>
      </p:sp>
    </p:spTree>
    <p:extLst>
      <p:ext uri="{BB962C8B-B14F-4D97-AF65-F5344CB8AC3E}">
        <p14:creationId xmlns:p14="http://schemas.microsoft.com/office/powerpoint/2010/main" val="3668450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inistry is pleased</a:t>
            </a:r>
            <a:r>
              <a:rPr lang="en-US" baseline="0" dirty="0"/>
              <a:t> to inform you that the representatives that will make up the Committee have all been identified and it is anticipated that the committee will be formally actioned soon.</a:t>
            </a:r>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32</a:t>
            </a:fld>
            <a:endParaRPr lang="en-US"/>
          </a:p>
        </p:txBody>
      </p:sp>
    </p:spTree>
    <p:extLst>
      <p:ext uri="{BB962C8B-B14F-4D97-AF65-F5344CB8AC3E}">
        <p14:creationId xmlns:p14="http://schemas.microsoft.com/office/powerpoint/2010/main" val="3557155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33</a:t>
            </a:fld>
            <a:endParaRPr lang="en-US"/>
          </a:p>
        </p:txBody>
      </p:sp>
    </p:spTree>
    <p:extLst>
      <p:ext uri="{BB962C8B-B14F-4D97-AF65-F5344CB8AC3E}">
        <p14:creationId xmlns:p14="http://schemas.microsoft.com/office/powerpoint/2010/main" val="16689658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18C0B4-C2E9-447C-A32C-14A5932DE65A}" type="slidenum">
              <a:rPr lang="en-US" smtClean="0"/>
              <a:t>35</a:t>
            </a:fld>
            <a:endParaRPr lang="en-US"/>
          </a:p>
        </p:txBody>
      </p:sp>
    </p:spTree>
    <p:extLst>
      <p:ext uri="{BB962C8B-B14F-4D97-AF65-F5344CB8AC3E}">
        <p14:creationId xmlns:p14="http://schemas.microsoft.com/office/powerpoint/2010/main" val="1162443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18C0B4-C2E9-447C-A32C-14A5932DE65A}" type="slidenum">
              <a:rPr lang="en-US" smtClean="0"/>
              <a:t>36</a:t>
            </a:fld>
            <a:endParaRPr lang="en-US"/>
          </a:p>
        </p:txBody>
      </p:sp>
    </p:spTree>
    <p:extLst>
      <p:ext uri="{BB962C8B-B14F-4D97-AF65-F5344CB8AC3E}">
        <p14:creationId xmlns:p14="http://schemas.microsoft.com/office/powerpoint/2010/main" val="15206296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Phase 1 – Clearing, </a:t>
            </a:r>
            <a:r>
              <a:rPr lang="en-US" dirty="0" err="1"/>
              <a:t>Debushing</a:t>
            </a:r>
            <a:r>
              <a:rPr lang="en-US" dirty="0"/>
              <a:t>, Construction of Steps, Installation of Security Railings</a:t>
            </a:r>
          </a:p>
        </p:txBody>
      </p:sp>
    </p:spTree>
    <p:extLst>
      <p:ext uri="{BB962C8B-B14F-4D97-AF65-F5344CB8AC3E}">
        <p14:creationId xmlns:p14="http://schemas.microsoft.com/office/powerpoint/2010/main" val="3247956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6</a:t>
            </a:fld>
            <a:endParaRPr lang="en-US"/>
          </a:p>
        </p:txBody>
      </p:sp>
    </p:spTree>
    <p:extLst>
      <p:ext uri="{BB962C8B-B14F-4D97-AF65-F5344CB8AC3E}">
        <p14:creationId xmlns:p14="http://schemas.microsoft.com/office/powerpoint/2010/main" val="3486565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7</a:t>
            </a:fld>
            <a:endParaRPr lang="en-US"/>
          </a:p>
        </p:txBody>
      </p:sp>
    </p:spTree>
    <p:extLst>
      <p:ext uri="{BB962C8B-B14F-4D97-AF65-F5344CB8AC3E}">
        <p14:creationId xmlns:p14="http://schemas.microsoft.com/office/powerpoint/2010/main" val="3568499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8</a:t>
            </a:fld>
            <a:endParaRPr lang="en-US"/>
          </a:p>
        </p:txBody>
      </p:sp>
    </p:spTree>
    <p:extLst>
      <p:ext uri="{BB962C8B-B14F-4D97-AF65-F5344CB8AC3E}">
        <p14:creationId xmlns:p14="http://schemas.microsoft.com/office/powerpoint/2010/main" val="4079697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9</a:t>
            </a:fld>
            <a:endParaRPr lang="en-US"/>
          </a:p>
        </p:txBody>
      </p:sp>
    </p:spTree>
    <p:extLst>
      <p:ext uri="{BB962C8B-B14F-4D97-AF65-F5344CB8AC3E}">
        <p14:creationId xmlns:p14="http://schemas.microsoft.com/office/powerpoint/2010/main" val="1566783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10</a:t>
            </a:fld>
            <a:endParaRPr lang="en-US"/>
          </a:p>
        </p:txBody>
      </p:sp>
    </p:spTree>
    <p:extLst>
      <p:ext uri="{BB962C8B-B14F-4D97-AF65-F5344CB8AC3E}">
        <p14:creationId xmlns:p14="http://schemas.microsoft.com/office/powerpoint/2010/main" val="2414755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11</a:t>
            </a:fld>
            <a:endParaRPr lang="en-US"/>
          </a:p>
        </p:txBody>
      </p:sp>
    </p:spTree>
    <p:extLst>
      <p:ext uri="{BB962C8B-B14F-4D97-AF65-F5344CB8AC3E}">
        <p14:creationId xmlns:p14="http://schemas.microsoft.com/office/powerpoint/2010/main" val="29415088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189D32-D895-4280-8083-B4055CA1EF62}" type="slidenum">
              <a:rPr lang="en-US" smtClean="0"/>
              <a:t>13</a:t>
            </a:fld>
            <a:endParaRPr lang="en-US"/>
          </a:p>
        </p:txBody>
      </p:sp>
    </p:spTree>
    <p:extLst>
      <p:ext uri="{BB962C8B-B14F-4D97-AF65-F5344CB8AC3E}">
        <p14:creationId xmlns:p14="http://schemas.microsoft.com/office/powerpoint/2010/main" val="2315337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61797-296C-4709-AC54-BD63653A8D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D89D5C-231B-4A06-A858-E75D967CF1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61FDEF8-4CF6-4BEB-91FD-D17D46F23422}"/>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50EA84DC-0CB5-406F-B8D5-92C680BCA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6EC086-F858-4217-BBDC-BD5409D70D6D}"/>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4222243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94919-B527-4AA7-B4C7-9C27EA2DD8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22ED62-9568-4502-A512-EB1688CD917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AF0D0D-FBDA-4FDD-B951-708D78DA682F}"/>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9F0D6AFA-E656-4949-89A1-0E477AF42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24D817-BD86-4AC5-AD2F-80D8DAE370D3}"/>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2716300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6CEFDF-C4DF-4BBF-8497-F2B6A70E646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79D896-4BA4-4A3E-984B-DF38BAF6CFB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FF8AB6-762E-4695-A0F9-48F124014A50}"/>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9940BC16-F0FA-4291-A020-4370054B62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88D60-A523-4BC0-9208-D69B911ED49B}"/>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962981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836A8FF-4C70-E57A-85BC-2821A69F252C}"/>
              </a:ext>
            </a:extLst>
          </p:cNvPr>
          <p:cNvSpPr/>
          <p:nvPr userDrawn="1"/>
        </p:nvSpPr>
        <p:spPr>
          <a:xfrm>
            <a:off x="-1" y="1205592"/>
            <a:ext cx="12161520" cy="9144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C"/>
          </a:p>
        </p:txBody>
      </p:sp>
      <p:pic>
        <p:nvPicPr>
          <p:cNvPr id="2" name="Picture 1" descr="Logo&#10;&#10;Description automatically generated">
            <a:extLst>
              <a:ext uri="{FF2B5EF4-FFF2-40B4-BE49-F238E27FC236}">
                <a16:creationId xmlns:a16="http://schemas.microsoft.com/office/drawing/2014/main" id="{082F8888-5BC5-DF4A-971D-E13D5A943489}"/>
              </a:ext>
            </a:extLst>
          </p:cNvPr>
          <p:cNvPicPr>
            <a:picLocks noChangeAspect="1"/>
          </p:cNvPicPr>
          <p:nvPr userDrawn="1"/>
        </p:nvPicPr>
        <p:blipFill>
          <a:blip r:embed="rId2">
            <a:biLevel thresh="75000"/>
            <a:extLst>
              <a:ext uri="{28A0092B-C50C-407E-A947-70E740481C1C}">
                <a14:useLocalDpi xmlns:a14="http://schemas.microsoft.com/office/drawing/2010/main" val="0"/>
              </a:ext>
            </a:extLst>
          </a:blip>
          <a:stretch>
            <a:fillRect/>
          </a:stretch>
        </p:blipFill>
        <p:spPr>
          <a:xfrm>
            <a:off x="10620697" y="6260865"/>
            <a:ext cx="1543539" cy="526892"/>
          </a:xfrm>
          <a:prstGeom prst="rect">
            <a:avLst/>
          </a:prstGeom>
        </p:spPr>
      </p:pic>
      <p:pic>
        <p:nvPicPr>
          <p:cNvPr id="3" name="Picture 2" descr="A picture containing text&#10;&#10;Description automatically generated">
            <a:extLst>
              <a:ext uri="{FF2B5EF4-FFF2-40B4-BE49-F238E27FC236}">
                <a16:creationId xmlns:a16="http://schemas.microsoft.com/office/drawing/2014/main" id="{31563FAE-1D2C-67AC-37D3-6B7879A69BB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2826" y="64062"/>
            <a:ext cx="1317445" cy="1217934"/>
          </a:xfrm>
          <a:prstGeom prst="rect">
            <a:avLst/>
          </a:prstGeom>
        </p:spPr>
      </p:pic>
    </p:spTree>
    <p:extLst>
      <p:ext uri="{BB962C8B-B14F-4D97-AF65-F5344CB8AC3E}">
        <p14:creationId xmlns:p14="http://schemas.microsoft.com/office/powerpoint/2010/main" val="365126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al slide 2">
    <p:bg>
      <p:bgPr>
        <a:solidFill>
          <a:schemeClr val="accent5">
            <a:lumMod val="60000"/>
            <a:lumOff val="40000"/>
          </a:schemeClr>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9031F330-7519-0907-376E-D95D138BC1FF}"/>
              </a:ext>
            </a:extLst>
          </p:cNvPr>
          <p:cNvPicPr>
            <a:picLocks noChangeAspect="1"/>
          </p:cNvPicPr>
          <p:nvPr userDrawn="1"/>
        </p:nvPicPr>
        <p:blipFill>
          <a:blip r:embed="rId2">
            <a:biLevel thresh="75000"/>
            <a:extLst>
              <a:ext uri="{28A0092B-C50C-407E-A947-70E740481C1C}">
                <a14:useLocalDpi xmlns:a14="http://schemas.microsoft.com/office/drawing/2010/main" val="0"/>
              </a:ext>
            </a:extLst>
          </a:blip>
          <a:stretch>
            <a:fillRect/>
          </a:stretch>
        </p:blipFill>
        <p:spPr>
          <a:xfrm>
            <a:off x="10056440" y="6021288"/>
            <a:ext cx="2003788" cy="684000"/>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83D3F35B-AA26-302B-805B-92A8A4A387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26588" y="30727"/>
            <a:ext cx="1183403" cy="1094017"/>
          </a:xfrm>
          <a:prstGeom prst="rect">
            <a:avLst/>
          </a:prstGeom>
        </p:spPr>
      </p:pic>
    </p:spTree>
    <p:extLst>
      <p:ext uri="{BB962C8B-B14F-4D97-AF65-F5344CB8AC3E}">
        <p14:creationId xmlns:p14="http://schemas.microsoft.com/office/powerpoint/2010/main" val="2656234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Slide">
    <p:bg>
      <p:bgRef idx="1002">
        <a:schemeClr val="bg2"/>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453093-608E-5A8B-5E01-4CD939B9C5A5}"/>
              </a:ext>
            </a:extLst>
          </p:cNvPr>
          <p:cNvSpPr/>
          <p:nvPr userDrawn="1"/>
        </p:nvSpPr>
        <p:spPr>
          <a:xfrm>
            <a:off x="0" y="0"/>
            <a:ext cx="3118319" cy="6858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C"/>
          </a:p>
        </p:txBody>
      </p:sp>
      <p:sp>
        <p:nvSpPr>
          <p:cNvPr id="9" name="Rectangle 8">
            <a:extLst>
              <a:ext uri="{FF2B5EF4-FFF2-40B4-BE49-F238E27FC236}">
                <a16:creationId xmlns:a16="http://schemas.microsoft.com/office/drawing/2014/main" id="{77340E5E-D14D-BF1A-23C8-76D45E22687F}"/>
              </a:ext>
            </a:extLst>
          </p:cNvPr>
          <p:cNvSpPr/>
          <p:nvPr userDrawn="1"/>
        </p:nvSpPr>
        <p:spPr>
          <a:xfrm flipV="1">
            <a:off x="0" y="5096807"/>
            <a:ext cx="3118319" cy="60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C"/>
          </a:p>
        </p:txBody>
      </p:sp>
      <p:grpSp>
        <p:nvGrpSpPr>
          <p:cNvPr id="5" name="Group 4">
            <a:extLst>
              <a:ext uri="{FF2B5EF4-FFF2-40B4-BE49-F238E27FC236}">
                <a16:creationId xmlns:a16="http://schemas.microsoft.com/office/drawing/2014/main" id="{A1C809FE-B5EE-A7E7-8C7B-F023B367A167}"/>
              </a:ext>
            </a:extLst>
          </p:cNvPr>
          <p:cNvGrpSpPr/>
          <p:nvPr userDrawn="1"/>
        </p:nvGrpSpPr>
        <p:grpSpPr>
          <a:xfrm>
            <a:off x="191007" y="5063487"/>
            <a:ext cx="2736304" cy="1657929"/>
            <a:chOff x="6816080" y="929077"/>
            <a:chExt cx="2736304" cy="1657929"/>
          </a:xfrm>
        </p:grpSpPr>
        <p:pic>
          <p:nvPicPr>
            <p:cNvPr id="3" name="Picture 2" descr="A picture containing text&#10;&#10;Description automatically generated">
              <a:extLst>
                <a:ext uri="{FF2B5EF4-FFF2-40B4-BE49-F238E27FC236}">
                  <a16:creationId xmlns:a16="http://schemas.microsoft.com/office/drawing/2014/main" id="{84E24A70-75D9-287B-6AB0-EA7F112BC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08505" y="929077"/>
              <a:ext cx="1248137" cy="1153861"/>
            </a:xfrm>
            <a:prstGeom prst="rect">
              <a:avLst/>
            </a:prstGeom>
            <a:effectLst>
              <a:outerShdw blurRad="50800" dist="38100" dir="5400000" algn="t" rotWithShape="0">
                <a:prstClr val="black">
                  <a:alpha val="40000"/>
                </a:prstClr>
              </a:outerShdw>
            </a:effectLst>
          </p:spPr>
        </p:pic>
        <p:sp>
          <p:nvSpPr>
            <p:cNvPr id="4" name="TextBox 3">
              <a:extLst>
                <a:ext uri="{FF2B5EF4-FFF2-40B4-BE49-F238E27FC236}">
                  <a16:creationId xmlns:a16="http://schemas.microsoft.com/office/drawing/2014/main" id="{EB4D192C-7E83-10CA-8801-1F2DACD9675B}"/>
                </a:ext>
              </a:extLst>
            </p:cNvPr>
            <p:cNvSpPr txBox="1"/>
            <p:nvPr userDrawn="1"/>
          </p:nvSpPr>
          <p:spPr>
            <a:xfrm>
              <a:off x="6816080" y="1848342"/>
              <a:ext cx="2736304" cy="738664"/>
            </a:xfrm>
            <a:prstGeom prst="rect">
              <a:avLst/>
            </a:prstGeom>
            <a:noFill/>
          </p:spPr>
          <p:txBody>
            <a:bodyPr wrap="square" rtlCol="0">
              <a:spAutoFit/>
            </a:bodyPr>
            <a:lstStyle/>
            <a:p>
              <a:pPr algn="ctr"/>
              <a:r>
                <a:rPr lang="en-US" sz="1400" dirty="0">
                  <a:solidFill>
                    <a:schemeClr val="bg1"/>
                  </a:solidFill>
                  <a:latin typeface="Times New Roman" panose="02020603050405020304" pitchFamily="18" charset="0"/>
                  <a:cs typeface="Times New Roman" panose="02020603050405020304" pitchFamily="18" charset="0"/>
                </a:rPr>
                <a:t>Ministry of Tourism, Investment, Creative Industries, Culture and Information</a:t>
              </a:r>
              <a:endParaRPr lang="en-LC" sz="1400" dirty="0">
                <a:solidFill>
                  <a:schemeClr val="bg1"/>
                </a:solidFill>
                <a:latin typeface="Times New Roman" panose="02020603050405020304" pitchFamily="18" charset="0"/>
                <a:cs typeface="Times New Roman" panose="02020603050405020304" pitchFamily="18" charset="0"/>
              </a:endParaRPr>
            </a:p>
          </p:txBody>
        </p:sp>
      </p:grpSp>
      <p:sp>
        <p:nvSpPr>
          <p:cNvPr id="11" name="Content Placeholder 10">
            <a:extLst>
              <a:ext uri="{FF2B5EF4-FFF2-40B4-BE49-F238E27FC236}">
                <a16:creationId xmlns:a16="http://schemas.microsoft.com/office/drawing/2014/main" id="{894384C8-3C55-7BC1-8625-BBBEAC0CB312}"/>
              </a:ext>
            </a:extLst>
          </p:cNvPr>
          <p:cNvSpPr>
            <a:spLocks noGrp="1"/>
          </p:cNvSpPr>
          <p:nvPr>
            <p:ph sz="quarter" idx="10"/>
          </p:nvPr>
        </p:nvSpPr>
        <p:spPr>
          <a:xfrm>
            <a:off x="3118319" y="0"/>
            <a:ext cx="9073681" cy="685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LC" dirty="0"/>
          </a:p>
        </p:txBody>
      </p:sp>
    </p:spTree>
    <p:extLst>
      <p:ext uri="{BB962C8B-B14F-4D97-AF65-F5344CB8AC3E}">
        <p14:creationId xmlns:p14="http://schemas.microsoft.com/office/powerpoint/2010/main" val="23062856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E08EC4-DE36-442E-A1C2-286CDE6CBB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BAE08EC4-DE36-442E-A1C2-286CDE6CB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30E748E-0356-4A69-905E-FD3E4E519A5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E3386AB-8A0F-48B8-AA6B-E92F5F8827B0}"/>
              </a:ext>
            </a:extLst>
          </p:cNvPr>
          <p:cNvSpPr/>
          <p:nvPr userDrawn="1"/>
        </p:nvSpPr>
        <p:spPr>
          <a:xfrm>
            <a:off x="0" y="1453412"/>
            <a:ext cx="12192000" cy="10252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a:p>
        </p:txBody>
      </p:sp>
      <p:sp>
        <p:nvSpPr>
          <p:cNvPr id="10" name="Title 1">
            <a:extLst>
              <a:ext uri="{FF2B5EF4-FFF2-40B4-BE49-F238E27FC236}">
                <a16:creationId xmlns:a16="http://schemas.microsoft.com/office/drawing/2014/main" id="{794A3CE5-3645-42D6-9E1A-E030DF9CAF72}"/>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endParaRPr lang="en-US" dirty="0"/>
          </a:p>
        </p:txBody>
      </p:sp>
      <p:pic>
        <p:nvPicPr>
          <p:cNvPr id="11" name="Picture 27" descr="Image result for government of st lucia">
            <a:extLst>
              <a:ext uri="{FF2B5EF4-FFF2-40B4-BE49-F238E27FC236}">
                <a16:creationId xmlns:a16="http://schemas.microsoft.com/office/drawing/2014/main" id="{A868D1BC-3170-49F5-BAF6-35D5A1B984C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65385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0" name="Text Placeholder 26">
            <a:extLst>
              <a:ext uri="{FF2B5EF4-FFF2-40B4-BE49-F238E27FC236}">
                <a16:creationId xmlns:a16="http://schemas.microsoft.com/office/drawing/2014/main" id="{4AA38E8C-A334-4183-8ABC-112B8517F487}"/>
              </a:ext>
            </a:extLst>
          </p:cNvPr>
          <p:cNvSpPr>
            <a:spLocks noGrp="1"/>
          </p:cNvSpPr>
          <p:nvPr>
            <p:ph type="body" sz="quarter" idx="12"/>
          </p:nvPr>
        </p:nvSpPr>
        <p:spPr>
          <a:xfrm>
            <a:off x="660400" y="2044700"/>
            <a:ext cx="4275138" cy="3560763"/>
          </a:xfrm>
          <a:prstGeom prst="rect">
            <a:avLst/>
          </a:prstGeom>
        </p:spPr>
        <p:txBody>
          <a:bodyPr/>
          <a:lstStyle>
            <a:lvl1pPr>
              <a:buClr>
                <a:schemeClr val="accent4"/>
              </a:buClr>
              <a:buFont typeface="Wingdings" panose="05000000000000000000" pitchFamily="2" charset="2"/>
              <a:buChar char="§"/>
              <a:defRPr sz="2000"/>
            </a:lvl1pPr>
            <a:lvl2pPr>
              <a:buClr>
                <a:schemeClr val="accent4"/>
              </a:buClr>
              <a:buFont typeface="Wingdings" panose="05000000000000000000" pitchFamily="2" charset="2"/>
              <a:buChar char="§"/>
              <a:defRPr sz="1800"/>
            </a:lvl2pPr>
            <a:lvl3pPr>
              <a:buClr>
                <a:schemeClr val="accent4"/>
              </a:buClr>
              <a:buFont typeface="Wingdings" panose="05000000000000000000" pitchFamily="2" charset="2"/>
              <a:buChar char="§"/>
              <a:defRPr sz="1600"/>
            </a:lvl3pPr>
            <a:lvl4pPr>
              <a:buClr>
                <a:schemeClr val="accent4"/>
              </a:buClr>
              <a:buFont typeface="Wingdings" panose="05000000000000000000" pitchFamily="2" charset="2"/>
              <a:buChar char="§"/>
              <a:defRPr sz="1600"/>
            </a:lvl4pPr>
            <a:lvl5pPr>
              <a:buClr>
                <a:schemeClr val="accent4"/>
              </a:buClr>
              <a:buFont typeface="Wingdings" panose="05000000000000000000" pitchFamily="2" charset="2"/>
              <a:buChar char="§"/>
              <a:defRPr sz="1600"/>
            </a:lvl5pPr>
          </a:lstStyle>
          <a:p>
            <a:pPr lvl="0"/>
            <a:r>
              <a:rPr lang="en-US"/>
              <a:t>Click to edit Master text styles</a:t>
            </a:r>
          </a:p>
        </p:txBody>
      </p:sp>
      <p:sp>
        <p:nvSpPr>
          <p:cNvPr id="19" name="Rectangle 18">
            <a:extLst>
              <a:ext uri="{FF2B5EF4-FFF2-40B4-BE49-F238E27FC236}">
                <a16:creationId xmlns:a16="http://schemas.microsoft.com/office/drawing/2014/main" id="{B80624A4-5116-4AAF-8C31-C25D1DB16FEC}"/>
              </a:ext>
            </a:extLst>
          </p:cNvPr>
          <p:cNvSpPr/>
          <p:nvPr userDrawn="1"/>
        </p:nvSpPr>
        <p:spPr>
          <a:xfrm>
            <a:off x="9354457" y="5363987"/>
            <a:ext cx="457200" cy="45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D07EC8A-6024-4DEA-9C4D-AE4228E17854}"/>
              </a:ext>
            </a:extLst>
          </p:cNvPr>
          <p:cNvSpPr/>
          <p:nvPr userDrawn="1"/>
        </p:nvSpPr>
        <p:spPr>
          <a:xfrm>
            <a:off x="6692791" y="1699889"/>
            <a:ext cx="319749" cy="3197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1C8FAEF-DF78-48CC-AEEF-F9B802055C05}"/>
              </a:ext>
            </a:extLst>
          </p:cNvPr>
          <p:cNvSpPr/>
          <p:nvPr userDrawn="1"/>
        </p:nvSpPr>
        <p:spPr>
          <a:xfrm>
            <a:off x="9354457" y="5897738"/>
            <a:ext cx="179977" cy="1799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566F72D6-AEEE-4CF3-8136-F6782F1E489E}"/>
              </a:ext>
            </a:extLst>
          </p:cNvPr>
          <p:cNvSpPr>
            <a:spLocks noGrp="1"/>
          </p:cNvSpPr>
          <p:nvPr>
            <p:ph type="pic" sz="quarter" idx="13"/>
          </p:nvPr>
        </p:nvSpPr>
        <p:spPr>
          <a:xfrm>
            <a:off x="7090227" y="786181"/>
            <a:ext cx="4441372" cy="5393036"/>
          </a:xfrm>
          <a:custGeom>
            <a:avLst/>
            <a:gdLst>
              <a:gd name="connsiteX0" fmla="*/ 0 w 4441372"/>
              <a:gd name="connsiteY0" fmla="*/ 3188969 h 5393036"/>
              <a:gd name="connsiteX1" fmla="*/ 2173516 w 4441372"/>
              <a:gd name="connsiteY1" fmla="*/ 3188969 h 5393036"/>
              <a:gd name="connsiteX2" fmla="*/ 2173516 w 4441372"/>
              <a:gd name="connsiteY2" fmla="*/ 5393036 h 5393036"/>
              <a:gd name="connsiteX3" fmla="*/ 0 w 4441372"/>
              <a:gd name="connsiteY3" fmla="*/ 5393036 h 5393036"/>
              <a:gd name="connsiteX4" fmla="*/ 2267856 w 4441372"/>
              <a:gd name="connsiteY4" fmla="*/ 2293018 h 5393036"/>
              <a:gd name="connsiteX5" fmla="*/ 4441372 w 4441372"/>
              <a:gd name="connsiteY5" fmla="*/ 2293018 h 5393036"/>
              <a:gd name="connsiteX6" fmla="*/ 4441372 w 4441372"/>
              <a:gd name="connsiteY6" fmla="*/ 4497085 h 5393036"/>
              <a:gd name="connsiteX7" fmla="*/ 2267856 w 4441372"/>
              <a:gd name="connsiteY7" fmla="*/ 4497085 h 5393036"/>
              <a:gd name="connsiteX8" fmla="*/ 0 w 4441372"/>
              <a:gd name="connsiteY8" fmla="*/ 906837 h 5393036"/>
              <a:gd name="connsiteX9" fmla="*/ 2173516 w 4441372"/>
              <a:gd name="connsiteY9" fmla="*/ 906837 h 5393036"/>
              <a:gd name="connsiteX10" fmla="*/ 2173516 w 4441372"/>
              <a:gd name="connsiteY10" fmla="*/ 3110904 h 5393036"/>
              <a:gd name="connsiteX11" fmla="*/ 0 w 4441372"/>
              <a:gd name="connsiteY11" fmla="*/ 3110904 h 5393036"/>
              <a:gd name="connsiteX12" fmla="*/ 2267856 w 4441372"/>
              <a:gd name="connsiteY12" fmla="*/ 0 h 5393036"/>
              <a:gd name="connsiteX13" fmla="*/ 4441372 w 4441372"/>
              <a:gd name="connsiteY13" fmla="*/ 0 h 5393036"/>
              <a:gd name="connsiteX14" fmla="*/ 4441372 w 4441372"/>
              <a:gd name="connsiteY14" fmla="*/ 2204067 h 5393036"/>
              <a:gd name="connsiteX15" fmla="*/ 2267856 w 4441372"/>
              <a:gd name="connsiteY15" fmla="*/ 2204067 h 539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1372" h="5393036">
                <a:moveTo>
                  <a:pt x="0" y="3188969"/>
                </a:moveTo>
                <a:lnTo>
                  <a:pt x="2173516" y="3188969"/>
                </a:lnTo>
                <a:lnTo>
                  <a:pt x="2173516" y="5393036"/>
                </a:lnTo>
                <a:lnTo>
                  <a:pt x="0" y="5393036"/>
                </a:lnTo>
                <a:close/>
                <a:moveTo>
                  <a:pt x="2267856" y="2293018"/>
                </a:moveTo>
                <a:lnTo>
                  <a:pt x="4441372" y="2293018"/>
                </a:lnTo>
                <a:lnTo>
                  <a:pt x="4441372" y="4497085"/>
                </a:lnTo>
                <a:lnTo>
                  <a:pt x="2267856" y="4497085"/>
                </a:lnTo>
                <a:close/>
                <a:moveTo>
                  <a:pt x="0" y="906837"/>
                </a:moveTo>
                <a:lnTo>
                  <a:pt x="2173516" y="906837"/>
                </a:lnTo>
                <a:lnTo>
                  <a:pt x="2173516" y="3110904"/>
                </a:lnTo>
                <a:lnTo>
                  <a:pt x="0" y="3110904"/>
                </a:lnTo>
                <a:close/>
                <a:moveTo>
                  <a:pt x="2267856" y="0"/>
                </a:moveTo>
                <a:lnTo>
                  <a:pt x="4441372" y="0"/>
                </a:lnTo>
                <a:lnTo>
                  <a:pt x="4441372" y="2204067"/>
                </a:lnTo>
                <a:lnTo>
                  <a:pt x="2267856" y="2204067"/>
                </a:lnTo>
                <a:close/>
              </a:path>
            </a:pathLst>
          </a:custGeom>
        </p:spPr>
        <p:txBody>
          <a:bodyPr wrap="square" anchor="ctr">
            <a:noAutofit/>
          </a:bodyPr>
          <a:lstStyle>
            <a:lvl1pPr algn="ctr">
              <a:buNone/>
              <a:defRPr/>
            </a:lvl1pPr>
          </a:lstStyle>
          <a:p>
            <a:r>
              <a:rPr lang="en-US"/>
              <a:t>Click icon to add picture</a:t>
            </a:r>
            <a:endParaRPr lang="en-US" dirty="0"/>
          </a:p>
        </p:txBody>
      </p:sp>
      <p:sp>
        <p:nvSpPr>
          <p:cNvPr id="2" name="Title 1">
            <a:extLst>
              <a:ext uri="{FF2B5EF4-FFF2-40B4-BE49-F238E27FC236}">
                <a16:creationId xmlns:a16="http://schemas.microsoft.com/office/drawing/2014/main" id="{459DADC7-BE21-4434-A6E4-BAF809005389}"/>
              </a:ext>
            </a:extLst>
          </p:cNvPr>
          <p:cNvSpPr>
            <a:spLocks noGrp="1"/>
          </p:cNvSpPr>
          <p:nvPr>
            <p:ph type="title"/>
          </p:nvPr>
        </p:nvSpPr>
        <p:spPr>
          <a:xfrm>
            <a:off x="660400" y="805213"/>
            <a:ext cx="4275138" cy="830997"/>
          </a:xfrm>
          <a:prstGeom prst="rect">
            <a:avLst/>
          </a:prstGeom>
        </p:spPr>
        <p:txBody>
          <a:bodyPr/>
          <a:lstStyle>
            <a:lvl1pPr>
              <a:defRPr sz="4800" b="1">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789043391"/>
      </p:ext>
    </p:extLst>
  </p:cSld>
  <p:clrMapOvr>
    <a:masterClrMapping/>
  </p:clrMapOvr>
  <p:extLst>
    <p:ext uri="{DCECCB84-F9BA-43D5-87BE-67443E8EF086}">
      <p15:sldGuideLst xmlns:p15="http://schemas.microsoft.com/office/powerpoint/2012/main">
        <p15:guide id="1" orient="horz" pos="504">
          <p15:clr>
            <a:srgbClr val="FBAE40"/>
          </p15:clr>
        </p15:guide>
        <p15:guide id="2" pos="3840">
          <p15:clr>
            <a:srgbClr val="FBAE40"/>
          </p15:clr>
        </p15:guide>
        <p15:guide id="3" orient="horz" pos="141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24FAA9D0-7C9C-4043-9931-A15819ABB9B5}"/>
              </a:ext>
            </a:extLst>
          </p:cNvPr>
          <p:cNvSpPr/>
          <p:nvPr userDrawn="1"/>
        </p:nvSpPr>
        <p:spPr>
          <a:xfrm>
            <a:off x="7362825" y="443263"/>
            <a:ext cx="361950" cy="36195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14" name="Oval 13">
            <a:extLst>
              <a:ext uri="{FF2B5EF4-FFF2-40B4-BE49-F238E27FC236}">
                <a16:creationId xmlns:a16="http://schemas.microsoft.com/office/drawing/2014/main" id="{E232AB2D-843E-4B5F-8793-6A263DA356BB}"/>
              </a:ext>
            </a:extLst>
          </p:cNvPr>
          <p:cNvSpPr/>
          <p:nvPr userDrawn="1"/>
        </p:nvSpPr>
        <p:spPr>
          <a:xfrm>
            <a:off x="11007246" y="5605994"/>
            <a:ext cx="654227" cy="6542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16" name="Oval 15">
            <a:extLst>
              <a:ext uri="{FF2B5EF4-FFF2-40B4-BE49-F238E27FC236}">
                <a16:creationId xmlns:a16="http://schemas.microsoft.com/office/drawing/2014/main" id="{FA75A12B-C399-4072-BD69-D872D2C2AD1F}"/>
              </a:ext>
            </a:extLst>
          </p:cNvPr>
          <p:cNvSpPr/>
          <p:nvPr userDrawn="1"/>
        </p:nvSpPr>
        <p:spPr>
          <a:xfrm>
            <a:off x="10683791" y="6132439"/>
            <a:ext cx="251152" cy="25115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5"/>
              </a:solidFill>
            </a:endParaRPr>
          </a:p>
        </p:txBody>
      </p:sp>
      <p:sp>
        <p:nvSpPr>
          <p:cNvPr id="23" name="Picture Placeholder 22">
            <a:extLst>
              <a:ext uri="{FF2B5EF4-FFF2-40B4-BE49-F238E27FC236}">
                <a16:creationId xmlns:a16="http://schemas.microsoft.com/office/drawing/2014/main" id="{423AE48B-50E9-4BEA-B66A-B2D2B9CCFE9C}"/>
              </a:ext>
            </a:extLst>
          </p:cNvPr>
          <p:cNvSpPr>
            <a:spLocks noGrp="1"/>
          </p:cNvSpPr>
          <p:nvPr>
            <p:ph type="pic" sz="quarter" idx="10"/>
          </p:nvPr>
        </p:nvSpPr>
        <p:spPr>
          <a:xfrm>
            <a:off x="5733416" y="624239"/>
            <a:ext cx="5855754" cy="5631571"/>
          </a:xfrm>
          <a:custGeom>
            <a:avLst/>
            <a:gdLst>
              <a:gd name="connsiteX0" fmla="*/ 3433020 w 5855754"/>
              <a:gd name="connsiteY0" fmla="*/ 786103 h 5631571"/>
              <a:gd name="connsiteX1" fmla="*/ 5855754 w 5855754"/>
              <a:gd name="connsiteY1" fmla="*/ 3208837 h 5631571"/>
              <a:gd name="connsiteX2" fmla="*/ 3433020 w 5855754"/>
              <a:gd name="connsiteY2" fmla="*/ 5631571 h 5631571"/>
              <a:gd name="connsiteX3" fmla="*/ 1010286 w 5855754"/>
              <a:gd name="connsiteY3" fmla="*/ 3208837 h 5631571"/>
              <a:gd name="connsiteX4" fmla="*/ 3433020 w 5855754"/>
              <a:gd name="connsiteY4" fmla="*/ 786103 h 5631571"/>
              <a:gd name="connsiteX5" fmla="*/ 828675 w 5855754"/>
              <a:gd name="connsiteY5" fmla="*/ 0 h 5631571"/>
              <a:gd name="connsiteX6" fmla="*/ 1657350 w 5855754"/>
              <a:gd name="connsiteY6" fmla="*/ 828675 h 5631571"/>
              <a:gd name="connsiteX7" fmla="*/ 828675 w 5855754"/>
              <a:gd name="connsiteY7" fmla="*/ 1657350 h 5631571"/>
              <a:gd name="connsiteX8" fmla="*/ 0 w 5855754"/>
              <a:gd name="connsiteY8" fmla="*/ 828675 h 5631571"/>
              <a:gd name="connsiteX9" fmla="*/ 828675 w 5855754"/>
              <a:gd name="connsiteY9" fmla="*/ 0 h 563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5754" h="5631571">
                <a:moveTo>
                  <a:pt x="3433020" y="786103"/>
                </a:moveTo>
                <a:cubicBezTo>
                  <a:pt x="4771059" y="786103"/>
                  <a:pt x="5855754" y="1870798"/>
                  <a:pt x="5855754" y="3208837"/>
                </a:cubicBezTo>
                <a:cubicBezTo>
                  <a:pt x="5855754" y="4546876"/>
                  <a:pt x="4771059" y="5631571"/>
                  <a:pt x="3433020" y="5631571"/>
                </a:cubicBezTo>
                <a:cubicBezTo>
                  <a:pt x="2094981" y="5631571"/>
                  <a:pt x="1010286" y="4546876"/>
                  <a:pt x="1010286" y="3208837"/>
                </a:cubicBezTo>
                <a:cubicBezTo>
                  <a:pt x="1010286" y="1870798"/>
                  <a:pt x="2094981" y="786103"/>
                  <a:pt x="3433020" y="786103"/>
                </a:cubicBezTo>
                <a:close/>
                <a:moveTo>
                  <a:pt x="828675" y="0"/>
                </a:moveTo>
                <a:cubicBezTo>
                  <a:pt x="1286340" y="0"/>
                  <a:pt x="1657350" y="371010"/>
                  <a:pt x="1657350" y="828675"/>
                </a:cubicBezTo>
                <a:cubicBezTo>
                  <a:pt x="1657350" y="1286340"/>
                  <a:pt x="1286340" y="1657350"/>
                  <a:pt x="828675" y="1657350"/>
                </a:cubicBezTo>
                <a:cubicBezTo>
                  <a:pt x="371010" y="1657350"/>
                  <a:pt x="0" y="1286340"/>
                  <a:pt x="0" y="828675"/>
                </a:cubicBezTo>
                <a:cubicBezTo>
                  <a:pt x="0" y="371010"/>
                  <a:pt x="371010" y="0"/>
                  <a:pt x="828675" y="0"/>
                </a:cubicBezTo>
                <a:close/>
              </a:path>
            </a:pathLst>
          </a:custGeom>
        </p:spPr>
        <p:txBody>
          <a:bodyPr wrap="square" anchor="ctr">
            <a:noAutofit/>
          </a:bodyPr>
          <a:lstStyle>
            <a:lvl1pPr algn="ctr">
              <a:buNone/>
              <a:defRPr/>
            </a:lvl1pPr>
          </a:lstStyle>
          <a:p>
            <a:r>
              <a:rPr lang="en-US"/>
              <a:t>Click icon to add picture</a:t>
            </a:r>
            <a:endParaRPr lang="en-US" dirty="0"/>
          </a:p>
        </p:txBody>
      </p:sp>
      <p:sp>
        <p:nvSpPr>
          <p:cNvPr id="27" name="Text Placeholder 26">
            <a:extLst>
              <a:ext uri="{FF2B5EF4-FFF2-40B4-BE49-F238E27FC236}">
                <a16:creationId xmlns:a16="http://schemas.microsoft.com/office/drawing/2014/main" id="{282D3E62-6D1A-4E9D-BE54-2EED9BF429A4}"/>
              </a:ext>
            </a:extLst>
          </p:cNvPr>
          <p:cNvSpPr>
            <a:spLocks noGrp="1"/>
          </p:cNvSpPr>
          <p:nvPr>
            <p:ph type="body" sz="quarter" idx="12"/>
          </p:nvPr>
        </p:nvSpPr>
        <p:spPr>
          <a:xfrm>
            <a:off x="660400" y="2044700"/>
            <a:ext cx="4275138" cy="3560763"/>
          </a:xfrm>
          <a:prstGeom prst="rect">
            <a:avLst/>
          </a:prstGeom>
        </p:spPr>
        <p:txBody>
          <a:bodyPr/>
          <a:lstStyle>
            <a:lvl1pPr>
              <a:lnSpc>
                <a:spcPct val="150000"/>
              </a:lnSpc>
              <a:buClr>
                <a:schemeClr val="accent4"/>
              </a:buClr>
              <a:buFont typeface="Wingdings" panose="05000000000000000000" pitchFamily="2" charset="2"/>
              <a:buChar char="§"/>
              <a:defRPr sz="2000"/>
            </a:lvl1pPr>
            <a:lvl2pPr>
              <a:buClr>
                <a:schemeClr val="accent4"/>
              </a:buClr>
              <a:buFont typeface="Wingdings" panose="05000000000000000000" pitchFamily="2" charset="2"/>
              <a:buChar char="§"/>
              <a:defRPr sz="2000"/>
            </a:lvl2pPr>
            <a:lvl3pPr>
              <a:buClr>
                <a:schemeClr val="accent4"/>
              </a:buClr>
              <a:buFont typeface="Wingdings" panose="05000000000000000000" pitchFamily="2" charset="2"/>
              <a:buChar char="§"/>
              <a:defRPr sz="1800"/>
            </a:lvl3pPr>
            <a:lvl4pPr>
              <a:buClr>
                <a:schemeClr val="accent4"/>
              </a:buClr>
              <a:buFont typeface="Wingdings" panose="05000000000000000000" pitchFamily="2" charset="2"/>
              <a:buChar char="§"/>
              <a:defRPr sz="1800"/>
            </a:lvl4pPr>
            <a:lvl5pPr>
              <a:buClr>
                <a:schemeClr val="accent4"/>
              </a:buClr>
              <a:buFont typeface="Wingdings" panose="05000000000000000000" pitchFamily="2" charset="2"/>
              <a:buChar char="§"/>
              <a:defRPr sz="1800"/>
            </a:lvl5pPr>
          </a:lstStyle>
          <a:p>
            <a:pPr lvl="0"/>
            <a:r>
              <a:rPr lang="en-US"/>
              <a:t>Click to edit Master text styles</a:t>
            </a:r>
          </a:p>
        </p:txBody>
      </p:sp>
      <p:sp>
        <p:nvSpPr>
          <p:cNvPr id="8" name="Title 1">
            <a:extLst>
              <a:ext uri="{FF2B5EF4-FFF2-40B4-BE49-F238E27FC236}">
                <a16:creationId xmlns:a16="http://schemas.microsoft.com/office/drawing/2014/main" id="{DEB8F0E5-B89F-48AD-87BD-534EA9463CD3}"/>
              </a:ext>
            </a:extLst>
          </p:cNvPr>
          <p:cNvSpPr>
            <a:spLocks noGrp="1"/>
          </p:cNvSpPr>
          <p:nvPr>
            <p:ph type="title"/>
          </p:nvPr>
        </p:nvSpPr>
        <p:spPr>
          <a:xfrm>
            <a:off x="660400" y="805213"/>
            <a:ext cx="4275138" cy="830997"/>
          </a:xfrm>
          <a:prstGeom prst="rect">
            <a:avLst/>
          </a:prstGeom>
        </p:spPr>
        <p:txBody>
          <a:bodyPr/>
          <a:lstStyle>
            <a:lvl1pPr>
              <a:defRPr sz="4800" b="1">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52825931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0961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EC2501B-DEA6-190E-3633-E32F635B7CE1}"/>
              </a:ext>
            </a:extLst>
          </p:cNvPr>
          <p:cNvSpPr>
            <a:spLocks noGrp="1"/>
          </p:cNvSpPr>
          <p:nvPr>
            <p:ph type="title"/>
          </p:nvPr>
        </p:nvSpPr>
        <p:spPr>
          <a:xfrm>
            <a:off x="1484764" y="1986926"/>
            <a:ext cx="5257793" cy="2057441"/>
          </a:xfrm>
        </p:spPr>
        <p:txBody>
          <a:bodyPr>
            <a:noAutofit/>
          </a:bodyPr>
          <a:lstStyle/>
          <a:p>
            <a:r>
              <a:rPr lang="en-US" noProof="0"/>
              <a:t>Click to edit Master title style</a:t>
            </a:r>
            <a:endParaRPr lang="en-US" noProof="0" dirty="0"/>
          </a:p>
        </p:txBody>
      </p:sp>
      <p:cxnSp>
        <p:nvCxnSpPr>
          <p:cNvPr id="24" name="Straight Connector 2">
            <a:extLst>
              <a:ext uri="{FF2B5EF4-FFF2-40B4-BE49-F238E27FC236}">
                <a16:creationId xmlns:a16="http://schemas.microsoft.com/office/drawing/2014/main" id="{F1FCCFDB-D985-4322-AC87-F69214893708}"/>
              </a:ext>
            </a:extLst>
          </p:cNvPr>
          <p:cNvCxnSpPr/>
          <p:nvPr userDrawn="1"/>
        </p:nvCxnSpPr>
        <p:spPr>
          <a:xfrm>
            <a:off x="1509005" y="4172084"/>
            <a:ext cx="0" cy="760288"/>
          </a:xfrm>
          <a:prstGeom prst="line">
            <a:avLst/>
          </a:prstGeom>
          <a:noFill/>
          <a:ln w="19050" cap="flat" cmpd="sng" algn="ctr">
            <a:solidFill>
              <a:srgbClr val="D84400"/>
            </a:solidFill>
            <a:prstDash val="solid"/>
            <a:miter lim="800000"/>
          </a:ln>
          <a:effectLst/>
        </p:spPr>
      </p:cxnSp>
      <p:sp>
        <p:nvSpPr>
          <p:cNvPr id="27" name="Content placeholder 47" descr="Click icon to add picture">
            <a:extLst>
              <a:ext uri="{FF2B5EF4-FFF2-40B4-BE49-F238E27FC236}">
                <a16:creationId xmlns:a16="http://schemas.microsoft.com/office/drawing/2014/main" id="{EA8265B5-83C5-4AE9-88AB-3F2443B57F00}"/>
              </a:ext>
            </a:extLst>
          </p:cNvPr>
          <p:cNvSpPr>
            <a:spLocks noGrp="1"/>
          </p:cNvSpPr>
          <p:nvPr>
            <p:ph type="body" sz="quarter" idx="28" hasCustomPrompt="1"/>
          </p:nvPr>
        </p:nvSpPr>
        <p:spPr>
          <a:xfrm>
            <a:off x="1601366" y="4172084"/>
            <a:ext cx="1570612" cy="760288"/>
          </a:xfrm>
          <a:prstGeom prst="rect">
            <a:avLst/>
          </a:prstGeom>
        </p:spPr>
        <p:txBody>
          <a:bodyPr>
            <a:noAutofit/>
          </a:bodyPr>
          <a:lstStyle>
            <a:lvl1pPr marL="0" indent="0">
              <a:lnSpc>
                <a:spcPct val="100000"/>
              </a:lnSpc>
              <a:buNone/>
              <a:defRPr sz="1800" b="0">
                <a:solidFill>
                  <a:schemeClr val="accent6"/>
                </a:solidFill>
              </a:defRPr>
            </a:lvl1pPr>
            <a:lvl2pPr>
              <a:defRPr sz="1000"/>
            </a:lvl2pPr>
            <a:lvl3pPr>
              <a:defRPr sz="900"/>
            </a:lvl3pPr>
            <a:lvl4pPr>
              <a:defRPr sz="800"/>
            </a:lvl4pPr>
            <a:lvl5pPr>
              <a:defRPr sz="800"/>
            </a:lvl5pPr>
          </a:lstStyle>
          <a:p>
            <a:pPr lvl="0"/>
            <a:r>
              <a:rPr lang="en-US" altLang="zh-CN" noProof="0"/>
              <a:t>Click to edit Master title style </a:t>
            </a:r>
          </a:p>
        </p:txBody>
      </p:sp>
      <p:sp>
        <p:nvSpPr>
          <p:cNvPr id="47" name="Content placeholder 47">
            <a:extLst>
              <a:ext uri="{FF2B5EF4-FFF2-40B4-BE49-F238E27FC236}">
                <a16:creationId xmlns:a16="http://schemas.microsoft.com/office/drawing/2014/main" id="{0FFAAB58-ABE4-41AC-B94E-432936CE0301}"/>
              </a:ext>
            </a:extLst>
          </p:cNvPr>
          <p:cNvSpPr>
            <a:spLocks noGrp="1"/>
          </p:cNvSpPr>
          <p:nvPr>
            <p:ph type="pic" sz="quarter" idx="47" hasCustomPrompt="1"/>
          </p:nvPr>
        </p:nvSpPr>
        <p:spPr>
          <a:xfrm>
            <a:off x="6742557" y="821836"/>
            <a:ext cx="4405503" cy="5066346"/>
          </a:xfrm>
          <a:custGeom>
            <a:avLst/>
            <a:gdLst>
              <a:gd name="connsiteX0" fmla="*/ 0 w 4816475"/>
              <a:gd name="connsiteY0" fmla="*/ 2407444 h 4814888"/>
              <a:gd name="connsiteX1" fmla="*/ 1203722 w 4816475"/>
              <a:gd name="connsiteY1" fmla="*/ 1 h 4814888"/>
              <a:gd name="connsiteX2" fmla="*/ 3612753 w 4816475"/>
              <a:gd name="connsiteY2" fmla="*/ 1 h 4814888"/>
              <a:gd name="connsiteX3" fmla="*/ 4816475 w 4816475"/>
              <a:gd name="connsiteY3" fmla="*/ 2407444 h 4814888"/>
              <a:gd name="connsiteX4" fmla="*/ 3612753 w 4816475"/>
              <a:gd name="connsiteY4" fmla="*/ 4814887 h 4814888"/>
              <a:gd name="connsiteX5" fmla="*/ 1203722 w 4816475"/>
              <a:gd name="connsiteY5" fmla="*/ 4814887 h 4814888"/>
              <a:gd name="connsiteX6" fmla="*/ 0 w 4816475"/>
              <a:gd name="connsiteY6" fmla="*/ 2407444 h 4814888"/>
              <a:gd name="connsiteX0" fmla="*/ 0 w 4816475"/>
              <a:gd name="connsiteY0" fmla="*/ 2407443 h 4814886"/>
              <a:gd name="connsiteX1" fmla="*/ 2199402 w 4816475"/>
              <a:gd name="connsiteY1" fmla="*/ 243840 h 4814886"/>
              <a:gd name="connsiteX2" fmla="*/ 3612753 w 4816475"/>
              <a:gd name="connsiteY2" fmla="*/ 0 h 4814886"/>
              <a:gd name="connsiteX3" fmla="*/ 4816475 w 4816475"/>
              <a:gd name="connsiteY3" fmla="*/ 2407443 h 4814886"/>
              <a:gd name="connsiteX4" fmla="*/ 3612753 w 4816475"/>
              <a:gd name="connsiteY4" fmla="*/ 4814886 h 4814886"/>
              <a:gd name="connsiteX5" fmla="*/ 1203722 w 4816475"/>
              <a:gd name="connsiteY5" fmla="*/ 4814886 h 4814886"/>
              <a:gd name="connsiteX6" fmla="*/ 0 w 4816475"/>
              <a:gd name="connsiteY6" fmla="*/ 2407443 h 4814886"/>
              <a:gd name="connsiteX0" fmla="*/ 0 w 4816475"/>
              <a:gd name="connsiteY0" fmla="*/ 2163603 h 4571046"/>
              <a:gd name="connsiteX1" fmla="*/ 2199402 w 4816475"/>
              <a:gd name="connsiteY1" fmla="*/ 0 h 4571046"/>
              <a:gd name="connsiteX2" fmla="*/ 4608433 w 4816475"/>
              <a:gd name="connsiteY2" fmla="*/ 721360 h 4571046"/>
              <a:gd name="connsiteX3" fmla="*/ 4816475 w 4816475"/>
              <a:gd name="connsiteY3" fmla="*/ 2163603 h 4571046"/>
              <a:gd name="connsiteX4" fmla="*/ 3612753 w 4816475"/>
              <a:gd name="connsiteY4" fmla="*/ 4571046 h 4571046"/>
              <a:gd name="connsiteX5" fmla="*/ 1203722 w 4816475"/>
              <a:gd name="connsiteY5" fmla="*/ 4571046 h 4571046"/>
              <a:gd name="connsiteX6" fmla="*/ 0 w 4816475"/>
              <a:gd name="connsiteY6" fmla="*/ 2163603 h 4571046"/>
              <a:gd name="connsiteX0" fmla="*/ 0 w 4958715"/>
              <a:gd name="connsiteY0" fmla="*/ 2163603 h 4571046"/>
              <a:gd name="connsiteX1" fmla="*/ 2199402 w 4958715"/>
              <a:gd name="connsiteY1" fmla="*/ 0 h 4571046"/>
              <a:gd name="connsiteX2" fmla="*/ 4608433 w 4958715"/>
              <a:gd name="connsiteY2" fmla="*/ 721360 h 4571046"/>
              <a:gd name="connsiteX3" fmla="*/ 4958715 w 4958715"/>
              <a:gd name="connsiteY3" fmla="*/ 2803683 h 4571046"/>
              <a:gd name="connsiteX4" fmla="*/ 3612753 w 4958715"/>
              <a:gd name="connsiteY4" fmla="*/ 4571046 h 4571046"/>
              <a:gd name="connsiteX5" fmla="*/ 1203722 w 4958715"/>
              <a:gd name="connsiteY5" fmla="*/ 4571046 h 4571046"/>
              <a:gd name="connsiteX6" fmla="*/ 0 w 4958715"/>
              <a:gd name="connsiteY6" fmla="*/ 2163603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1161050 w 4916043"/>
              <a:gd name="connsiteY5" fmla="*/ 4571046 h 4571046"/>
              <a:gd name="connsiteX6" fmla="*/ 0 w 4916043"/>
              <a:gd name="connsiteY6" fmla="*/ 1273587 h 4571046"/>
              <a:gd name="connsiteX0" fmla="*/ 0 w 4916043"/>
              <a:gd name="connsiteY0" fmla="*/ 1273587 h 4571046"/>
              <a:gd name="connsiteX1" fmla="*/ 2156730 w 4916043"/>
              <a:gd name="connsiteY1" fmla="*/ 0 h 4571046"/>
              <a:gd name="connsiteX2" fmla="*/ 4565761 w 4916043"/>
              <a:gd name="connsiteY2" fmla="*/ 721360 h 4571046"/>
              <a:gd name="connsiteX3" fmla="*/ 4916043 w 4916043"/>
              <a:gd name="connsiteY3" fmla="*/ 2803683 h 4571046"/>
              <a:gd name="connsiteX4" fmla="*/ 3570081 w 4916043"/>
              <a:gd name="connsiteY4" fmla="*/ 4571046 h 4571046"/>
              <a:gd name="connsiteX5" fmla="*/ 21098 w 4916043"/>
              <a:gd name="connsiteY5" fmla="*/ 3815142 h 4571046"/>
              <a:gd name="connsiteX6" fmla="*/ 0 w 4916043"/>
              <a:gd name="connsiteY6" fmla="*/ 1273587 h 4571046"/>
              <a:gd name="connsiteX0" fmla="*/ 0 w 4916043"/>
              <a:gd name="connsiteY0" fmla="*/ 1273587 h 5066346"/>
              <a:gd name="connsiteX1" fmla="*/ 2156730 w 4916043"/>
              <a:gd name="connsiteY1" fmla="*/ 0 h 5066346"/>
              <a:gd name="connsiteX2" fmla="*/ 4565761 w 4916043"/>
              <a:gd name="connsiteY2" fmla="*/ 721360 h 5066346"/>
              <a:gd name="connsiteX3" fmla="*/ 4916043 w 4916043"/>
              <a:gd name="connsiteY3" fmla="*/ 2803683 h 5066346"/>
              <a:gd name="connsiteX4" fmla="*/ 2236581 w 4916043"/>
              <a:gd name="connsiteY4" fmla="*/ 5066346 h 5066346"/>
              <a:gd name="connsiteX5" fmla="*/ 21098 w 4916043"/>
              <a:gd name="connsiteY5" fmla="*/ 3815142 h 5066346"/>
              <a:gd name="connsiteX6" fmla="*/ 0 w 4916043"/>
              <a:gd name="connsiteY6" fmla="*/ 1273587 h 5066346"/>
              <a:gd name="connsiteX0" fmla="*/ 0 w 4565761"/>
              <a:gd name="connsiteY0" fmla="*/ 1273587 h 5066346"/>
              <a:gd name="connsiteX1" fmla="*/ 2156730 w 4565761"/>
              <a:gd name="connsiteY1" fmla="*/ 0 h 5066346"/>
              <a:gd name="connsiteX2" fmla="*/ 4565761 w 4565761"/>
              <a:gd name="connsiteY2" fmla="*/ 721360 h 5066346"/>
              <a:gd name="connsiteX3" fmla="*/ 4405503 w 4565761"/>
              <a:gd name="connsiteY3" fmla="*/ 3801903 h 5066346"/>
              <a:gd name="connsiteX4" fmla="*/ 2236581 w 4565761"/>
              <a:gd name="connsiteY4" fmla="*/ 5066346 h 5066346"/>
              <a:gd name="connsiteX5" fmla="*/ 21098 w 4565761"/>
              <a:gd name="connsiteY5" fmla="*/ 3815142 h 5066346"/>
              <a:gd name="connsiteX6" fmla="*/ 0 w 4565761"/>
              <a:gd name="connsiteY6" fmla="*/ 1273587 h 5066346"/>
              <a:gd name="connsiteX0" fmla="*/ 0 w 4405503"/>
              <a:gd name="connsiteY0" fmla="*/ 1273587 h 5066346"/>
              <a:gd name="connsiteX1" fmla="*/ 2156730 w 4405503"/>
              <a:gd name="connsiteY1" fmla="*/ 0 h 5066346"/>
              <a:gd name="connsiteX2" fmla="*/ 4398121 w 4405503"/>
              <a:gd name="connsiteY2" fmla="*/ 1277620 h 5066346"/>
              <a:gd name="connsiteX3" fmla="*/ 4405503 w 4405503"/>
              <a:gd name="connsiteY3" fmla="*/ 3801903 h 5066346"/>
              <a:gd name="connsiteX4" fmla="*/ 2236581 w 4405503"/>
              <a:gd name="connsiteY4" fmla="*/ 5066346 h 5066346"/>
              <a:gd name="connsiteX5" fmla="*/ 21098 w 4405503"/>
              <a:gd name="connsiteY5" fmla="*/ 3815142 h 5066346"/>
              <a:gd name="connsiteX6" fmla="*/ 0 w 4405503"/>
              <a:gd name="connsiteY6" fmla="*/ 1273587 h 506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05503" h="5066346">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p:spPr>
        <p:txBody>
          <a:bodyPr anchor="ctr">
            <a:noAutofit/>
          </a:bodyPr>
          <a:lstStyle>
            <a:lvl1pPr marL="0" indent="0" algn="ctr">
              <a:buNone/>
              <a:defRPr>
                <a:solidFill>
                  <a:schemeClr val="accent6"/>
                </a:solidFill>
              </a:defRPr>
            </a:lvl1pPr>
          </a:lstStyle>
          <a:p>
            <a:r>
              <a:rPr lang="en-US" altLang="zh-CN" noProof="0" dirty="0"/>
              <a:t>Click icon to add picture≈≈</a:t>
            </a:r>
          </a:p>
        </p:txBody>
      </p:sp>
      <p:sp>
        <p:nvSpPr>
          <p:cNvPr id="9" name="Freeform: Shape 11">
            <a:extLst>
              <a:ext uri="{FF2B5EF4-FFF2-40B4-BE49-F238E27FC236}">
                <a16:creationId xmlns:a16="http://schemas.microsoft.com/office/drawing/2014/main" id="{9ECA281C-F2CB-AE9D-DCD6-F94D3FEE2E67}"/>
              </a:ext>
            </a:extLst>
          </p:cNvPr>
          <p:cNvSpPr/>
          <p:nvPr userDrawn="1"/>
        </p:nvSpPr>
        <p:spPr>
          <a:xfrm>
            <a:off x="7441324" y="5568778"/>
            <a:ext cx="829927" cy="949454"/>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3"/>
          </a:solidFill>
          <a:ln w="12700" cap="flat" cmpd="sng" algn="ctr">
            <a:noFill/>
            <a:prstDash val="solid"/>
            <a:miter lim="800000"/>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Posterama Text SemiBold"/>
              <a:ea typeface="+mn-ea"/>
              <a:cs typeface="+mn-cs"/>
            </a:endParaRPr>
          </a:p>
        </p:txBody>
      </p:sp>
    </p:spTree>
    <p:extLst>
      <p:ext uri="{BB962C8B-B14F-4D97-AF65-F5344CB8AC3E}">
        <p14:creationId xmlns:p14="http://schemas.microsoft.com/office/powerpoint/2010/main" val="2001255857"/>
      </p:ext>
    </p:extLst>
  </p:cSld>
  <p:clrMapOvr>
    <a:masterClrMapping/>
  </p:clrMapOvr>
  <p:extLst>
    <p:ext uri="{DCECCB84-F9BA-43D5-87BE-67443E8EF086}">
      <p15:sldGuideLst xmlns:p15="http://schemas.microsoft.com/office/powerpoint/2012/main">
        <p15:guide id="1" pos="528">
          <p15:clr>
            <a:srgbClr val="FBAE40"/>
          </p15:clr>
        </p15:guide>
        <p15:guide id="2" orient="horz" pos="5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6E00A-3403-48AB-A91B-78543E1B88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26B29C-5B99-4D93-AF9A-68CE9C6AF7C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833BBD-4E27-4F1D-81D6-F50D738141F5}"/>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9429DAB5-4955-49C6-A5FF-7FD8C43ADC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19291A-7529-4D22-837D-0DC067C2B2AC}"/>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10627549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679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37C1B5-A5BD-4693-B30B-412DF5CAC8B5}"/>
              </a:ext>
            </a:extLst>
          </p:cNvPr>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AD37C1B5-A5BD-4693-B30B-412DF5CAC8B5}"/>
                          </a:ext>
                        </a:extLst>
                      </p:cNvPr>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226EEBA-8211-470B-B62B-8A4FE5BD1CC5}"/>
              </a:ext>
            </a:extLst>
          </p:cNvPr>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buClrTx/>
              <a:buFontTx/>
              <a:buNone/>
            </a:pPr>
            <a:endParaRPr lang="en-US" sz="3600" b="1" kern="1200">
              <a:solidFill>
                <a:srgbClr val="FFFFFF"/>
              </a:solidFill>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9D9295C-1333-4225-B590-DF82CA91194E}"/>
              </a:ext>
            </a:extLst>
          </p:cNvPr>
          <p:cNvSpPr>
            <a:spLocks noGrp="1"/>
          </p:cNvSpPr>
          <p:nvPr>
            <p:ph type="ctrTitle"/>
          </p:nvPr>
        </p:nvSpPr>
        <p:spPr>
          <a:xfrm>
            <a:off x="1524000" y="1122363"/>
            <a:ext cx="9144000" cy="2387600"/>
          </a:xfrm>
          <a:prstGeom prst="rect">
            <a:avLst/>
          </a:prstGeom>
        </p:spPr>
        <p:txBody>
          <a:bodyPr anchor="ctr">
            <a:normAutofit/>
          </a:bodyPr>
          <a:lstStyle>
            <a:lvl1pPr algn="ctr">
              <a:defRPr sz="3600"/>
            </a:lvl1pPr>
          </a:lstStyle>
          <a:p>
            <a:r>
              <a:rPr lang="en-US"/>
              <a:t>Click to edit Master title style</a:t>
            </a:r>
          </a:p>
        </p:txBody>
      </p:sp>
      <p:sp>
        <p:nvSpPr>
          <p:cNvPr id="3" name="Subtitle 2">
            <a:extLst>
              <a:ext uri="{FF2B5EF4-FFF2-40B4-BE49-F238E27FC236}">
                <a16:creationId xmlns:a16="http://schemas.microsoft.com/office/drawing/2014/main" id="{6324FD3A-9A89-4E3C-A64B-E701D4662259}"/>
              </a:ext>
            </a:extLst>
          </p:cNvPr>
          <p:cNvSpPr>
            <a:spLocks noGrp="1"/>
          </p:cNvSpPr>
          <p:nvPr>
            <p:ph type="subTitle" idx="1"/>
          </p:nvPr>
        </p:nvSpPr>
        <p:spPr>
          <a:xfrm>
            <a:off x="1524000" y="3602038"/>
            <a:ext cx="9144000" cy="1655762"/>
          </a:xfrm>
          <a:prstGeom prst="rect">
            <a:avLst/>
          </a:prstGeom>
        </p:spPr>
        <p:txBody>
          <a:bodyPr>
            <a:normAutofit/>
          </a:bodyPr>
          <a:lstStyle>
            <a:lvl1pPr marL="0" indent="0" algn="ctr">
              <a:buNone/>
              <a:defRPr sz="21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pic>
        <p:nvPicPr>
          <p:cNvPr id="11" name="Picture 27" descr="Image result for government of st lucia">
            <a:extLst>
              <a:ext uri="{FF2B5EF4-FFF2-40B4-BE49-F238E27FC236}">
                <a16:creationId xmlns:a16="http://schemas.microsoft.com/office/drawing/2014/main" id="{4486C6F4-56D2-4E88-B855-00D11E1A51F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155497" y="6186838"/>
            <a:ext cx="720624" cy="5501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B0E03C6-5A7C-47F2-A198-B6A9529A5726}"/>
              </a:ext>
            </a:extLst>
          </p:cNvPr>
          <p:cNvPicPr>
            <a:picLocks noChangeAspect="1"/>
          </p:cNvPicPr>
          <p:nvPr userDrawn="1"/>
        </p:nvPicPr>
        <p:blipFill>
          <a:blip r:embed="rId7"/>
          <a:stretch>
            <a:fillRect/>
          </a:stretch>
        </p:blipFill>
        <p:spPr>
          <a:xfrm>
            <a:off x="10106073" y="6279788"/>
            <a:ext cx="914400" cy="457200"/>
          </a:xfrm>
          <a:prstGeom prst="rect">
            <a:avLst/>
          </a:prstGeom>
        </p:spPr>
      </p:pic>
    </p:spTree>
    <p:extLst>
      <p:ext uri="{BB962C8B-B14F-4D97-AF65-F5344CB8AC3E}">
        <p14:creationId xmlns:p14="http://schemas.microsoft.com/office/powerpoint/2010/main" val="2043905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buClrTx/>
              <a:buFontTx/>
              <a:buNone/>
            </a:pPr>
            <a:endParaRPr lang="en-US" sz="2800" b="1" kern="1200">
              <a:solidFill>
                <a:srgbClr val="FFFFFF"/>
              </a:solidFill>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buClrTx/>
              <a:buFontTx/>
              <a:buNone/>
            </a:pPr>
            <a:endParaRPr lang="en-US" sz="1351" kern="1200">
              <a:solidFill>
                <a:srgbClr val="FFFFFF"/>
              </a:solidFill>
            </a:endParaRPr>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10122" y="230128"/>
            <a:ext cx="68853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1100" kern="1200" smtClean="0">
                <a:solidFill>
                  <a:srgbClr val="000000">
                    <a:lumMod val="65000"/>
                    <a:lumOff val="35000"/>
                  </a:srgbClr>
                </a:solidFill>
              </a:rPr>
              <a:pPr algn="r" fontAlgn="base">
                <a:spcBef>
                  <a:spcPct val="0"/>
                </a:spcBef>
                <a:spcAft>
                  <a:spcPct val="0"/>
                </a:spcAft>
                <a:buClrTx/>
                <a:buFontTx/>
                <a:buNone/>
              </a:pPr>
              <a:t>‹#›</a:t>
            </a:fld>
            <a:endParaRPr lang="en-US" sz="1100" kern="1200">
              <a:solidFill>
                <a:srgbClr val="000000">
                  <a:lumMod val="65000"/>
                  <a:lumOff val="35000"/>
                </a:srgbClr>
              </a:solidFill>
            </a:endParaRPr>
          </a:p>
        </p:txBody>
      </p:sp>
    </p:spTree>
    <p:extLst>
      <p:ext uri="{BB962C8B-B14F-4D97-AF65-F5344CB8AC3E}">
        <p14:creationId xmlns:p14="http://schemas.microsoft.com/office/powerpoint/2010/main" val="24523377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E08EC4-DE36-442E-A1C2-286CDE6CBB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BAE08EC4-DE36-442E-A1C2-286CDE6CB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30E748E-0356-4A69-905E-FD3E4E519A5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buClrTx/>
              <a:buFontTx/>
              <a:buNone/>
            </a:pPr>
            <a:endParaRPr lang="en-US" sz="2800" b="1" kern="1200">
              <a:solidFill>
                <a:srgbClr val="FFFFFF"/>
              </a:solidFill>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E3386AB-8A0F-48B8-AA6B-E92F5F8827B0}"/>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buClrTx/>
              <a:buFontTx/>
              <a:buNone/>
            </a:pPr>
            <a:endParaRPr lang="en-US" sz="1351" kern="1200">
              <a:solidFill>
                <a:srgbClr val="FFFFFF"/>
              </a:solidFill>
            </a:endParaRPr>
          </a:p>
        </p:txBody>
      </p:sp>
      <p:sp>
        <p:nvSpPr>
          <p:cNvPr id="10" name="Title 1">
            <a:extLst>
              <a:ext uri="{FF2B5EF4-FFF2-40B4-BE49-F238E27FC236}">
                <a16:creationId xmlns:a16="http://schemas.microsoft.com/office/drawing/2014/main" id="{794A3CE5-3645-42D6-9E1A-E030DF9CAF72}"/>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pic>
        <p:nvPicPr>
          <p:cNvPr id="11" name="Picture 27" descr="Image result for government of st lucia">
            <a:extLst>
              <a:ext uri="{FF2B5EF4-FFF2-40B4-BE49-F238E27FC236}">
                <a16:creationId xmlns:a16="http://schemas.microsoft.com/office/drawing/2014/main" id="{A868D1BC-3170-49F5-BAF6-35D5A1B984C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15">
            <a:extLst>
              <a:ext uri="{FF2B5EF4-FFF2-40B4-BE49-F238E27FC236}">
                <a16:creationId xmlns:a16="http://schemas.microsoft.com/office/drawing/2014/main" id="{FA6A224A-EB93-46EC-A831-F0CBCE6A775B}"/>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26" name="Slide Number">
            <a:extLst>
              <a:ext uri="{FF2B5EF4-FFF2-40B4-BE49-F238E27FC236}">
                <a16:creationId xmlns:a16="http://schemas.microsoft.com/office/drawing/2014/main" id="{6A2D63E6-028E-4350-B656-9DEA1CDBEB2E}"/>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1100" kern="1200" smtClean="0">
                <a:solidFill>
                  <a:srgbClr val="000000">
                    <a:lumMod val="65000"/>
                    <a:lumOff val="35000"/>
                  </a:srgbClr>
                </a:solidFill>
              </a:rPr>
              <a:pPr algn="r" fontAlgn="base">
                <a:spcBef>
                  <a:spcPct val="0"/>
                </a:spcBef>
                <a:spcAft>
                  <a:spcPct val="0"/>
                </a:spcAft>
                <a:buClrTx/>
                <a:buFontTx/>
                <a:buNone/>
              </a:pPr>
              <a:t>‹#›</a:t>
            </a:fld>
            <a:endParaRPr lang="en-US" sz="1100" kern="1200">
              <a:solidFill>
                <a:srgbClr val="000000">
                  <a:lumMod val="65000"/>
                  <a:lumOff val="35000"/>
                </a:srgbClr>
              </a:solidFill>
            </a:endParaRPr>
          </a:p>
        </p:txBody>
      </p:sp>
    </p:spTree>
    <p:extLst>
      <p:ext uri="{BB962C8B-B14F-4D97-AF65-F5344CB8AC3E}">
        <p14:creationId xmlns:p14="http://schemas.microsoft.com/office/powerpoint/2010/main" val="5951120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w 2 content spac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37C1B5-A5BD-4693-B30B-412DF5CAC8B5}"/>
              </a:ext>
            </a:extLst>
          </p:cNvPr>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AD37C1B5-A5BD-4693-B30B-412DF5CAC8B5}"/>
                          </a:ext>
                        </a:extLst>
                      </p:cNvPr>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226EEBA-8211-470B-B62B-8A4FE5BD1CC5}"/>
              </a:ext>
            </a:extLst>
          </p:cNvPr>
          <p:cNvSpPr/>
          <p:nvPr userDrawn="1">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buClrTx/>
              <a:buFontTx/>
              <a:buNone/>
            </a:pPr>
            <a:endParaRPr lang="en-US" sz="3600" b="1" kern="1200">
              <a:solidFill>
                <a:srgbClr val="FFFFFF"/>
              </a:solidFill>
              <a:ea typeface="+mj-ea"/>
              <a:cs typeface="Arial" panose="020B0604020202020204" pitchFamily="34" charset="0"/>
              <a:sym typeface="Arial" panose="020B0604020202020204" pitchFamily="34" charset="0"/>
            </a:endParaRPr>
          </a:p>
        </p:txBody>
      </p:sp>
      <p:sp>
        <p:nvSpPr>
          <p:cNvPr id="9" name="Title 1">
            <a:extLst>
              <a:ext uri="{FF2B5EF4-FFF2-40B4-BE49-F238E27FC236}">
                <a16:creationId xmlns:a16="http://schemas.microsoft.com/office/drawing/2014/main" id="{E3703F84-057C-4193-9D0D-56E7DE44777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pic>
        <p:nvPicPr>
          <p:cNvPr id="10" name="Picture 27" descr="Image result for government of st lucia">
            <a:extLst>
              <a:ext uri="{FF2B5EF4-FFF2-40B4-BE49-F238E27FC236}">
                <a16:creationId xmlns:a16="http://schemas.microsoft.com/office/drawing/2014/main" id="{70BD6862-5235-4865-ABA4-4DDDEA5B880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62322AD-0095-4C26-85CC-A26D02E7CAD6}"/>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buClrTx/>
              <a:buFontTx/>
              <a:buNone/>
            </a:pPr>
            <a:endParaRPr lang="en-US" sz="1351" kern="1200">
              <a:solidFill>
                <a:srgbClr val="FFFFFF"/>
              </a:solidFill>
            </a:endParaRPr>
          </a:p>
        </p:txBody>
      </p:sp>
      <p:sp>
        <p:nvSpPr>
          <p:cNvPr id="17" name="Content Placeholder 2">
            <a:extLst>
              <a:ext uri="{FF2B5EF4-FFF2-40B4-BE49-F238E27FC236}">
                <a16:creationId xmlns:a16="http://schemas.microsoft.com/office/drawing/2014/main" id="{47D62ED4-8828-48B3-B37C-DCE6010E0536}"/>
              </a:ext>
            </a:extLst>
          </p:cNvPr>
          <p:cNvSpPr>
            <a:spLocks noGrp="1"/>
          </p:cNvSpPr>
          <p:nvPr>
            <p:ph idx="1"/>
          </p:nvPr>
        </p:nvSpPr>
        <p:spPr>
          <a:xfrm>
            <a:off x="452387" y="1812418"/>
            <a:ext cx="5498302" cy="461435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18" name="Content Placeholder 2">
            <a:extLst>
              <a:ext uri="{FF2B5EF4-FFF2-40B4-BE49-F238E27FC236}">
                <a16:creationId xmlns:a16="http://schemas.microsoft.com/office/drawing/2014/main" id="{1D07D94B-C36A-4B8B-BC27-22FCF45FDD6C}"/>
              </a:ext>
            </a:extLst>
          </p:cNvPr>
          <p:cNvSpPr>
            <a:spLocks noGrp="1"/>
          </p:cNvSpPr>
          <p:nvPr>
            <p:ph idx="12"/>
          </p:nvPr>
        </p:nvSpPr>
        <p:spPr>
          <a:xfrm>
            <a:off x="6241312" y="1812418"/>
            <a:ext cx="5498303" cy="461435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26" name="Text Placeholder 15">
            <a:extLst>
              <a:ext uri="{FF2B5EF4-FFF2-40B4-BE49-F238E27FC236}">
                <a16:creationId xmlns:a16="http://schemas.microsoft.com/office/drawing/2014/main" id="{22F4FC3D-E2A6-4120-A6FC-83491634A680}"/>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28" name="Slide Number">
            <a:extLst>
              <a:ext uri="{FF2B5EF4-FFF2-40B4-BE49-F238E27FC236}">
                <a16:creationId xmlns:a16="http://schemas.microsoft.com/office/drawing/2014/main" id="{01CEB1A9-B4D6-42C4-B6B6-2C0317B384CF}"/>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1100" kern="1200" smtClean="0">
                <a:solidFill>
                  <a:srgbClr val="000000">
                    <a:lumMod val="65000"/>
                    <a:lumOff val="35000"/>
                  </a:srgbClr>
                </a:solidFill>
              </a:rPr>
              <a:pPr algn="r" fontAlgn="base">
                <a:spcBef>
                  <a:spcPct val="0"/>
                </a:spcBef>
                <a:spcAft>
                  <a:spcPct val="0"/>
                </a:spcAft>
                <a:buClrTx/>
                <a:buFontTx/>
                <a:buNone/>
              </a:pPr>
              <a:t>‹#›</a:t>
            </a:fld>
            <a:endParaRPr lang="en-US" sz="1100" kern="1200">
              <a:solidFill>
                <a:srgbClr val="000000">
                  <a:lumMod val="65000"/>
                  <a:lumOff val="35000"/>
                </a:srgbClr>
              </a:solidFill>
            </a:endParaRPr>
          </a:p>
        </p:txBody>
      </p:sp>
    </p:spTree>
    <p:extLst>
      <p:ext uri="{BB962C8B-B14F-4D97-AF65-F5344CB8AC3E}">
        <p14:creationId xmlns:p14="http://schemas.microsoft.com/office/powerpoint/2010/main" val="92295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EBB2D1-C33A-4D2A-BAA0-02712ECA766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EEEBB2D1-C33A-4D2A-BAA0-02712ECA76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1B07FB16-4AFF-4075-B7A8-1C06123C21FF}"/>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pic>
        <p:nvPicPr>
          <p:cNvPr id="11" name="Picture 27" descr="Image result for government of st lucia">
            <a:extLst>
              <a:ext uri="{FF2B5EF4-FFF2-40B4-BE49-F238E27FC236}">
                <a16:creationId xmlns:a16="http://schemas.microsoft.com/office/drawing/2014/main" id="{B557FA79-6DC3-4000-A10F-D19D13ECDE8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5">
            <a:extLst>
              <a:ext uri="{FF2B5EF4-FFF2-40B4-BE49-F238E27FC236}">
                <a16:creationId xmlns:a16="http://schemas.microsoft.com/office/drawing/2014/main" id="{38D37DDB-7A70-4BBA-853C-04343FB1BFE5}"/>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9" name="Slide Number">
            <a:extLst>
              <a:ext uri="{FF2B5EF4-FFF2-40B4-BE49-F238E27FC236}">
                <a16:creationId xmlns:a16="http://schemas.microsoft.com/office/drawing/2014/main" id="{9CCE237E-B123-49F5-BD45-82D393261501}"/>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1100" kern="1200" smtClean="0">
                <a:solidFill>
                  <a:srgbClr val="000000">
                    <a:lumMod val="65000"/>
                    <a:lumOff val="35000"/>
                  </a:srgbClr>
                </a:solidFill>
              </a:rPr>
              <a:pPr algn="r" fontAlgn="base">
                <a:spcBef>
                  <a:spcPct val="0"/>
                </a:spcBef>
                <a:spcAft>
                  <a:spcPct val="0"/>
                </a:spcAft>
                <a:buClrTx/>
                <a:buFontTx/>
                <a:buNone/>
              </a:pPr>
              <a:t>‹#›</a:t>
            </a:fld>
            <a:endParaRPr lang="en-US" sz="1100" kern="1200">
              <a:solidFill>
                <a:srgbClr val="000000">
                  <a:lumMod val="65000"/>
                  <a:lumOff val="35000"/>
                </a:srgbClr>
              </a:solidFill>
            </a:endParaRPr>
          </a:p>
        </p:txBody>
      </p:sp>
    </p:spTree>
    <p:extLst>
      <p:ext uri="{BB962C8B-B14F-4D97-AF65-F5344CB8AC3E}">
        <p14:creationId xmlns:p14="http://schemas.microsoft.com/office/powerpoint/2010/main" val="25528084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BF59C-5564-4AF9-B6E1-C5D68926754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DBC4726-DED5-4C9D-999E-7154517700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4666C0DB-BC82-4E54-9E83-A75427409884}"/>
              </a:ext>
            </a:extLst>
          </p:cNvPr>
          <p:cNvSpPr>
            <a:spLocks noGrp="1"/>
          </p:cNvSpPr>
          <p:nvPr>
            <p:ph type="ftr" sz="quarter" idx="10"/>
          </p:nvPr>
        </p:nvSpPr>
        <p:spPr/>
        <p:txBody>
          <a:bodyPr/>
          <a:lstStyle/>
          <a:p>
            <a:pPr marL="495312" indent="-495312" defTabSz="843276" fontAlgn="base">
              <a:spcBef>
                <a:spcPct val="0"/>
              </a:spcBef>
              <a:spcAft>
                <a:spcPct val="0"/>
              </a:spcAft>
              <a:buClr>
                <a:srgbClr val="5A5A5A"/>
              </a:buClr>
              <a:tabLst>
                <a:tab pos="421638" algn="r"/>
              </a:tabLst>
            </a:pPr>
            <a:endParaRPr lang="en-GB">
              <a:solidFill>
                <a:srgbClr val="000000"/>
              </a:solidFill>
            </a:endParaRPr>
          </a:p>
        </p:txBody>
      </p:sp>
    </p:spTree>
    <p:extLst>
      <p:ext uri="{BB962C8B-B14F-4D97-AF65-F5344CB8AC3E}">
        <p14:creationId xmlns:p14="http://schemas.microsoft.com/office/powerpoint/2010/main" val="1940382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dirty="0"/>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10122" y="230128"/>
            <a:ext cx="68853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dirty="0">
              <a:solidFill>
                <a:srgbClr val="000000">
                  <a:lumMod val="65000"/>
                  <a:lumOff val="35000"/>
                </a:srgbClr>
              </a:solidFill>
              <a:latin typeface="+mn-lt"/>
            </a:endParaRPr>
          </a:p>
        </p:txBody>
      </p:sp>
    </p:spTree>
    <p:extLst>
      <p:ext uri="{BB962C8B-B14F-4D97-AF65-F5344CB8AC3E}">
        <p14:creationId xmlns:p14="http://schemas.microsoft.com/office/powerpoint/2010/main" val="37042798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dirty="0"/>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10122" y="230128"/>
            <a:ext cx="68853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dirty="0">
              <a:solidFill>
                <a:srgbClr val="000000">
                  <a:lumMod val="65000"/>
                  <a:lumOff val="35000"/>
                </a:srgbClr>
              </a:solidFill>
              <a:latin typeface="+mn-lt"/>
            </a:endParaRPr>
          </a:p>
        </p:txBody>
      </p:sp>
    </p:spTree>
    <p:extLst>
      <p:ext uri="{BB962C8B-B14F-4D97-AF65-F5344CB8AC3E}">
        <p14:creationId xmlns:p14="http://schemas.microsoft.com/office/powerpoint/2010/main" val="33299089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E08EC4-DE36-442E-A1C2-286CDE6CBB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BAE08EC4-DE36-442E-A1C2-286CDE6CB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30E748E-0356-4A69-905E-FD3E4E519A5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E3386AB-8A0F-48B8-AA6B-E92F5F8827B0}"/>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dirty="0"/>
          </a:p>
        </p:txBody>
      </p:sp>
      <p:sp>
        <p:nvSpPr>
          <p:cNvPr id="10" name="Title 1">
            <a:extLst>
              <a:ext uri="{FF2B5EF4-FFF2-40B4-BE49-F238E27FC236}">
                <a16:creationId xmlns:a16="http://schemas.microsoft.com/office/drawing/2014/main" id="{794A3CE5-3645-42D6-9E1A-E030DF9CAF72}"/>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pic>
        <p:nvPicPr>
          <p:cNvPr id="11" name="Picture 27" descr="Image result for government of st lucia">
            <a:extLst>
              <a:ext uri="{FF2B5EF4-FFF2-40B4-BE49-F238E27FC236}">
                <a16:creationId xmlns:a16="http://schemas.microsoft.com/office/drawing/2014/main" id="{A868D1BC-3170-49F5-BAF6-35D5A1B984C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15">
            <a:extLst>
              <a:ext uri="{FF2B5EF4-FFF2-40B4-BE49-F238E27FC236}">
                <a16:creationId xmlns:a16="http://schemas.microsoft.com/office/drawing/2014/main" id="{FA6A224A-EB93-46EC-A831-F0CBCE6A775B}"/>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26" name="Slide Number">
            <a:extLst>
              <a:ext uri="{FF2B5EF4-FFF2-40B4-BE49-F238E27FC236}">
                <a16:creationId xmlns:a16="http://schemas.microsoft.com/office/drawing/2014/main" id="{6A2D63E6-028E-4350-B656-9DEA1CDBEB2E}"/>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dirty="0">
              <a:solidFill>
                <a:srgbClr val="000000">
                  <a:lumMod val="65000"/>
                  <a:lumOff val="35000"/>
                </a:srgbClr>
              </a:solidFill>
              <a:latin typeface="+mn-lt"/>
            </a:endParaRPr>
          </a:p>
        </p:txBody>
      </p:sp>
    </p:spTree>
    <p:extLst>
      <p:ext uri="{BB962C8B-B14F-4D97-AF65-F5344CB8AC3E}">
        <p14:creationId xmlns:p14="http://schemas.microsoft.com/office/powerpoint/2010/main" val="4193767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802A8-8916-46A0-A04D-947174899B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57FC15-0C76-43E6-92A4-8E30ACEDAF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3804157-67CF-483C-ADFC-2CDFCFD4DE93}"/>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D6DD3792-59CC-4BA0-89B5-24D36B5529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6A45EC-BD59-4A06-BCEF-45AA84CEAA4E}"/>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41813787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dirty="0"/>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10122" y="230128"/>
            <a:ext cx="68853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dirty="0">
              <a:solidFill>
                <a:srgbClr val="000000">
                  <a:lumMod val="65000"/>
                  <a:lumOff val="35000"/>
                </a:srgbClr>
              </a:solidFill>
              <a:latin typeface="+mn-lt"/>
            </a:endParaRPr>
          </a:p>
        </p:txBody>
      </p:sp>
    </p:spTree>
    <p:extLst>
      <p:ext uri="{BB962C8B-B14F-4D97-AF65-F5344CB8AC3E}">
        <p14:creationId xmlns:p14="http://schemas.microsoft.com/office/powerpoint/2010/main" val="866923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411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userDrawn="1">
  <p:cSld name="2_Title only">
    <p:spTree>
      <p:nvGrpSpPr>
        <p:cNvPr id="1" name="Shape 19"/>
        <p:cNvGrpSpPr/>
        <p:nvPr/>
      </p:nvGrpSpPr>
      <p:grpSpPr>
        <a:xfrm>
          <a:off x="0" y="0"/>
          <a:ext cx="0" cy="0"/>
          <a:chOff x="0" y="0"/>
          <a:chExt cx="0" cy="0"/>
        </a:xfrm>
      </p:grpSpPr>
      <p:sp>
        <p:nvSpPr>
          <p:cNvPr id="3" name="Rectangle 2">
            <a:extLst>
              <a:ext uri="{FF2B5EF4-FFF2-40B4-BE49-F238E27FC236}">
                <a16:creationId xmlns:a16="http://schemas.microsoft.com/office/drawing/2014/main" id="{11675712-D22F-4ABB-A5F4-EB33E1ED3ED5}"/>
              </a:ext>
            </a:extLst>
          </p:cNvPr>
          <p:cNvSpPr/>
          <p:nvPr userDrawn="1"/>
        </p:nvSpPr>
        <p:spPr>
          <a:xfrm>
            <a:off x="0" y="0"/>
            <a:ext cx="12192000" cy="982744"/>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r="100000" b="100000"/>
            </a:path>
            <a:tileRect l="-100000" t="-100000"/>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x-none" sz="1867"/>
          </a:p>
        </p:txBody>
      </p:sp>
      <p:sp>
        <p:nvSpPr>
          <p:cNvPr id="6" name="Rectangle 5">
            <a:extLst>
              <a:ext uri="{FF2B5EF4-FFF2-40B4-BE49-F238E27FC236}">
                <a16:creationId xmlns:a16="http://schemas.microsoft.com/office/drawing/2014/main" id="{5B818AA3-EEDB-483D-9531-4C2CB85025E8}"/>
              </a:ext>
            </a:extLst>
          </p:cNvPr>
          <p:cNvSpPr/>
          <p:nvPr userDrawn="1"/>
        </p:nvSpPr>
        <p:spPr>
          <a:xfrm>
            <a:off x="0" y="982744"/>
            <a:ext cx="12192000" cy="133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pic>
        <p:nvPicPr>
          <p:cNvPr id="2" name="Picture 1" descr="A picture containing flower, room&#10;&#10;Description automatically generated">
            <a:extLst>
              <a:ext uri="{FF2B5EF4-FFF2-40B4-BE49-F238E27FC236}">
                <a16:creationId xmlns:a16="http://schemas.microsoft.com/office/drawing/2014/main" id="{E5C31E52-113E-43D2-A85B-E5601861E5A7}"/>
              </a:ext>
            </a:extLst>
          </p:cNvPr>
          <p:cNvPicPr>
            <a:picLocks noChangeAspect="1"/>
          </p:cNvPicPr>
          <p:nvPr userDrawn="1"/>
        </p:nvPicPr>
        <p:blipFill>
          <a:blip r:embed="rId2"/>
          <a:stretch>
            <a:fillRect/>
          </a:stretch>
        </p:blipFill>
        <p:spPr>
          <a:xfrm>
            <a:off x="10992470" y="-108521"/>
            <a:ext cx="1288987" cy="119978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33583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a:solidFill>
                <a:srgbClr val="000000">
                  <a:lumMod val="65000"/>
                  <a:lumOff val="35000"/>
                </a:srgbClr>
              </a:solidFill>
              <a:latin typeface="+mn-lt"/>
            </a:endParaRPr>
          </a:p>
        </p:txBody>
      </p:sp>
    </p:spTree>
    <p:extLst>
      <p:ext uri="{BB962C8B-B14F-4D97-AF65-F5344CB8AC3E}">
        <p14:creationId xmlns:p14="http://schemas.microsoft.com/office/powerpoint/2010/main" val="7401145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a:solidFill>
                <a:srgbClr val="000000">
                  <a:lumMod val="65000"/>
                  <a:lumOff val="35000"/>
                </a:srgbClr>
              </a:solidFill>
              <a:latin typeface="+mn-lt"/>
            </a:endParaRPr>
          </a:p>
        </p:txBody>
      </p:sp>
    </p:spTree>
    <p:extLst>
      <p:ext uri="{BB962C8B-B14F-4D97-AF65-F5344CB8AC3E}">
        <p14:creationId xmlns:p14="http://schemas.microsoft.com/office/powerpoint/2010/main" val="31660332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13" name="Picture 12" descr="A large body of water with a mountain in the background&#10;&#10;Description automatically generated">
            <a:extLst>
              <a:ext uri="{FF2B5EF4-FFF2-40B4-BE49-F238E27FC236}">
                <a16:creationId xmlns:a16="http://schemas.microsoft.com/office/drawing/2014/main" id="{111C4573-FFE2-4B84-9970-CBDED798BC07}"/>
              </a:ext>
            </a:extLst>
          </p:cNvPr>
          <p:cNvPicPr>
            <a:picLocks noChangeAspect="1"/>
          </p:cNvPicPr>
          <p:nvPr userDrawn="1"/>
        </p:nvPicPr>
        <p:blipFill>
          <a:blip r:embed="rId2">
            <a:alphaModFix amt="20000"/>
          </a:blip>
          <a:stretch>
            <a:fillRect/>
          </a:stretch>
        </p:blipFill>
        <p:spPr>
          <a:xfrm>
            <a:off x="21558" y="242444"/>
            <a:ext cx="12630245" cy="7269851"/>
          </a:xfrm>
          <a:prstGeom prst="rect">
            <a:avLst/>
          </a:prstGeom>
        </p:spPr>
      </p:pic>
      <p:grpSp>
        <p:nvGrpSpPr>
          <p:cNvPr id="14" name="Group 13">
            <a:extLst>
              <a:ext uri="{FF2B5EF4-FFF2-40B4-BE49-F238E27FC236}">
                <a16:creationId xmlns:a16="http://schemas.microsoft.com/office/drawing/2014/main" id="{8FECD6C4-B68B-463C-8D53-8E1F7EB3E8C5}"/>
              </a:ext>
            </a:extLst>
          </p:cNvPr>
          <p:cNvGrpSpPr/>
          <p:nvPr userDrawn="1"/>
        </p:nvGrpSpPr>
        <p:grpSpPr>
          <a:xfrm>
            <a:off x="9990842" y="5857302"/>
            <a:ext cx="1911312" cy="926556"/>
            <a:chOff x="7076386" y="4279692"/>
            <a:chExt cx="1976426" cy="958122"/>
          </a:xfrm>
        </p:grpSpPr>
        <p:pic>
          <p:nvPicPr>
            <p:cNvPr id="7" name="Picture 2" descr="Flag of Saint Lucia 🇱🇨 – Flagpedia.net">
              <a:extLst>
                <a:ext uri="{FF2B5EF4-FFF2-40B4-BE49-F238E27FC236}">
                  <a16:creationId xmlns:a16="http://schemas.microsoft.com/office/drawing/2014/main" id="{24714ABB-0597-4C3A-B62E-FF3D918D85D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76386" y="4556316"/>
              <a:ext cx="809748" cy="40487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flower, room&#10;&#10;Description automatically generated">
              <a:extLst>
                <a:ext uri="{FF2B5EF4-FFF2-40B4-BE49-F238E27FC236}">
                  <a16:creationId xmlns:a16="http://schemas.microsoft.com/office/drawing/2014/main" id="{A25BE203-86CA-4A38-9010-34A866A7129C}"/>
                </a:ext>
              </a:extLst>
            </p:cNvPr>
            <p:cNvPicPr>
              <a:picLocks noChangeAspect="1"/>
            </p:cNvPicPr>
            <p:nvPr userDrawn="1"/>
          </p:nvPicPr>
          <p:blipFill>
            <a:blip r:embed="rId4"/>
            <a:stretch>
              <a:fillRect/>
            </a:stretch>
          </p:blipFill>
          <p:spPr>
            <a:xfrm>
              <a:off x="7869380" y="4279692"/>
              <a:ext cx="1183432" cy="958122"/>
            </a:xfrm>
            <a:prstGeom prst="rect">
              <a:avLst/>
            </a:prstGeom>
          </p:spPr>
        </p:pic>
      </p:grpSp>
      <p:grpSp>
        <p:nvGrpSpPr>
          <p:cNvPr id="3" name="Group 2">
            <a:extLst>
              <a:ext uri="{FF2B5EF4-FFF2-40B4-BE49-F238E27FC236}">
                <a16:creationId xmlns:a16="http://schemas.microsoft.com/office/drawing/2014/main" id="{462BFC52-521C-44BD-835B-9DABA829E53E}"/>
              </a:ext>
            </a:extLst>
          </p:cNvPr>
          <p:cNvGrpSpPr/>
          <p:nvPr userDrawn="1"/>
        </p:nvGrpSpPr>
        <p:grpSpPr>
          <a:xfrm>
            <a:off x="-162645" y="-149092"/>
            <a:ext cx="12467289" cy="7123076"/>
            <a:chOff x="-67839" y="-91522"/>
            <a:chExt cx="7012850" cy="5342307"/>
          </a:xfrm>
          <a:solidFill>
            <a:srgbClr val="00B0F0"/>
          </a:solidFill>
        </p:grpSpPr>
        <p:sp>
          <p:nvSpPr>
            <p:cNvPr id="2" name="Rectangle 1">
              <a:extLst>
                <a:ext uri="{FF2B5EF4-FFF2-40B4-BE49-F238E27FC236}">
                  <a16:creationId xmlns:a16="http://schemas.microsoft.com/office/drawing/2014/main" id="{F82527F3-F7F2-4657-A570-93D6F603973A}"/>
                </a:ext>
              </a:extLst>
            </p:cNvPr>
            <p:cNvSpPr/>
            <p:nvPr userDrawn="1"/>
          </p:nvSpPr>
          <p:spPr>
            <a:xfrm>
              <a:off x="-67839" y="0"/>
              <a:ext cx="207229" cy="5143500"/>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sp>
          <p:nvSpPr>
            <p:cNvPr id="8" name="Rectangle 7">
              <a:extLst>
                <a:ext uri="{FF2B5EF4-FFF2-40B4-BE49-F238E27FC236}">
                  <a16:creationId xmlns:a16="http://schemas.microsoft.com/office/drawing/2014/main" id="{8F3FD9EB-7029-4068-B73A-1A474CA524C6}"/>
                </a:ext>
              </a:extLst>
            </p:cNvPr>
            <p:cNvSpPr/>
            <p:nvPr userDrawn="1"/>
          </p:nvSpPr>
          <p:spPr>
            <a:xfrm>
              <a:off x="6718610" y="7883"/>
              <a:ext cx="226401" cy="5143500"/>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sp>
          <p:nvSpPr>
            <p:cNvPr id="10" name="Rectangle 9">
              <a:extLst>
                <a:ext uri="{FF2B5EF4-FFF2-40B4-BE49-F238E27FC236}">
                  <a16:creationId xmlns:a16="http://schemas.microsoft.com/office/drawing/2014/main" id="{B8AAFA56-1106-4FDB-8789-36A0C7B795B7}"/>
                </a:ext>
              </a:extLst>
            </p:cNvPr>
            <p:cNvSpPr/>
            <p:nvPr userDrawn="1"/>
          </p:nvSpPr>
          <p:spPr>
            <a:xfrm rot="16200000">
              <a:off x="3291760" y="-3451121"/>
              <a:ext cx="293651" cy="70128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sp>
          <p:nvSpPr>
            <p:cNvPr id="11" name="Rectangle 10">
              <a:extLst>
                <a:ext uri="{FF2B5EF4-FFF2-40B4-BE49-F238E27FC236}">
                  <a16:creationId xmlns:a16="http://schemas.microsoft.com/office/drawing/2014/main" id="{F8695371-13CF-4557-8BB5-14282BA49DD2}"/>
                </a:ext>
              </a:extLst>
            </p:cNvPr>
            <p:cNvSpPr/>
            <p:nvPr userDrawn="1"/>
          </p:nvSpPr>
          <p:spPr>
            <a:xfrm rot="16200000">
              <a:off x="3305612" y="1611386"/>
              <a:ext cx="265948" cy="70128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grpSp>
    </p:spTree>
    <p:extLst>
      <p:ext uri="{BB962C8B-B14F-4D97-AF65-F5344CB8AC3E}">
        <p14:creationId xmlns:p14="http://schemas.microsoft.com/office/powerpoint/2010/main" val="16710272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userDrawn="1">
  <p:cSld name="2_Title only">
    <p:spTree>
      <p:nvGrpSpPr>
        <p:cNvPr id="1" name="Shape 19"/>
        <p:cNvGrpSpPr/>
        <p:nvPr/>
      </p:nvGrpSpPr>
      <p:grpSpPr>
        <a:xfrm>
          <a:off x="0" y="0"/>
          <a:ext cx="0" cy="0"/>
          <a:chOff x="0" y="0"/>
          <a:chExt cx="0" cy="0"/>
        </a:xfrm>
      </p:grpSpPr>
      <p:sp>
        <p:nvSpPr>
          <p:cNvPr id="3" name="Rectangle 2">
            <a:extLst>
              <a:ext uri="{FF2B5EF4-FFF2-40B4-BE49-F238E27FC236}">
                <a16:creationId xmlns:a16="http://schemas.microsoft.com/office/drawing/2014/main" id="{11675712-D22F-4ABB-A5F4-EB33E1ED3ED5}"/>
              </a:ext>
            </a:extLst>
          </p:cNvPr>
          <p:cNvSpPr/>
          <p:nvPr userDrawn="1"/>
        </p:nvSpPr>
        <p:spPr>
          <a:xfrm>
            <a:off x="0" y="0"/>
            <a:ext cx="12192000" cy="982744"/>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path path="circle">
              <a:fillToRect r="100000" b="100000"/>
            </a:path>
            <a:tileRect l="-100000" t="-100000"/>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x-none" sz="1867"/>
          </a:p>
        </p:txBody>
      </p:sp>
      <p:sp>
        <p:nvSpPr>
          <p:cNvPr id="6" name="Rectangle 5">
            <a:extLst>
              <a:ext uri="{FF2B5EF4-FFF2-40B4-BE49-F238E27FC236}">
                <a16:creationId xmlns:a16="http://schemas.microsoft.com/office/drawing/2014/main" id="{5B818AA3-EEDB-483D-9531-4C2CB85025E8}"/>
              </a:ext>
            </a:extLst>
          </p:cNvPr>
          <p:cNvSpPr/>
          <p:nvPr userDrawn="1"/>
        </p:nvSpPr>
        <p:spPr>
          <a:xfrm>
            <a:off x="0" y="982744"/>
            <a:ext cx="12192000" cy="133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67"/>
          </a:p>
        </p:txBody>
      </p:sp>
      <p:pic>
        <p:nvPicPr>
          <p:cNvPr id="2" name="Picture 1" descr="A picture containing flower, room&#10;&#10;Description automatically generated">
            <a:extLst>
              <a:ext uri="{FF2B5EF4-FFF2-40B4-BE49-F238E27FC236}">
                <a16:creationId xmlns:a16="http://schemas.microsoft.com/office/drawing/2014/main" id="{E5C31E52-113E-43D2-A85B-E5601861E5A7}"/>
              </a:ext>
            </a:extLst>
          </p:cNvPr>
          <p:cNvPicPr>
            <a:picLocks noChangeAspect="1"/>
          </p:cNvPicPr>
          <p:nvPr userDrawn="1"/>
        </p:nvPicPr>
        <p:blipFill>
          <a:blip r:embed="rId2"/>
          <a:stretch>
            <a:fillRect/>
          </a:stretch>
        </p:blipFill>
        <p:spPr>
          <a:xfrm>
            <a:off x="10992470" y="-108521"/>
            <a:ext cx="1288987" cy="119978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749507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a:solidFill>
                <a:srgbClr val="000000">
                  <a:lumMod val="65000"/>
                  <a:lumOff val="35000"/>
                </a:srgbClr>
              </a:solidFill>
              <a:latin typeface="+mn-lt"/>
            </a:endParaRPr>
          </a:p>
        </p:txBody>
      </p:sp>
    </p:spTree>
    <p:extLst>
      <p:ext uri="{BB962C8B-B14F-4D97-AF65-F5344CB8AC3E}">
        <p14:creationId xmlns:p14="http://schemas.microsoft.com/office/powerpoint/2010/main" val="19481801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5E8DE-3169-48E8-9FC1-3074C68D93E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35D5E8DE-3169-48E8-9FC1-3074C68D93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418BF98-8737-487C-84FE-36551BB18CB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22495CD-E666-46BF-A52A-1BD0B91AEDE7}"/>
              </a:ext>
            </a:extLst>
          </p:cNvPr>
          <p:cNvSpPr>
            <a:spLocks noGrp="1"/>
          </p:cNvSpPr>
          <p:nvPr>
            <p:ph type="title"/>
          </p:nvPr>
        </p:nvSpPr>
        <p:spPr>
          <a:xfrm>
            <a:off x="452388" y="153375"/>
            <a:ext cx="10785883" cy="1168773"/>
          </a:xfrm>
          <a:prstGeom prst="rect">
            <a:avLst/>
          </a:prstGeom>
        </p:spPr>
        <p:txBody>
          <a:bodyPr>
            <a:normAutofit/>
          </a:bodyPr>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BF159A84-CCAD-4F62-A102-EF5C58FC9E41}"/>
              </a:ext>
            </a:extLst>
          </p:cNvPr>
          <p:cNvSpPr>
            <a:spLocks noGrp="1"/>
          </p:cNvSpPr>
          <p:nvPr>
            <p:ph idx="1"/>
          </p:nvPr>
        </p:nvSpPr>
        <p:spPr>
          <a:xfrm>
            <a:off x="453021" y="1739098"/>
            <a:ext cx="11285957" cy="4649002"/>
          </a:xfrm>
          <a:prstGeom prst="rect">
            <a:avLst/>
          </a:prstGeom>
        </p:spPr>
        <p:txBody>
          <a:bodyPr>
            <a:normAutofit/>
          </a:bodyPr>
          <a:lstStyle>
            <a:lvl1pPr marL="171446" indent="-171446">
              <a:buFont typeface="Wingdings" panose="05000000000000000000" pitchFamily="2" charset="2"/>
              <a:buChar char="§"/>
              <a:defRPr sz="1800"/>
            </a:lvl1pPr>
            <a:lvl2pPr marL="514338" indent="-171446">
              <a:buFont typeface="Axiforma" panose="00000500000000000000" pitchFamily="50" charset="0"/>
              <a:buChar char="−"/>
              <a:defRPr sz="1800"/>
            </a:lvl2pPr>
            <a:lvl3pPr marL="857229" indent="-171446">
              <a:buFont typeface="Wingdings" panose="05000000000000000000" pitchFamily="2" charset="2"/>
              <a:buChar char="§"/>
              <a:defRPr sz="1800"/>
            </a:lvl3pPr>
            <a:lvl4pPr marL="1200121" indent="-171446">
              <a:buFont typeface="Wingdings" panose="05000000000000000000" pitchFamily="2" charset="2"/>
              <a:buChar char="§"/>
              <a:defRPr/>
            </a:lvl4pPr>
            <a:lvl5pPr marL="1543012" indent="-171446">
              <a:buFont typeface="Wingdings" panose="05000000000000000000" pitchFamily="2" charset="2"/>
              <a:buChar char="§"/>
              <a:defRPr/>
            </a:lvl5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A433AE71-28D8-440A-8ECA-61CE4F8FCB04}"/>
              </a:ext>
            </a:extLst>
          </p:cNvPr>
          <p:cNvSpPr/>
          <p:nvPr userDrawn="1"/>
        </p:nvSpPr>
        <p:spPr>
          <a:xfrm>
            <a:off x="0" y="1453412"/>
            <a:ext cx="12192000" cy="102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endParaRPr lang="en-US" sz="1351"/>
          </a:p>
        </p:txBody>
      </p:sp>
      <p:pic>
        <p:nvPicPr>
          <p:cNvPr id="10" name="Picture 27" descr="Image result for government of st lucia">
            <a:extLst>
              <a:ext uri="{FF2B5EF4-FFF2-40B4-BE49-F238E27FC236}">
                <a16:creationId xmlns:a16="http://schemas.microsoft.com/office/drawing/2014/main" id="{909DAC51-2C5E-40E4-8898-68AFA12C0E5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79301" y="63833"/>
            <a:ext cx="720624" cy="550150"/>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15">
            <a:extLst>
              <a:ext uri="{FF2B5EF4-FFF2-40B4-BE49-F238E27FC236}">
                <a16:creationId xmlns:a16="http://schemas.microsoft.com/office/drawing/2014/main" id="{331B94E8-FB9E-43C5-8A82-F074566B3438}"/>
              </a:ext>
            </a:extLst>
          </p:cNvPr>
          <p:cNvSpPr>
            <a:spLocks noGrp="1"/>
          </p:cNvSpPr>
          <p:nvPr>
            <p:ph type="body" sz="quarter" idx="10"/>
          </p:nvPr>
        </p:nvSpPr>
        <p:spPr>
          <a:xfrm>
            <a:off x="452438" y="6503988"/>
            <a:ext cx="11285906" cy="200637"/>
          </a:xfrm>
        </p:spPr>
        <p:txBody>
          <a:bodyPr lIns="0" tIns="0" rIns="0" bIns="0" anchor="ctr">
            <a:noAutofit/>
          </a:bodyPr>
          <a:lstStyle>
            <a:lvl1pPr marL="0" indent="0" defTabSz="533400">
              <a:buNone/>
              <a:defRPr sz="1100"/>
            </a:lvl1pPr>
          </a:lstStyle>
          <a:p>
            <a:pPr lvl="0"/>
            <a:r>
              <a:rPr lang="en-US"/>
              <a:t>Click to edit Master text styles</a:t>
            </a:r>
          </a:p>
        </p:txBody>
      </p:sp>
      <p:sp>
        <p:nvSpPr>
          <p:cNvPr id="17" name="Slide Number">
            <a:extLst>
              <a:ext uri="{FF2B5EF4-FFF2-40B4-BE49-F238E27FC236}">
                <a16:creationId xmlns:a16="http://schemas.microsoft.com/office/drawing/2014/main" id="{BC8076DB-BA24-4A81-9DEC-E0BC2E15B0EA}"/>
              </a:ext>
            </a:extLst>
          </p:cNvPr>
          <p:cNvSpPr txBox="1">
            <a:spLocks/>
          </p:cNvSpPr>
          <p:nvPr userDrawn="1"/>
        </p:nvSpPr>
        <p:spPr>
          <a:xfrm>
            <a:off x="11857560" y="6519668"/>
            <a:ext cx="171522" cy="169277"/>
          </a:xfrm>
          <a:prstGeom prst="rect">
            <a:avLst/>
          </a:prstGeom>
        </p:spPr>
        <p:txBody>
          <a:bodyPr vert="horz" wrap="squar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100" smtClean="0">
                <a:solidFill>
                  <a:srgbClr val="000000">
                    <a:lumMod val="65000"/>
                    <a:lumOff val="35000"/>
                  </a:srgbClr>
                </a:solidFill>
                <a:latin typeface="+mn-lt"/>
              </a:rPr>
              <a:pPr algn="r" fontAlgn="base">
                <a:spcBef>
                  <a:spcPct val="0"/>
                </a:spcBef>
                <a:spcAft>
                  <a:spcPct val="0"/>
                </a:spcAft>
              </a:pPr>
              <a:t>‹#›</a:t>
            </a:fld>
            <a:endParaRPr lang="en-US" sz="1100">
              <a:solidFill>
                <a:srgbClr val="000000">
                  <a:lumMod val="65000"/>
                  <a:lumOff val="35000"/>
                </a:srgbClr>
              </a:solidFill>
              <a:latin typeface="+mn-lt"/>
            </a:endParaRPr>
          </a:p>
        </p:txBody>
      </p:sp>
    </p:spTree>
    <p:extLst>
      <p:ext uri="{BB962C8B-B14F-4D97-AF65-F5344CB8AC3E}">
        <p14:creationId xmlns:p14="http://schemas.microsoft.com/office/powerpoint/2010/main" val="1017923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1CDEC-F389-4C1A-A731-2F5A55ED97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E99BDE-298B-4B6F-AC01-EC8B47BF320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33041B-B5B6-4FBF-BFEA-2996AC90943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B99E4-DBD8-4A70-8F4C-6ED0E8E93DCE}"/>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6" name="Footer Placeholder 5">
            <a:extLst>
              <a:ext uri="{FF2B5EF4-FFF2-40B4-BE49-F238E27FC236}">
                <a16:creationId xmlns:a16="http://schemas.microsoft.com/office/drawing/2014/main" id="{A13C55B8-4817-47C7-ADFC-E691D8D4E1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6E3396-14A7-401D-BC12-8F18E8546455}"/>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963833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5C536-137E-4271-8403-CCDE7BFD7F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96AC36-DF97-4557-9E23-22C966B4E79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04E3876-A6EA-4B27-8B80-22E9D7B5BFE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C0668DA-28D5-455A-97B1-D643FFDF2F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EEB5BF7-9207-474D-8D11-D648C2413EE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36ED8C-546D-4EFE-97EC-4B609DADF56C}"/>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8" name="Footer Placeholder 7">
            <a:extLst>
              <a:ext uri="{FF2B5EF4-FFF2-40B4-BE49-F238E27FC236}">
                <a16:creationId xmlns:a16="http://schemas.microsoft.com/office/drawing/2014/main" id="{EA3CF186-91E5-456C-A32A-20C3501631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6AC6C6-F0C3-4667-B061-A7261CD9FC07}"/>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12350536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D0BD9-C551-46BA-94F0-1D10BBD7D4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9BC84C9-8848-466C-94FD-CB8841F2F622}"/>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4" name="Footer Placeholder 3">
            <a:extLst>
              <a:ext uri="{FF2B5EF4-FFF2-40B4-BE49-F238E27FC236}">
                <a16:creationId xmlns:a16="http://schemas.microsoft.com/office/drawing/2014/main" id="{393D4701-081E-469F-9D6C-311A97F847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48F9EF-BED0-4904-9B26-7C6D551261CC}"/>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1221186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6807F4-70BD-435B-B331-1D08CBA4AF71}"/>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3" name="Footer Placeholder 2">
            <a:extLst>
              <a:ext uri="{FF2B5EF4-FFF2-40B4-BE49-F238E27FC236}">
                <a16:creationId xmlns:a16="http://schemas.microsoft.com/office/drawing/2014/main" id="{70D695BA-3C11-4CC1-B3DD-55E6E35ADA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04F99C-029B-40DD-8C4D-93D8227E9DA1}"/>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4149694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FD3E2-FA6D-4A60-B8D4-D4A5676BE73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538E4D4-351D-4AF9-821F-9CB2719CAD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9499575-5597-4E94-86FD-E6FCE13594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6BE06F7-0678-404A-A7AF-65EAD407DAFD}"/>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6" name="Footer Placeholder 5">
            <a:extLst>
              <a:ext uri="{FF2B5EF4-FFF2-40B4-BE49-F238E27FC236}">
                <a16:creationId xmlns:a16="http://schemas.microsoft.com/office/drawing/2014/main" id="{D906674C-B05D-4A22-875C-B7BED72AF3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7F57B6-6614-40A4-937E-0AC4A4CEF55B}"/>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2219802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A7952-5C75-4531-AFAC-C265121F7F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A0E9B6F-2ADE-44E2-9E3A-17A69BC87D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82971C6-B8CB-4DD9-AD60-AD1F978830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FF832E3-6240-43E6-B3E7-F4C1486AFB67}"/>
              </a:ext>
            </a:extLst>
          </p:cNvPr>
          <p:cNvSpPr>
            <a:spLocks noGrp="1"/>
          </p:cNvSpPr>
          <p:nvPr>
            <p:ph type="dt" sz="half" idx="10"/>
          </p:nvPr>
        </p:nvSpPr>
        <p:spPr/>
        <p:txBody>
          <a:bodyPr/>
          <a:lstStyle/>
          <a:p>
            <a:fld id="{125C7609-C4EC-4B6B-8794-81F88B0985CF}" type="datetimeFigureOut">
              <a:rPr lang="en-US" smtClean="0"/>
              <a:t>8/16/2024</a:t>
            </a:fld>
            <a:endParaRPr lang="en-US"/>
          </a:p>
        </p:txBody>
      </p:sp>
      <p:sp>
        <p:nvSpPr>
          <p:cNvPr id="6" name="Footer Placeholder 5">
            <a:extLst>
              <a:ext uri="{FF2B5EF4-FFF2-40B4-BE49-F238E27FC236}">
                <a16:creationId xmlns:a16="http://schemas.microsoft.com/office/drawing/2014/main" id="{D3B0A47A-59CB-4A9E-A263-A7CC553D2F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63D3AB-5057-4254-A726-01699703816F}"/>
              </a:ext>
            </a:extLst>
          </p:cNvPr>
          <p:cNvSpPr>
            <a:spLocks noGrp="1"/>
          </p:cNvSpPr>
          <p:nvPr>
            <p:ph type="sldNum" sz="quarter" idx="12"/>
          </p:nvPr>
        </p:nvSpPr>
        <p:spPr/>
        <p:txBody>
          <a:bodyPr/>
          <a:lstStyle/>
          <a:p>
            <a:fld id="{A40FA83D-C1A9-48EE-AD37-7317D8285087}" type="slidenum">
              <a:rPr lang="en-US" smtClean="0"/>
              <a:t>‹#›</a:t>
            </a:fld>
            <a:endParaRPr lang="en-US"/>
          </a:p>
        </p:txBody>
      </p:sp>
    </p:spTree>
    <p:extLst>
      <p:ext uri="{BB962C8B-B14F-4D97-AF65-F5344CB8AC3E}">
        <p14:creationId xmlns:p14="http://schemas.microsoft.com/office/powerpoint/2010/main" val="3471193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ags" Target="../tags/tag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3.emf"/><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C880D7-E055-4B06-8798-24F7E3A872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4B339B1-E984-40D0-9540-FE3AFF2798E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6B9CE-5E36-403F-8CB0-DA77DCEF31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5C7609-C4EC-4B6B-8794-81F88B0985CF}" type="datetimeFigureOut">
              <a:rPr lang="en-US" smtClean="0"/>
              <a:t>8/16/2024</a:t>
            </a:fld>
            <a:endParaRPr lang="en-US"/>
          </a:p>
        </p:txBody>
      </p:sp>
      <p:sp>
        <p:nvSpPr>
          <p:cNvPr id="5" name="Footer Placeholder 4">
            <a:extLst>
              <a:ext uri="{FF2B5EF4-FFF2-40B4-BE49-F238E27FC236}">
                <a16:creationId xmlns:a16="http://schemas.microsoft.com/office/drawing/2014/main" id="{795979FF-1D37-4F11-91BB-F3908A7FAA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D69C8C5-F35A-4E95-BEC5-84718E860F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0FA83D-C1A9-48EE-AD37-7317D8285087}" type="slidenum">
              <a:rPr lang="en-US" smtClean="0"/>
              <a:t>‹#›</a:t>
            </a:fld>
            <a:endParaRPr lang="en-US"/>
          </a:p>
        </p:txBody>
      </p:sp>
    </p:spTree>
    <p:extLst>
      <p:ext uri="{BB962C8B-B14F-4D97-AF65-F5344CB8AC3E}">
        <p14:creationId xmlns:p14="http://schemas.microsoft.com/office/powerpoint/2010/main" val="25065229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89" r:id="rId19"/>
    <p:sldLayoutId id="214748369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1D9319-7FDD-483A-A156-46A6D7B0DDC1}"/>
              </a:ext>
            </a:extLst>
          </p:cNvPr>
          <p:cNvGraphicFramePr>
            <a:graphicFrameLocks noChangeAspect="1"/>
          </p:cNvGraphicFramePr>
          <p:nvPr userDrawn="1">
            <p:custDataLst>
              <p:tags r:id="rId20"/>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22" imgW="416" imgH="416" progId="TCLayout.ActiveDocument.1">
                  <p:embed/>
                </p:oleObj>
              </mc:Choice>
              <mc:Fallback>
                <p:oleObj name="think-cell Slide" r:id="rId22" imgW="416" imgH="416" progId="TCLayout.ActiveDocument.1">
                  <p:embed/>
                  <p:pic>
                    <p:nvPicPr>
                      <p:cNvPr id="8" name="Object 7" hidden="1">
                        <a:extLst>
                          <a:ext uri="{FF2B5EF4-FFF2-40B4-BE49-F238E27FC236}">
                            <a16:creationId xmlns:a16="http://schemas.microsoft.com/office/drawing/2014/main" id="{EE1D9319-7FDD-483A-A156-46A6D7B0DDC1}"/>
                          </a:ext>
                        </a:extLst>
                      </p:cNvPr>
                      <p:cNvPicPr/>
                      <p:nvPr/>
                    </p:nvPicPr>
                    <p:blipFill>
                      <a:blip r:embed="rId23"/>
                      <a:stretch>
                        <a:fillRect/>
                      </a:stretch>
                    </p:blipFill>
                    <p:spPr>
                      <a:xfrm>
                        <a:off x="1591"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D6745B-DCFA-42C8-BF62-61EEBC3A1350}"/>
              </a:ext>
            </a:extLst>
          </p:cNvPr>
          <p:cNvSpPr/>
          <p:nvPr userDrawn="1">
            <p:custDataLst>
              <p:tags r:id="rId21"/>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buClrTx/>
              <a:buFontTx/>
              <a:buNone/>
            </a:pPr>
            <a:endParaRPr lang="en-US" sz="2400" b="1" kern="1200">
              <a:solidFill>
                <a:srgbClr val="FFFFFF"/>
              </a:solidFill>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19D0F205-0065-49E1-BC3B-FB988A9F7ADB}"/>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endParaRPr lang="en-US"/>
          </a:p>
        </p:txBody>
      </p:sp>
      <p:sp>
        <p:nvSpPr>
          <p:cNvPr id="3" name="Text Placeholder 2">
            <a:extLst>
              <a:ext uri="{FF2B5EF4-FFF2-40B4-BE49-F238E27FC236}">
                <a16:creationId xmlns:a16="http://schemas.microsoft.com/office/drawing/2014/main" id="{4C741AEB-9727-469F-982A-2B231DE841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15" name="Footer Placeholder 13">
            <a:extLst>
              <a:ext uri="{FF2B5EF4-FFF2-40B4-BE49-F238E27FC236}">
                <a16:creationId xmlns:a16="http://schemas.microsoft.com/office/drawing/2014/main" id="{69F0A3F0-2356-4625-AB20-7D0871AE756D}"/>
              </a:ext>
            </a:extLst>
          </p:cNvPr>
          <p:cNvSpPr>
            <a:spLocks noGrp="1"/>
          </p:cNvSpPr>
          <p:nvPr>
            <p:ph type="ftr" sz="quarter" idx="3"/>
          </p:nvPr>
        </p:nvSpPr>
        <p:spPr>
          <a:xfrm>
            <a:off x="452386" y="6504344"/>
            <a:ext cx="11285957" cy="169277"/>
          </a:xfrm>
          <a:prstGeom prst="rect">
            <a:avLst/>
          </a:prstGeom>
        </p:spPr>
        <p:txBody>
          <a:bodyPr wrap="square" lIns="0" tIns="0" rIns="0" bIns="0" anchor="ctr" anchorCtr="0">
            <a:spAutoFit/>
          </a:bodyPr>
          <a:lstStyle>
            <a:lvl1pPr>
              <a:defRPr lang="en-US" sz="1100" baseline="0" dirty="0">
                <a:solidFill>
                  <a:schemeClr val="tx1"/>
                </a:solidFill>
                <a:latin typeface="+mn-lt"/>
                <a:cs typeface="+mn-cs"/>
              </a:defRPr>
            </a:lvl1pPr>
          </a:lstStyle>
          <a:p>
            <a:pPr marL="495312" indent="-495312" defTabSz="843276" fontAlgn="base">
              <a:spcBef>
                <a:spcPct val="0"/>
              </a:spcBef>
              <a:spcAft>
                <a:spcPct val="0"/>
              </a:spcAft>
              <a:buClr>
                <a:srgbClr val="5A5A5A"/>
              </a:buClr>
              <a:buFontTx/>
              <a:buNone/>
              <a:tabLst>
                <a:tab pos="421638" algn="r"/>
              </a:tabLst>
            </a:pPr>
            <a:endParaRPr lang="en-GB" kern="1200">
              <a:solidFill>
                <a:srgbClr val="000000"/>
              </a:solidFill>
            </a:endParaRPr>
          </a:p>
        </p:txBody>
      </p:sp>
    </p:spTree>
    <p:extLst>
      <p:ext uri="{BB962C8B-B14F-4D97-AF65-F5344CB8AC3E}">
        <p14:creationId xmlns:p14="http://schemas.microsoft.com/office/powerpoint/2010/main" val="317827807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9" r:id="rId11"/>
    <p:sldLayoutId id="2147483680" r:id="rId12"/>
    <p:sldLayoutId id="2147483681" r:id="rId13"/>
    <p:sldLayoutId id="2147483682" r:id="rId14"/>
    <p:sldLayoutId id="2147483683" r:id="rId15"/>
    <p:sldLayoutId id="2147483685" r:id="rId16"/>
    <p:sldLayoutId id="2147483686" r:id="rId17"/>
    <p:sldLayoutId id="2147483687" r:id="rId18"/>
  </p:sldLayoutIdLst>
  <p:hf hdr="0" ftr="0" dt="0"/>
  <p:txStyles>
    <p:titleStyle>
      <a:lvl1pPr algn="l" defTabSz="685783"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14338" indent="-171446" algn="l" defTabSz="685783" rtl="0" eaLnBrk="1" latinLnBrk="0" hangingPunct="1">
        <a:lnSpc>
          <a:spcPct val="90000"/>
        </a:lnSpc>
        <a:spcBef>
          <a:spcPts val="375"/>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857229" indent="-171446" algn="l" defTabSz="685783" rtl="0" eaLnBrk="1" latinLnBrk="0" hangingPunct="1">
        <a:lnSpc>
          <a:spcPct val="90000"/>
        </a:lnSpc>
        <a:spcBef>
          <a:spcPts val="375"/>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00121" indent="-171446" algn="l" defTabSz="685783"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6.png"/><Relationship Id="rId5" Type="http://schemas.openxmlformats.org/officeDocument/2006/relationships/image" Target="../media/image10.png"/><Relationship Id="rId4" Type="http://schemas.openxmlformats.org/officeDocument/2006/relationships/image" Target="../media/image31.jpg"/></Relationships>
</file>

<file path=ppt/slides/_rels/slide1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9.png"/><Relationship Id="rId11" Type="http://schemas.openxmlformats.org/officeDocument/2006/relationships/image" Target="../media/image27.png"/><Relationship Id="rId5" Type="http://schemas.openxmlformats.org/officeDocument/2006/relationships/image" Target="../media/image38.png"/><Relationship Id="rId10" Type="http://schemas.openxmlformats.org/officeDocument/2006/relationships/image" Target="../media/image26.png"/><Relationship Id="rId4" Type="http://schemas.openxmlformats.org/officeDocument/2006/relationships/image" Target="../media/image37.png"/><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2.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13.xml"/><Relationship Id="rId5" Type="http://schemas.openxmlformats.org/officeDocument/2006/relationships/image" Target="../media/image62.sv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slideLayout" Target="../slideLayouts/slideLayout15.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16.bin"/><Relationship Id="rId9" Type="http://schemas.openxmlformats.org/officeDocument/2006/relationships/image" Target="../media/image16.svg"/><Relationship Id="rId14" Type="http://schemas.openxmlformats.org/officeDocument/2006/relationships/image" Target="../media/image2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2.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2.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image" Target="../media/image79.jpg"/><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G"/><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6.xml"/><Relationship Id="rId1" Type="http://schemas.openxmlformats.org/officeDocument/2006/relationships/slideLayout" Target="../slideLayouts/slideLayout26.xml"/><Relationship Id="rId4" Type="http://schemas.openxmlformats.org/officeDocument/2006/relationships/image" Target="../media/image88.jpeg"/></Relationships>
</file>

<file path=ppt/slides/_rels/slide51.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image" Target="../media/image89.jpg"/><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6.xml"/></Relationships>
</file>

<file path=ppt/slides/_rels/slide55.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image" Target="../media/image95.jpg"/><Relationship Id="rId1" Type="http://schemas.openxmlformats.org/officeDocument/2006/relationships/slideLayout" Target="../slideLayouts/slideLayout26.xml"/></Relationships>
</file>

<file path=ppt/slides/_rels/slide57.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image" Target="../media/image97.jpg"/><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png"/><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6.xml"/></Relationships>
</file>

<file path=ppt/slides/_rels/slide6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6.xml"/></Relationships>
</file>

<file path=ppt/slides/_rels/slide65.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6.xml"/></Relationships>
</file>

<file path=ppt/slides/_rels/slide66.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15.xml"/></Relationships>
</file>

<file path=ppt/slides/_rels/slide68.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hyperlink" Target="https://www.flickr.com/photos/60525373@N08/48227528662"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7.png"/><Relationship Id="rId5" Type="http://schemas.openxmlformats.org/officeDocument/2006/relationships/image" Target="../media/image10.png"/><Relationship Id="rId4" Type="http://schemas.openxmlformats.org/officeDocument/2006/relationships/image" Target="../media/image3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3A3B864-5E85-99D2-93E5-5CA1F4F35DC7}"/>
              </a:ext>
            </a:extLst>
          </p:cNvPr>
          <p:cNvSpPr>
            <a:spLocks noGrp="1"/>
          </p:cNvSpPr>
          <p:nvPr>
            <p:ph type="title"/>
          </p:nvPr>
        </p:nvSpPr>
        <p:spPr>
          <a:xfrm>
            <a:off x="490836" y="1180711"/>
            <a:ext cx="5483600" cy="2395824"/>
          </a:xfrm>
        </p:spPr>
        <p:txBody>
          <a:bodyPr/>
          <a:lstStyle/>
          <a:p>
            <a:pPr algn="ctr"/>
            <a:r>
              <a:rPr lang="en-US" sz="4000" b="1" dirty="0">
                <a:solidFill>
                  <a:schemeClr val="accent1">
                    <a:lumMod val="75000"/>
                  </a:schemeClr>
                </a:solidFill>
                <a:latin typeface="Open Sans"/>
              </a:rPr>
              <a:t>SLHTA CHEF’S FORUM PRESENTATION</a:t>
            </a:r>
          </a:p>
        </p:txBody>
      </p:sp>
      <p:sp>
        <p:nvSpPr>
          <p:cNvPr id="9" name="Text Placeholder 8">
            <a:extLst>
              <a:ext uri="{FF2B5EF4-FFF2-40B4-BE49-F238E27FC236}">
                <a16:creationId xmlns:a16="http://schemas.microsoft.com/office/drawing/2014/main" id="{485E0237-B9A1-0B58-E0AA-05EF84817EB4}"/>
              </a:ext>
            </a:extLst>
          </p:cNvPr>
          <p:cNvSpPr>
            <a:spLocks noGrp="1"/>
          </p:cNvSpPr>
          <p:nvPr>
            <p:ph type="body" sz="quarter" idx="28"/>
          </p:nvPr>
        </p:nvSpPr>
        <p:spPr>
          <a:xfrm>
            <a:off x="1601365" y="4172084"/>
            <a:ext cx="4373071" cy="1037373"/>
          </a:xfrm>
        </p:spPr>
        <p:txBody>
          <a:bodyPr/>
          <a:lstStyle/>
          <a:p>
            <a:r>
              <a:rPr lang="en-US" sz="1800" b="1" dirty="0">
                <a:solidFill>
                  <a:schemeClr val="accent1">
                    <a:lumMod val="75000"/>
                  </a:schemeClr>
                </a:solidFill>
                <a:effectLst/>
                <a:latin typeface="Bookman Old Style" panose="02050604050505020204" pitchFamily="18" charset="0"/>
                <a:ea typeface="Calibri" panose="020F0502020204030204" pitchFamily="34" charset="0"/>
                <a:cs typeface="Times New Roman" panose="02020603050405020304" pitchFamily="18" charset="0"/>
              </a:rPr>
              <a:t>Ministry of Tourism, Investment, Creative Industries, Culture and Information</a:t>
            </a:r>
            <a:endParaRPr lang="en-US" b="1" dirty="0">
              <a:solidFill>
                <a:schemeClr val="accent1">
                  <a:lumMod val="75000"/>
                </a:schemeClr>
              </a:solidFill>
            </a:endParaRPr>
          </a:p>
        </p:txBody>
      </p:sp>
      <p:sp>
        <p:nvSpPr>
          <p:cNvPr id="10" name="Freeform: Shape 11">
            <a:extLst>
              <a:ext uri="{FF2B5EF4-FFF2-40B4-BE49-F238E27FC236}">
                <a16:creationId xmlns:a16="http://schemas.microsoft.com/office/drawing/2014/main" id="{01A79B69-242C-3AEB-4A42-7A606A54C63A}"/>
              </a:ext>
              <a:ext uri="{C183D7F6-B498-43B3-948B-1728B52AA6E4}">
                <adec:decorative xmlns:adec="http://schemas.microsoft.com/office/drawing/2017/decorative" val="1"/>
              </a:ext>
            </a:extLst>
          </p:cNvPr>
          <p:cNvSpPr/>
          <p:nvPr/>
        </p:nvSpPr>
        <p:spPr>
          <a:xfrm>
            <a:off x="9857505" y="838985"/>
            <a:ext cx="1637958" cy="1873859"/>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noFill/>
          <a:ln w="19050" cap="flat" cmpd="sng" algn="ctr">
            <a:solidFill>
              <a:schemeClr val="tx2">
                <a:lumMod val="50000"/>
                <a:lumOff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Posterama Text SemiBold"/>
              <a:ea typeface="+mn-ea"/>
              <a:cs typeface="+mn-cs"/>
            </a:endParaRPr>
          </a:p>
        </p:txBody>
      </p:sp>
      <p:sp>
        <p:nvSpPr>
          <p:cNvPr id="14" name="Freeform: Shape 11">
            <a:extLst>
              <a:ext uri="{FF2B5EF4-FFF2-40B4-BE49-F238E27FC236}">
                <a16:creationId xmlns:a16="http://schemas.microsoft.com/office/drawing/2014/main" id="{E5D4DE6D-89C8-6FFF-287D-3F3BAD416CA1}"/>
              </a:ext>
              <a:ext uri="{C183D7F6-B498-43B3-948B-1728B52AA6E4}">
                <adec:decorative xmlns:adec="http://schemas.microsoft.com/office/drawing/2017/decorative" val="1"/>
              </a:ext>
            </a:extLst>
          </p:cNvPr>
          <p:cNvSpPr/>
          <p:nvPr/>
        </p:nvSpPr>
        <p:spPr>
          <a:xfrm>
            <a:off x="5974436" y="3694919"/>
            <a:ext cx="1637958" cy="1873859"/>
          </a:xfrm>
          <a:custGeom>
            <a:avLst/>
            <a:gdLst>
              <a:gd name="connsiteX0" fmla="*/ 2187388 w 4398682"/>
              <a:gd name="connsiteY0" fmla="*/ 0 h 5032188"/>
              <a:gd name="connsiteX1" fmla="*/ 4386729 w 4398682"/>
              <a:gd name="connsiteY1" fmla="*/ 1261035 h 5032188"/>
              <a:gd name="connsiteX2" fmla="*/ 4398682 w 4398682"/>
              <a:gd name="connsiteY2" fmla="*/ 3789083 h 5032188"/>
              <a:gd name="connsiteX3" fmla="*/ 2193365 w 4398682"/>
              <a:gd name="connsiteY3" fmla="*/ 5032188 h 5032188"/>
              <a:gd name="connsiteX4" fmla="*/ 0 w 4398682"/>
              <a:gd name="connsiteY4" fmla="*/ 3783106 h 5032188"/>
              <a:gd name="connsiteX5" fmla="*/ 0 w 4398682"/>
              <a:gd name="connsiteY5" fmla="*/ 1267012 h 5032188"/>
              <a:gd name="connsiteX6" fmla="*/ 2187388 w 4398682"/>
              <a:gd name="connsiteY6" fmla="*/ 0 h 503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8682" h="5032188">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4">
              <a:lumMod val="60000"/>
              <a:lumOff val="40000"/>
              <a:alpha val="50196"/>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Posterama Text SemiBold"/>
              <a:ea typeface="+mn-ea"/>
              <a:cs typeface="+mn-cs"/>
            </a:endParaRPr>
          </a:p>
        </p:txBody>
      </p:sp>
      <p:pic>
        <p:nvPicPr>
          <p:cNvPr id="2" name="Picture 1">
            <a:extLst>
              <a:ext uri="{FF2B5EF4-FFF2-40B4-BE49-F238E27FC236}">
                <a16:creationId xmlns:a16="http://schemas.microsoft.com/office/drawing/2014/main" id="{88D4438A-8F85-5F8B-B5AF-BF8A54B9AC6F}"/>
              </a:ext>
            </a:extLst>
          </p:cNvPr>
          <p:cNvPicPr>
            <a:picLocks noChangeAspect="1"/>
          </p:cNvPicPr>
          <p:nvPr/>
        </p:nvPicPr>
        <p:blipFill>
          <a:blip r:embed="rId3"/>
          <a:stretch>
            <a:fillRect/>
          </a:stretch>
        </p:blipFill>
        <p:spPr>
          <a:xfrm>
            <a:off x="264272" y="124134"/>
            <a:ext cx="1307206" cy="849126"/>
          </a:xfrm>
          <a:prstGeom prst="rect">
            <a:avLst/>
          </a:prstGeom>
        </p:spPr>
      </p:pic>
      <p:pic>
        <p:nvPicPr>
          <p:cNvPr id="3" name="Picture 2">
            <a:extLst>
              <a:ext uri="{FF2B5EF4-FFF2-40B4-BE49-F238E27FC236}">
                <a16:creationId xmlns:a16="http://schemas.microsoft.com/office/drawing/2014/main" id="{CE94BA28-EBB1-8B3F-0DE9-CA4B4096BD17}"/>
              </a:ext>
            </a:extLst>
          </p:cNvPr>
          <p:cNvPicPr>
            <a:picLocks noChangeAspect="1"/>
          </p:cNvPicPr>
          <p:nvPr/>
        </p:nvPicPr>
        <p:blipFill>
          <a:blip r:embed="rId4">
            <a:clrChange>
              <a:clrFrom>
                <a:srgbClr val="FCFEFF"/>
              </a:clrFrom>
              <a:clrTo>
                <a:srgbClr val="FCFEFF">
                  <a:alpha val="0"/>
                </a:srgbClr>
              </a:clrTo>
            </a:clrChange>
            <a:duotone>
              <a:prstClr val="black"/>
              <a:schemeClr val="accent6">
                <a:tint val="45000"/>
                <a:satMod val="400000"/>
              </a:schemeClr>
            </a:duotone>
          </a:blip>
          <a:stretch>
            <a:fillRect/>
          </a:stretch>
        </p:blipFill>
        <p:spPr>
          <a:xfrm>
            <a:off x="5092076" y="6238786"/>
            <a:ext cx="1535963" cy="571917"/>
          </a:xfrm>
          <a:prstGeom prst="rect">
            <a:avLst/>
          </a:prstGeom>
        </p:spPr>
      </p:pic>
      <p:pic>
        <p:nvPicPr>
          <p:cNvPr id="15" name="Picture Placeholder 14">
            <a:extLst>
              <a:ext uri="{FF2B5EF4-FFF2-40B4-BE49-F238E27FC236}">
                <a16:creationId xmlns:a16="http://schemas.microsoft.com/office/drawing/2014/main" id="{25551371-4D7C-4CEC-9E77-2ED906CB4809}"/>
              </a:ext>
            </a:extLst>
          </p:cNvPr>
          <p:cNvPicPr>
            <a:picLocks noGrp="1" noChangeAspect="1"/>
          </p:cNvPicPr>
          <p:nvPr>
            <p:ph type="pic" sz="quarter" idx="47"/>
          </p:nvPr>
        </p:nvPicPr>
        <p:blipFill>
          <a:blip r:embed="rId5">
            <a:extLst>
              <a:ext uri="{28A0092B-C50C-407E-A947-70E740481C1C}">
                <a14:useLocalDpi xmlns:a14="http://schemas.microsoft.com/office/drawing/2010/main" val="0"/>
              </a:ext>
            </a:extLst>
          </a:blip>
          <a:srcRect l="25565" r="25565"/>
          <a:stretch>
            <a:fillRect/>
          </a:stretch>
        </p:blipFill>
        <p:spPr>
          <a:xfrm>
            <a:off x="6742557" y="821836"/>
            <a:ext cx="4405503" cy="5066346"/>
          </a:xfrm>
        </p:spPr>
      </p:pic>
    </p:spTree>
    <p:extLst>
      <p:ext uri="{BB962C8B-B14F-4D97-AF65-F5344CB8AC3E}">
        <p14:creationId xmlns:p14="http://schemas.microsoft.com/office/powerpoint/2010/main" val="3898447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42EFE1-2EC0-920F-9874-1AC960FD726A}"/>
              </a:ext>
            </a:extLst>
          </p:cNvPr>
          <p:cNvSpPr txBox="1"/>
          <p:nvPr/>
        </p:nvSpPr>
        <p:spPr>
          <a:xfrm>
            <a:off x="1847528" y="43766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TOURISM DEVELOPMENT ACT</a:t>
            </a:r>
          </a:p>
        </p:txBody>
      </p:sp>
      <p:pic>
        <p:nvPicPr>
          <p:cNvPr id="12" name="Picture 11">
            <a:extLst>
              <a:ext uri="{FF2B5EF4-FFF2-40B4-BE49-F238E27FC236}">
                <a16:creationId xmlns:a16="http://schemas.microsoft.com/office/drawing/2014/main" id="{8443ACE7-E68E-9E45-4DEF-F74E04C90C36}"/>
              </a:ext>
            </a:extLst>
          </p:cNvPr>
          <p:cNvPicPr>
            <a:picLocks noChangeAspect="1"/>
          </p:cNvPicPr>
          <p:nvPr/>
        </p:nvPicPr>
        <p:blipFill>
          <a:blip r:embed="rId3"/>
          <a:stretch>
            <a:fillRect/>
          </a:stretch>
        </p:blipFill>
        <p:spPr>
          <a:xfrm>
            <a:off x="7809904" y="2302439"/>
            <a:ext cx="1630697" cy="785923"/>
          </a:xfrm>
          <a:prstGeom prst="rect">
            <a:avLst/>
          </a:prstGeom>
          <a:ln>
            <a:solidFill>
              <a:schemeClr val="tx1"/>
            </a:solidFill>
          </a:ln>
        </p:spPr>
      </p:pic>
      <p:sp>
        <p:nvSpPr>
          <p:cNvPr id="13" name="Rectangle 12">
            <a:extLst>
              <a:ext uri="{FF2B5EF4-FFF2-40B4-BE49-F238E27FC236}">
                <a16:creationId xmlns:a16="http://schemas.microsoft.com/office/drawing/2014/main" id="{9727CDB9-79A2-1C7B-9607-41ADB078E0D8}"/>
              </a:ext>
            </a:extLst>
          </p:cNvPr>
          <p:cNvSpPr/>
          <p:nvPr/>
        </p:nvSpPr>
        <p:spPr>
          <a:xfrm>
            <a:off x="3725206" y="1649857"/>
            <a:ext cx="6334976" cy="5182433"/>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890FDA58-9297-82D1-CBA7-B421BBE4F76C}"/>
              </a:ext>
            </a:extLst>
          </p:cNvPr>
          <p:cNvSpPr txBox="1"/>
          <p:nvPr/>
        </p:nvSpPr>
        <p:spPr>
          <a:xfrm>
            <a:off x="3842384" y="1755981"/>
            <a:ext cx="6144896" cy="5186035"/>
          </a:xfrm>
          <a:prstGeom prst="rect">
            <a:avLst/>
          </a:prstGeom>
          <a:noFill/>
        </p:spPr>
        <p:txBody>
          <a:bodyPr wrap="square">
            <a:spAutoFit/>
          </a:bodyPr>
          <a:lstStyle/>
          <a:p>
            <a:pPr marR="45720" lvl="0" algn="just"/>
            <a:r>
              <a:rPr lang="en-US" sz="1650" b="1"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PRELIMINARY</a:t>
            </a:r>
          </a:p>
          <a:p>
            <a:pPr marL="285750" marR="45720" lvl="0" indent="-285750" algn="just">
              <a:buFont typeface="Arial" panose="020B0604020202020204" pitchFamily="34" charset="0"/>
              <a:buChar char="•"/>
            </a:pPr>
            <a:r>
              <a:rPr lang="en-US" sz="165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Short Title</a:t>
            </a:r>
          </a:p>
          <a:p>
            <a:pPr marL="285750" marR="45720" lvl="0" indent="-285750" algn="just">
              <a:spcAft>
                <a:spcPts val="1200"/>
              </a:spcAft>
              <a:buFont typeface="Arial" panose="020B0604020202020204" pitchFamily="34" charset="0"/>
              <a:buChar char="•"/>
            </a:pPr>
            <a:r>
              <a:rPr lang="en-US" sz="165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Interpretation</a:t>
            </a:r>
          </a:p>
          <a:p>
            <a:pPr marL="893763" marR="45720" lvl="0" indent="-893763" algn="just">
              <a:spcAft>
                <a:spcPts val="1200"/>
              </a:spcAft>
            </a:pPr>
            <a:r>
              <a:rPr lang="en-US" sz="1650" b="1" dirty="0">
                <a:latin typeface="Calibri Light" panose="020F0302020204030204" pitchFamily="34" charset="0"/>
                <a:ea typeface="Calibri" panose="020F0502020204030204" pitchFamily="34" charset="0"/>
                <a:cs typeface="Calibri Light" panose="020F0302020204030204" pitchFamily="34" charset="0"/>
              </a:rPr>
              <a:t>PART I: 	ADMINISTRATION</a:t>
            </a:r>
          </a:p>
          <a:p>
            <a:pPr marL="893763" marR="45720" lvl="0" indent="-893763" algn="just">
              <a:spcAft>
                <a:spcPts val="1200"/>
              </a:spcAft>
            </a:pPr>
            <a:r>
              <a:rPr lang="en-US" sz="1650" b="1" dirty="0">
                <a:effectLst/>
                <a:latin typeface="Calibri Light" panose="020F0302020204030204" pitchFamily="34" charset="0"/>
                <a:ea typeface="Calibri" panose="020F0502020204030204" pitchFamily="34" charset="0"/>
                <a:cs typeface="Calibri Light" panose="020F0302020204030204" pitchFamily="34" charset="0"/>
              </a:rPr>
              <a:t>PART </a:t>
            </a:r>
            <a:r>
              <a:rPr lang="en-US" sz="1650" b="1" dirty="0">
                <a:latin typeface="Calibri Light" panose="020F0302020204030204" pitchFamily="34" charset="0"/>
                <a:ea typeface="Calibri" panose="020F0502020204030204" pitchFamily="34" charset="0"/>
                <a:cs typeface="Calibri Light" panose="020F0302020204030204" pitchFamily="34" charset="0"/>
              </a:rPr>
              <a:t>II: 	TOURISM CERTIFICATES</a:t>
            </a:r>
          </a:p>
          <a:p>
            <a:pPr marL="893763" marR="45720" lvl="0" indent="-893763" algn="just">
              <a:spcAft>
                <a:spcPts val="1200"/>
              </a:spcAft>
            </a:pPr>
            <a:r>
              <a:rPr lang="en-US" sz="1650" b="1" dirty="0">
                <a:effectLst/>
                <a:latin typeface="Calibri Light" panose="020F0302020204030204" pitchFamily="34" charset="0"/>
                <a:ea typeface="Calibri" panose="020F0502020204030204" pitchFamily="34" charset="0"/>
                <a:cs typeface="Calibri Light" panose="020F0302020204030204" pitchFamily="34" charset="0"/>
              </a:rPr>
              <a:t>PART </a:t>
            </a:r>
            <a:r>
              <a:rPr lang="en-US" sz="1650" b="1" dirty="0">
                <a:latin typeface="Calibri Light" panose="020F0302020204030204" pitchFamily="34" charset="0"/>
                <a:ea typeface="Calibri" panose="020F0502020204030204" pitchFamily="34" charset="0"/>
                <a:cs typeface="Calibri Light" panose="020F0302020204030204" pitchFamily="34" charset="0"/>
              </a:rPr>
              <a:t>III: 	SOCIAL PARTNERSHIP</a:t>
            </a:r>
          </a:p>
          <a:p>
            <a:pPr marL="893763" marR="45720" lvl="0" indent="-893763" algn="just">
              <a:spcAft>
                <a:spcPts val="1200"/>
              </a:spcAft>
            </a:pPr>
            <a:r>
              <a:rPr lang="en-US" sz="1650" b="1" dirty="0">
                <a:effectLst/>
                <a:latin typeface="Calibri Light" panose="020F0302020204030204" pitchFamily="34" charset="0"/>
                <a:ea typeface="Calibri" panose="020F0502020204030204" pitchFamily="34" charset="0"/>
                <a:cs typeface="Calibri Light" panose="020F0302020204030204" pitchFamily="34" charset="0"/>
              </a:rPr>
              <a:t>PART IV: 	INCENTIVES, ADDITIONAL INCENTIVES, INCENTIVES FOR RESILIENCE &amp; TAX CREDITS</a:t>
            </a:r>
          </a:p>
          <a:p>
            <a:pPr marL="893763" marR="45720" lvl="0" indent="-893763" algn="just">
              <a:spcAft>
                <a:spcPts val="1200"/>
              </a:spcAft>
            </a:pPr>
            <a:r>
              <a:rPr lang="en-US" sz="1650" b="1"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PART V: 	TOURISM LEVY</a:t>
            </a:r>
          </a:p>
          <a:p>
            <a:pPr marL="893763" marR="45720" lvl="0" indent="-893763" algn="just">
              <a:spcAft>
                <a:spcPts val="1200"/>
              </a:spcAft>
            </a:pPr>
            <a:r>
              <a:rPr lang="en-US" sz="1650" b="1"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PART VI: 	REVIEW COMMITTEE</a:t>
            </a:r>
          </a:p>
          <a:p>
            <a:pPr marL="893763" marR="45720" lvl="0" indent="-893763" algn="just">
              <a:spcAft>
                <a:spcPts val="1200"/>
              </a:spcAft>
            </a:pPr>
            <a:r>
              <a:rPr lang="en-US" sz="1650" b="1"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PART VII:   TOURISM DEVELOPMENT FUND</a:t>
            </a:r>
          </a:p>
          <a:p>
            <a:pPr marL="893763" marR="45720" lvl="0" indent="-893763" algn="just">
              <a:spcAft>
                <a:spcPts val="1200"/>
              </a:spcAft>
            </a:pPr>
            <a:r>
              <a:rPr lang="en-US" sz="1650" b="1" dirty="0">
                <a:latin typeface="Calibri Light" panose="020F0302020204030204" pitchFamily="34" charset="0"/>
                <a:ea typeface="Calibri" panose="020F0502020204030204" pitchFamily="34" charset="0"/>
                <a:cs typeface="Calibri Light" panose="020F0302020204030204" pitchFamily="34" charset="0"/>
              </a:rPr>
              <a:t>PART VIII: TOURISM INFORMATION DATABASE &amp; MONITORING</a:t>
            </a:r>
          </a:p>
          <a:p>
            <a:pPr marL="893763" marR="45720" lvl="0" indent="-893763" algn="just">
              <a:spcAft>
                <a:spcPts val="1200"/>
              </a:spcAft>
            </a:pPr>
            <a:r>
              <a:rPr lang="en-US" sz="1650" b="1"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PART VIII:	MISCELANEOUS</a:t>
            </a:r>
          </a:p>
          <a:p>
            <a:pPr marL="893763" marR="45720" lvl="0" indent="-893763" algn="just">
              <a:spcAft>
                <a:spcPts val="1200"/>
              </a:spcAft>
            </a:pPr>
            <a:r>
              <a:rPr lang="en-US" sz="1650" b="1"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SCHEDULES</a:t>
            </a:r>
            <a:endParaRPr lang="en-US" sz="165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5" name="Title 1">
            <a:extLst>
              <a:ext uri="{FF2B5EF4-FFF2-40B4-BE49-F238E27FC236}">
                <a16:creationId xmlns:a16="http://schemas.microsoft.com/office/drawing/2014/main" id="{626825C8-8D69-9108-93D1-BE384F624422}"/>
              </a:ext>
            </a:extLst>
          </p:cNvPr>
          <p:cNvSpPr txBox="1">
            <a:spLocks/>
          </p:cNvSpPr>
          <p:nvPr/>
        </p:nvSpPr>
        <p:spPr>
          <a:xfrm>
            <a:off x="7190324" y="1649857"/>
            <a:ext cx="2869858" cy="326217"/>
          </a:xfrm>
          <a:prstGeom prst="rect">
            <a:avLst/>
          </a:prstGeom>
          <a:solidFill>
            <a:schemeClr val="bg1"/>
          </a:solidFill>
          <a:ln>
            <a:solidFill>
              <a:schemeClr val="accent6">
                <a:lumMod val="75000"/>
              </a:schemeClr>
            </a:solidFill>
          </a:ln>
        </p:spPr>
        <p:txBody>
          <a:bodyP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1200"/>
              </a:spcBef>
              <a:spcAft>
                <a:spcPts val="1200"/>
              </a:spcAft>
            </a:pPr>
            <a:r>
              <a:rPr lang="en-US" sz="2400" b="1" dirty="0"/>
              <a:t>Arrangement of Sections</a:t>
            </a:r>
            <a:endParaRPr lang="en-US" sz="2400" dirty="0"/>
          </a:p>
        </p:txBody>
      </p:sp>
      <p:grpSp>
        <p:nvGrpSpPr>
          <p:cNvPr id="16" name="Group 15">
            <a:extLst>
              <a:ext uri="{FF2B5EF4-FFF2-40B4-BE49-F238E27FC236}">
                <a16:creationId xmlns:a16="http://schemas.microsoft.com/office/drawing/2014/main" id="{825EE58D-9E75-3B9E-313B-9AC5BED2EC40}"/>
              </a:ext>
            </a:extLst>
          </p:cNvPr>
          <p:cNvGrpSpPr/>
          <p:nvPr/>
        </p:nvGrpSpPr>
        <p:grpSpPr>
          <a:xfrm>
            <a:off x="282952" y="1649856"/>
            <a:ext cx="2895575" cy="5182433"/>
            <a:chOff x="909960" y="1478279"/>
            <a:chExt cx="2902195" cy="4478028"/>
          </a:xfrm>
        </p:grpSpPr>
        <p:pic>
          <p:nvPicPr>
            <p:cNvPr id="17" name="Picture 16">
              <a:extLst>
                <a:ext uri="{FF2B5EF4-FFF2-40B4-BE49-F238E27FC236}">
                  <a16:creationId xmlns:a16="http://schemas.microsoft.com/office/drawing/2014/main" id="{04F6B3A2-032C-E6CA-F384-CDC1230A69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5196" y="1478279"/>
              <a:ext cx="2886959" cy="2358345"/>
            </a:xfrm>
            <a:prstGeom prst="rect">
              <a:avLst/>
            </a:prstGeom>
          </p:spPr>
        </p:pic>
        <p:sp>
          <p:nvSpPr>
            <p:cNvPr id="18" name="Rectangle 17">
              <a:extLst>
                <a:ext uri="{FF2B5EF4-FFF2-40B4-BE49-F238E27FC236}">
                  <a16:creationId xmlns:a16="http://schemas.microsoft.com/office/drawing/2014/main" id="{4E15FB75-3B09-896E-2E64-869D17EA4EF3}"/>
                </a:ext>
              </a:extLst>
            </p:cNvPr>
            <p:cNvSpPr/>
            <p:nvPr/>
          </p:nvSpPr>
          <p:spPr>
            <a:xfrm>
              <a:off x="909960" y="1478279"/>
              <a:ext cx="2886958" cy="447802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p:txBody>
        </p:sp>
        <p:pic>
          <p:nvPicPr>
            <p:cNvPr id="19" name="Picture 18">
              <a:extLst>
                <a:ext uri="{FF2B5EF4-FFF2-40B4-BE49-F238E27FC236}">
                  <a16:creationId xmlns:a16="http://schemas.microsoft.com/office/drawing/2014/main" id="{F48A8900-F8A7-27F4-8236-2A342E3ABCCA}"/>
                </a:ext>
              </a:extLst>
            </p:cNvPr>
            <p:cNvPicPr>
              <a:picLocks noChangeAspect="1"/>
            </p:cNvPicPr>
            <p:nvPr/>
          </p:nvPicPr>
          <p:blipFill>
            <a:blip r:embed="rId5">
              <a:clrChange>
                <a:clrFrom>
                  <a:srgbClr val="FCFEFF"/>
                </a:clrFrom>
                <a:clrTo>
                  <a:srgbClr val="FCFEFF">
                    <a:alpha val="0"/>
                  </a:srgbClr>
                </a:clrTo>
              </a:clrChange>
              <a:grayscl/>
            </a:blip>
            <a:stretch>
              <a:fillRect/>
            </a:stretch>
          </p:blipFill>
          <p:spPr>
            <a:xfrm>
              <a:off x="2893177" y="2498654"/>
              <a:ext cx="852941" cy="317593"/>
            </a:xfrm>
            <a:prstGeom prst="rect">
              <a:avLst/>
            </a:prstGeom>
          </p:spPr>
        </p:pic>
        <p:pic>
          <p:nvPicPr>
            <p:cNvPr id="20" name="Picture 19">
              <a:extLst>
                <a:ext uri="{FF2B5EF4-FFF2-40B4-BE49-F238E27FC236}">
                  <a16:creationId xmlns:a16="http://schemas.microsoft.com/office/drawing/2014/main" id="{607F24D5-6F88-E192-96AB-A610008F3659}"/>
                </a:ext>
              </a:extLst>
            </p:cNvPr>
            <p:cNvPicPr>
              <a:picLocks noChangeAspect="1"/>
            </p:cNvPicPr>
            <p:nvPr/>
          </p:nvPicPr>
          <p:blipFill>
            <a:blip r:embed="rId6"/>
            <a:stretch>
              <a:fillRect/>
            </a:stretch>
          </p:blipFill>
          <p:spPr>
            <a:xfrm>
              <a:off x="1215590" y="3904360"/>
              <a:ext cx="2275697" cy="1251633"/>
            </a:xfrm>
            <a:prstGeom prst="rect">
              <a:avLst/>
            </a:prstGeom>
          </p:spPr>
        </p:pic>
        <p:pic>
          <p:nvPicPr>
            <p:cNvPr id="21" name="Picture 20">
              <a:extLst>
                <a:ext uri="{FF2B5EF4-FFF2-40B4-BE49-F238E27FC236}">
                  <a16:creationId xmlns:a16="http://schemas.microsoft.com/office/drawing/2014/main" id="{1878C9F3-6D4A-263F-7CC4-797969EF06D6}"/>
                </a:ext>
              </a:extLst>
            </p:cNvPr>
            <p:cNvPicPr>
              <a:picLocks noChangeAspect="1"/>
            </p:cNvPicPr>
            <p:nvPr/>
          </p:nvPicPr>
          <p:blipFill>
            <a:blip r:embed="rId7"/>
            <a:stretch>
              <a:fillRect/>
            </a:stretch>
          </p:blipFill>
          <p:spPr>
            <a:xfrm>
              <a:off x="960955" y="5360118"/>
              <a:ext cx="2764843" cy="310522"/>
            </a:xfrm>
            <a:prstGeom prst="rect">
              <a:avLst/>
            </a:prstGeom>
          </p:spPr>
        </p:pic>
      </p:grpSp>
    </p:spTree>
    <p:extLst>
      <p:ext uri="{BB962C8B-B14F-4D97-AF65-F5344CB8AC3E}">
        <p14:creationId xmlns:p14="http://schemas.microsoft.com/office/powerpoint/2010/main" val="1069355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1EF53E3-F88C-4203-A489-8C9D57513DF6}"/>
              </a:ext>
            </a:extLst>
          </p:cNvPr>
          <p:cNvSpPr>
            <a:spLocks noGrp="1"/>
          </p:cNvSpPr>
          <p:nvPr>
            <p:ph type="title"/>
          </p:nvPr>
        </p:nvSpPr>
        <p:spPr>
          <a:xfrm>
            <a:off x="409388" y="520457"/>
            <a:ext cx="8402918" cy="830997"/>
          </a:xfrm>
        </p:spPr>
        <p:txBody>
          <a:bodyPr>
            <a:normAutofit/>
          </a:bodyPr>
          <a:lstStyle/>
          <a:p>
            <a:pPr algn="ctr"/>
            <a:r>
              <a:rPr lang="en-US" sz="4000" dirty="0">
                <a:solidFill>
                  <a:schemeClr val="tx2"/>
                </a:solidFill>
                <a:latin typeface="Poppins" pitchFamily="2" charset="77"/>
                <a:cs typeface="Poppins" pitchFamily="2" charset="77"/>
              </a:rPr>
              <a:t>NEW LEGISLATIVE FRAMEWORK</a:t>
            </a:r>
          </a:p>
        </p:txBody>
      </p:sp>
      <p:pic>
        <p:nvPicPr>
          <p:cNvPr id="4" name="Picture Placeholder 3">
            <a:extLst>
              <a:ext uri="{FF2B5EF4-FFF2-40B4-BE49-F238E27FC236}">
                <a16:creationId xmlns:a16="http://schemas.microsoft.com/office/drawing/2014/main" id="{5EAB7860-C105-46A8-8B51-C886DCFAB528}"/>
              </a:ext>
            </a:extLst>
          </p:cNvPr>
          <p:cNvPicPr>
            <a:picLocks noGrp="1" noChangeAspect="1"/>
          </p:cNvPicPr>
          <p:nvPr>
            <p:ph type="pic" sz="quarter" idx="13"/>
          </p:nvPr>
        </p:nvPicPr>
        <p:blipFill>
          <a:blip r:embed="rId3"/>
          <a:srcRect l="29377" r="29377"/>
          <a:stretch/>
        </p:blipFill>
        <p:spPr>
          <a:xfrm>
            <a:off x="7090228" y="786181"/>
            <a:ext cx="4441372" cy="5393036"/>
          </a:xfrm>
        </p:spPr>
      </p:pic>
      <p:sp>
        <p:nvSpPr>
          <p:cNvPr id="7" name="Text Placeholder 3">
            <a:extLst>
              <a:ext uri="{FF2B5EF4-FFF2-40B4-BE49-F238E27FC236}">
                <a16:creationId xmlns:a16="http://schemas.microsoft.com/office/drawing/2014/main" id="{C05F1539-6B70-48CC-9FE8-7E661EB9DD2F}"/>
              </a:ext>
            </a:extLst>
          </p:cNvPr>
          <p:cNvSpPr txBox="1">
            <a:spLocks/>
          </p:cNvSpPr>
          <p:nvPr/>
        </p:nvSpPr>
        <p:spPr>
          <a:xfrm>
            <a:off x="0" y="1531435"/>
            <a:ext cx="6620505" cy="4973137"/>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chemeClr val="bg2">
                  <a:lumMod val="50000"/>
                </a:schemeClr>
              </a:buClr>
              <a:buFont typeface="Wingdings" panose="05000000000000000000" pitchFamily="2" charset="2"/>
              <a:buChar char="Ø"/>
            </a:pPr>
            <a:r>
              <a:rPr lang="en-US" sz="2000" b="1" dirty="0">
                <a:solidFill>
                  <a:schemeClr val="tx1"/>
                </a:solidFill>
              </a:rPr>
              <a:t>Core objectives of the TDA:</a:t>
            </a:r>
          </a:p>
          <a:p>
            <a:pPr algn="just">
              <a:buClr>
                <a:schemeClr val="bg2">
                  <a:lumMod val="50000"/>
                </a:schemeClr>
              </a:buClr>
            </a:pPr>
            <a:r>
              <a:rPr lang="en-US" sz="2000" dirty="0"/>
              <a:t>to facilitate inclusive, resilient and sustainable tourism development; </a:t>
            </a:r>
          </a:p>
          <a:p>
            <a:r>
              <a:rPr lang="en-US" sz="2000" dirty="0"/>
              <a:t>to provide for administration of the tourism certification </a:t>
            </a:r>
            <a:r>
              <a:rPr lang="en-US" sz="2000" dirty="0" err="1"/>
              <a:t>programme</a:t>
            </a:r>
            <a:r>
              <a:rPr lang="en-US" sz="2000" dirty="0"/>
              <a:t>;</a:t>
            </a:r>
          </a:p>
          <a:p>
            <a:r>
              <a:rPr lang="en-US" sz="2000" dirty="0"/>
              <a:t>to facilitate incentives for tourism investment, including, specialized support areas, additional incentives and incentives for resilience</a:t>
            </a:r>
          </a:p>
          <a:p>
            <a:r>
              <a:rPr lang="en-US" sz="2000" dirty="0"/>
              <a:t>the imposition, collection, remittance, assessment and payment of a tourism levy; </a:t>
            </a:r>
          </a:p>
          <a:p>
            <a:r>
              <a:rPr lang="en-US" sz="2000" dirty="0"/>
              <a:t>the establishment of the Tourism Development Fund and Tourism Information Database; and</a:t>
            </a:r>
          </a:p>
          <a:p>
            <a:r>
              <a:rPr lang="en-US" sz="2000" dirty="0"/>
              <a:t>To broaden the scope of eligible projects for tourism incentives.</a:t>
            </a:r>
          </a:p>
          <a:p>
            <a:pPr marL="0" indent="0" algn="just">
              <a:buClr>
                <a:schemeClr val="bg2">
                  <a:lumMod val="50000"/>
                </a:schemeClr>
              </a:buClr>
              <a:buNone/>
            </a:pPr>
            <a:endParaRPr lang="en-US" sz="2000" b="1" dirty="0">
              <a:solidFill>
                <a:schemeClr val="tx1"/>
              </a:solidFill>
            </a:endParaRPr>
          </a:p>
          <a:p>
            <a:pPr marL="38100" indent="0">
              <a:buNone/>
            </a:pPr>
            <a:endParaRPr lang="en-US" sz="2000" b="1" u="sng" dirty="0"/>
          </a:p>
        </p:txBody>
      </p:sp>
    </p:spTree>
    <p:extLst>
      <p:ext uri="{BB962C8B-B14F-4D97-AF65-F5344CB8AC3E}">
        <p14:creationId xmlns:p14="http://schemas.microsoft.com/office/powerpoint/2010/main" val="2353760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CD816-60F1-4EE2-B72F-F160A3887471}"/>
              </a:ext>
            </a:extLst>
          </p:cNvPr>
          <p:cNvSpPr>
            <a:spLocks noGrp="1"/>
          </p:cNvSpPr>
          <p:nvPr>
            <p:ph type="title"/>
          </p:nvPr>
        </p:nvSpPr>
        <p:spPr/>
        <p:txBody>
          <a:bodyPr/>
          <a:lstStyle/>
          <a:p>
            <a:r>
              <a:rPr lang="en-US" b="1" dirty="0">
                <a:latin typeface="Open sans"/>
              </a:rPr>
              <a:t>CERTIFICATION UNIT UPDATE</a:t>
            </a:r>
          </a:p>
        </p:txBody>
      </p:sp>
      <p:sp>
        <p:nvSpPr>
          <p:cNvPr id="3" name="Text Placeholder 2">
            <a:extLst>
              <a:ext uri="{FF2B5EF4-FFF2-40B4-BE49-F238E27FC236}">
                <a16:creationId xmlns:a16="http://schemas.microsoft.com/office/drawing/2014/main" id="{C052B108-5628-42F1-8D65-A4D405F85C60}"/>
              </a:ext>
            </a:extLst>
          </p:cNvPr>
          <p:cNvSpPr>
            <a:spLocks noGrp="1"/>
          </p:cNvSpPr>
          <p:nvPr>
            <p:ph type="body" sz="quarter" idx="28"/>
          </p:nvPr>
        </p:nvSpPr>
        <p:spPr/>
        <p:txBody>
          <a:bodyPr/>
          <a:lstStyle/>
          <a:p>
            <a:r>
              <a:rPr lang="en-US" b="1" dirty="0">
                <a:solidFill>
                  <a:srgbClr val="00B0F0"/>
                </a:solidFill>
              </a:rPr>
              <a:t>PS </a:t>
            </a:r>
            <a:r>
              <a:rPr lang="en-US" b="1" dirty="0" err="1">
                <a:solidFill>
                  <a:srgbClr val="00B0F0"/>
                </a:solidFill>
              </a:rPr>
              <a:t>Donalyn</a:t>
            </a:r>
            <a:r>
              <a:rPr lang="en-US" b="1" dirty="0">
                <a:solidFill>
                  <a:srgbClr val="00B0F0"/>
                </a:solidFill>
              </a:rPr>
              <a:t> </a:t>
            </a:r>
            <a:r>
              <a:rPr lang="en-US" b="1" dirty="0" err="1">
                <a:solidFill>
                  <a:srgbClr val="00B0F0"/>
                </a:solidFill>
              </a:rPr>
              <a:t>Vittet</a:t>
            </a:r>
            <a:endParaRPr lang="en-US" b="1" dirty="0">
              <a:solidFill>
                <a:srgbClr val="00B0F0"/>
              </a:solidFill>
            </a:endParaRPr>
          </a:p>
        </p:txBody>
      </p:sp>
      <p:pic>
        <p:nvPicPr>
          <p:cNvPr id="8" name="Picture Placeholder 7">
            <a:extLst>
              <a:ext uri="{FF2B5EF4-FFF2-40B4-BE49-F238E27FC236}">
                <a16:creationId xmlns:a16="http://schemas.microsoft.com/office/drawing/2014/main" id="{2B099FEF-3EF8-466C-84E9-2BA89C2E07C7}"/>
              </a:ext>
            </a:extLst>
          </p:cNvPr>
          <p:cNvPicPr>
            <a:picLocks noGrp="1" noChangeAspect="1"/>
          </p:cNvPicPr>
          <p:nvPr>
            <p:ph type="pic" sz="quarter" idx="47"/>
          </p:nvPr>
        </p:nvPicPr>
        <p:blipFill>
          <a:blip r:embed="rId2">
            <a:extLst>
              <a:ext uri="{28A0092B-C50C-407E-A947-70E740481C1C}">
                <a14:useLocalDpi xmlns:a14="http://schemas.microsoft.com/office/drawing/2010/main" val="0"/>
              </a:ext>
            </a:extLst>
          </a:blip>
          <a:stretch>
            <a:fillRect/>
          </a:stretch>
        </p:blipFill>
        <p:spPr>
          <a:xfrm>
            <a:off x="6742557" y="1152257"/>
            <a:ext cx="4405503" cy="4405503"/>
          </a:xfrm>
        </p:spPr>
      </p:pic>
    </p:spTree>
    <p:extLst>
      <p:ext uri="{BB962C8B-B14F-4D97-AF65-F5344CB8AC3E}">
        <p14:creationId xmlns:p14="http://schemas.microsoft.com/office/powerpoint/2010/main" val="4092019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E5BE0EA-2D31-A3E5-467E-B32E86D282EB}"/>
              </a:ext>
            </a:extLst>
          </p:cNvPr>
          <p:cNvGrpSpPr/>
          <p:nvPr/>
        </p:nvGrpSpPr>
        <p:grpSpPr>
          <a:xfrm>
            <a:off x="86127" y="1604466"/>
            <a:ext cx="3505201" cy="3526633"/>
            <a:chOff x="7965439" y="3857651"/>
            <a:chExt cx="3505201" cy="3526633"/>
          </a:xfrm>
        </p:grpSpPr>
        <p:sp>
          <p:nvSpPr>
            <p:cNvPr id="4" name="Rectangle 3">
              <a:extLst>
                <a:ext uri="{FF2B5EF4-FFF2-40B4-BE49-F238E27FC236}">
                  <a16:creationId xmlns:a16="http://schemas.microsoft.com/office/drawing/2014/main" id="{9EA14336-D51B-2483-7F93-FB789383470A}"/>
                </a:ext>
              </a:extLst>
            </p:cNvPr>
            <p:cNvSpPr/>
            <p:nvPr/>
          </p:nvSpPr>
          <p:spPr>
            <a:xfrm>
              <a:off x="7965440" y="3857651"/>
              <a:ext cx="3505200" cy="23469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GB" sz="1800" b="1" dirty="0">
                  <a:solidFill>
                    <a:schemeClr val="tx1"/>
                  </a:solidFill>
                  <a:effectLst/>
                  <a:ea typeface="Calibri" panose="020F0502020204030204" pitchFamily="34" charset="0"/>
                </a:rPr>
                <a:t>TOURISM CERTIFICATION: THE STARTING POINT</a:t>
              </a:r>
            </a:p>
            <a:p>
              <a:pPr>
                <a:spcAft>
                  <a:spcPts val="1200"/>
                </a:spcAft>
              </a:pPr>
              <a:r>
                <a:rPr lang="en-GB" sz="1800" dirty="0">
                  <a:solidFill>
                    <a:schemeClr val="tx1"/>
                  </a:solidFill>
                  <a:effectLst/>
                  <a:ea typeface="Calibri" panose="020F0502020204030204" pitchFamily="34" charset="0"/>
                </a:rPr>
                <a:t>Tourism as </a:t>
              </a:r>
              <a:r>
                <a:rPr lang="en-GB" sz="1800" b="1" dirty="0">
                  <a:solidFill>
                    <a:schemeClr val="tx1"/>
                  </a:solidFill>
                  <a:effectLst/>
                  <a:ea typeface="Calibri" panose="020F0502020204030204" pitchFamily="34" charset="0"/>
                </a:rPr>
                <a:t>an export </a:t>
              </a:r>
              <a:r>
                <a:rPr lang="en-GB" sz="1800" dirty="0">
                  <a:solidFill>
                    <a:schemeClr val="tx1"/>
                  </a:solidFill>
                  <a:effectLst/>
                  <a:ea typeface="Calibri" panose="020F0502020204030204" pitchFamily="34" charset="0"/>
                </a:rPr>
                <a:t>must be subject to and meet set national &amp; international </a:t>
              </a:r>
              <a:r>
                <a:rPr lang="en-GB" sz="1800" b="1" dirty="0">
                  <a:solidFill>
                    <a:schemeClr val="tx1"/>
                  </a:solidFill>
                  <a:effectLst/>
                  <a:ea typeface="Calibri" panose="020F0502020204030204" pitchFamily="34" charset="0"/>
                </a:rPr>
                <a:t>service and product quality standards</a:t>
              </a:r>
              <a:r>
                <a:rPr lang="en-GB" sz="1800" dirty="0">
                  <a:solidFill>
                    <a:schemeClr val="tx1"/>
                  </a:solidFill>
                  <a:effectLst/>
                  <a:ea typeface="Calibri" panose="020F0502020204030204" pitchFamily="34" charset="0"/>
                </a:rPr>
                <a:t>. </a:t>
              </a:r>
              <a:endParaRPr lang="en-GB" dirty="0">
                <a:solidFill>
                  <a:schemeClr val="tx1"/>
                </a:solidFill>
              </a:endParaRPr>
            </a:p>
          </p:txBody>
        </p:sp>
        <p:grpSp>
          <p:nvGrpSpPr>
            <p:cNvPr id="5" name="Group 4">
              <a:extLst>
                <a:ext uri="{FF2B5EF4-FFF2-40B4-BE49-F238E27FC236}">
                  <a16:creationId xmlns:a16="http://schemas.microsoft.com/office/drawing/2014/main" id="{52692759-DAD1-68C1-99CD-55875C4860E6}"/>
                </a:ext>
              </a:extLst>
            </p:cNvPr>
            <p:cNvGrpSpPr/>
            <p:nvPr/>
          </p:nvGrpSpPr>
          <p:grpSpPr>
            <a:xfrm>
              <a:off x="7965439" y="6116823"/>
              <a:ext cx="2632548" cy="1267461"/>
              <a:chOff x="7469307" y="3533198"/>
              <a:chExt cx="3813906" cy="1964637"/>
            </a:xfrm>
          </p:grpSpPr>
          <p:pic>
            <p:nvPicPr>
              <p:cNvPr id="6" name="Picture 5">
                <a:extLst>
                  <a:ext uri="{FF2B5EF4-FFF2-40B4-BE49-F238E27FC236}">
                    <a16:creationId xmlns:a16="http://schemas.microsoft.com/office/drawing/2014/main" id="{81DF4152-BD1A-FC3B-98EE-E21C4096F963}"/>
                  </a:ext>
                </a:extLst>
              </p:cNvPr>
              <p:cNvPicPr>
                <a:picLocks noChangeAspect="1"/>
              </p:cNvPicPr>
              <p:nvPr/>
            </p:nvPicPr>
            <p:blipFill>
              <a:blip r:embed="rId3"/>
              <a:stretch>
                <a:fillRect/>
              </a:stretch>
            </p:blipFill>
            <p:spPr>
              <a:xfrm>
                <a:off x="7469307" y="3588616"/>
                <a:ext cx="2662929" cy="1773143"/>
              </a:xfrm>
              <a:prstGeom prst="ellipse">
                <a:avLst/>
              </a:prstGeom>
              <a:ln>
                <a:noFill/>
              </a:ln>
              <a:effectLst>
                <a:softEdge rad="112500"/>
              </a:effectLst>
            </p:spPr>
          </p:pic>
          <p:pic>
            <p:nvPicPr>
              <p:cNvPr id="7" name="Picture 6">
                <a:extLst>
                  <a:ext uri="{FF2B5EF4-FFF2-40B4-BE49-F238E27FC236}">
                    <a16:creationId xmlns:a16="http://schemas.microsoft.com/office/drawing/2014/main" id="{959562DD-E2A0-6A1E-2BB2-2F4E0B96B160}"/>
                  </a:ext>
                </a:extLst>
              </p:cNvPr>
              <p:cNvPicPr>
                <a:picLocks noChangeAspect="1"/>
              </p:cNvPicPr>
              <p:nvPr/>
            </p:nvPicPr>
            <p:blipFill>
              <a:blip r:embed="rId4"/>
              <a:stretch>
                <a:fillRect/>
              </a:stretch>
            </p:blipFill>
            <p:spPr>
              <a:xfrm>
                <a:off x="9307304" y="3533198"/>
                <a:ext cx="1975909" cy="1964637"/>
              </a:xfrm>
              <a:prstGeom prst="ellipse">
                <a:avLst/>
              </a:prstGeom>
              <a:ln>
                <a:noFill/>
              </a:ln>
              <a:effectLst>
                <a:softEdge rad="112500"/>
              </a:effectLst>
            </p:spPr>
          </p:pic>
        </p:grpSp>
      </p:grpSp>
      <p:pic>
        <p:nvPicPr>
          <p:cNvPr id="8" name="Picture 7">
            <a:extLst>
              <a:ext uri="{FF2B5EF4-FFF2-40B4-BE49-F238E27FC236}">
                <a16:creationId xmlns:a16="http://schemas.microsoft.com/office/drawing/2014/main" id="{DA22BFF1-D757-7F59-5A30-6264FD601D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00849" y="1604466"/>
            <a:ext cx="6125845" cy="916305"/>
          </a:xfrm>
          <a:prstGeom prst="rect">
            <a:avLst/>
          </a:prstGeom>
          <a:ln>
            <a:solidFill>
              <a:schemeClr val="tx1"/>
            </a:solidFill>
          </a:ln>
        </p:spPr>
      </p:pic>
      <p:grpSp>
        <p:nvGrpSpPr>
          <p:cNvPr id="9" name="Group 8">
            <a:extLst>
              <a:ext uri="{FF2B5EF4-FFF2-40B4-BE49-F238E27FC236}">
                <a16:creationId xmlns:a16="http://schemas.microsoft.com/office/drawing/2014/main" id="{A5FB927D-D67A-BE64-9DAC-59094C9E005D}"/>
              </a:ext>
            </a:extLst>
          </p:cNvPr>
          <p:cNvGrpSpPr/>
          <p:nvPr/>
        </p:nvGrpSpPr>
        <p:grpSpPr>
          <a:xfrm>
            <a:off x="3900849" y="2831878"/>
            <a:ext cx="8144953" cy="3278946"/>
            <a:chOff x="3338945" y="437636"/>
            <a:chExt cx="8144953" cy="3278946"/>
          </a:xfrm>
        </p:grpSpPr>
        <p:sp>
          <p:nvSpPr>
            <p:cNvPr id="10" name="TextBox 9">
              <a:extLst>
                <a:ext uri="{FF2B5EF4-FFF2-40B4-BE49-F238E27FC236}">
                  <a16:creationId xmlns:a16="http://schemas.microsoft.com/office/drawing/2014/main" id="{C11D1CBA-27EF-4DA5-A3E2-B4BA8B7ED73F}"/>
                </a:ext>
              </a:extLst>
            </p:cNvPr>
            <p:cNvSpPr txBox="1"/>
            <p:nvPr/>
          </p:nvSpPr>
          <p:spPr>
            <a:xfrm>
              <a:off x="4339422" y="996488"/>
              <a:ext cx="7007451" cy="1200329"/>
            </a:xfrm>
            <a:prstGeom prst="rect">
              <a:avLst/>
            </a:prstGeom>
            <a:noFill/>
            <a:ln>
              <a:solidFill>
                <a:schemeClr val="accent6">
                  <a:lumMod val="60000"/>
                  <a:lumOff val="40000"/>
                </a:schemeClr>
              </a:solidFill>
            </a:ln>
          </p:spPr>
          <p:txBody>
            <a:bodyPr wrap="square" rtlCol="0">
              <a:spAutoFit/>
            </a:bodyPr>
            <a:lstStyle/>
            <a:p>
              <a:pPr algn="just"/>
              <a:r>
                <a:rPr lang="en-GB" sz="1800" dirty="0">
                  <a:effectLst/>
                  <a:ea typeface="Calibri" panose="020F0502020204030204" pitchFamily="34" charset="0"/>
                </a:rPr>
                <a:t>No person, business or entity operating in any sub-sector of Saint Lucia's tourism industry will offer any service or product for reward or otherwise unless they are an Approved Tourism Operator based on a valid Tourism Certificate issued </a:t>
              </a:r>
              <a:r>
                <a:rPr lang="en-GB" sz="1800" b="1" dirty="0">
                  <a:effectLst/>
                  <a:ea typeface="Calibri" panose="020F0502020204030204" pitchFamily="34" charset="0"/>
                </a:rPr>
                <a:t>E</a:t>
              </a:r>
              <a:r>
                <a:rPr lang="en-GB" b="1" dirty="0">
                  <a:ea typeface="Calibri" panose="020F0502020204030204" pitchFamily="34" charset="0"/>
                </a:rPr>
                <a:t>very 2 Years</a:t>
              </a:r>
              <a:r>
                <a:rPr lang="en-GB" sz="1800" dirty="0">
                  <a:effectLst/>
                  <a:ea typeface="Calibri" panose="020F0502020204030204" pitchFamily="34" charset="0"/>
                </a:rPr>
                <a:t> by the Government of Saint Lucia</a:t>
              </a:r>
              <a:endParaRPr lang="en-US" sz="2200" b="1" dirty="0">
                <a:cs typeface="Times New Roman" panose="02020603050405020304" pitchFamily="18" charset="0"/>
              </a:endParaRPr>
            </a:p>
          </p:txBody>
        </p:sp>
        <p:sp>
          <p:nvSpPr>
            <p:cNvPr id="11" name="Rectangle 10">
              <a:extLst>
                <a:ext uri="{FF2B5EF4-FFF2-40B4-BE49-F238E27FC236}">
                  <a16:creationId xmlns:a16="http://schemas.microsoft.com/office/drawing/2014/main" id="{17063298-68F4-7056-86C1-B54D136C4D1E}"/>
                </a:ext>
              </a:extLst>
            </p:cNvPr>
            <p:cNvSpPr/>
            <p:nvPr/>
          </p:nvSpPr>
          <p:spPr>
            <a:xfrm>
              <a:off x="3338945" y="437636"/>
              <a:ext cx="8144953" cy="3278946"/>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BC37F135-51C8-EE7F-BE20-95F53E3D1773}"/>
                </a:ext>
              </a:extLst>
            </p:cNvPr>
            <p:cNvSpPr txBox="1"/>
            <p:nvPr/>
          </p:nvSpPr>
          <p:spPr>
            <a:xfrm>
              <a:off x="3408220" y="501618"/>
              <a:ext cx="3020291" cy="430887"/>
            </a:xfrm>
            <a:prstGeom prst="rect">
              <a:avLst/>
            </a:prstGeom>
            <a:solidFill>
              <a:schemeClr val="accent2">
                <a:lumMod val="20000"/>
                <a:lumOff val="80000"/>
              </a:schemeClr>
            </a:solidFill>
            <a:ln>
              <a:solidFill>
                <a:schemeClr val="accent2">
                  <a:lumMod val="75000"/>
                </a:schemeClr>
              </a:solidFill>
            </a:ln>
          </p:spPr>
          <p:txBody>
            <a:bodyPr wrap="square" rtlCol="0">
              <a:spAutoFit/>
            </a:bodyPr>
            <a:lstStyle/>
            <a:p>
              <a:pPr algn="ctr"/>
              <a:r>
                <a:rPr lang="en-US" sz="2200" b="1" dirty="0">
                  <a:latin typeface="+mj-lt"/>
                  <a:cs typeface="Times New Roman" panose="02020603050405020304" pitchFamily="18" charset="0"/>
                </a:rPr>
                <a:t>Tourism Certifications</a:t>
              </a:r>
            </a:p>
          </p:txBody>
        </p:sp>
        <p:sp>
          <p:nvSpPr>
            <p:cNvPr id="13" name="TextBox 12">
              <a:extLst>
                <a:ext uri="{FF2B5EF4-FFF2-40B4-BE49-F238E27FC236}">
                  <a16:creationId xmlns:a16="http://schemas.microsoft.com/office/drawing/2014/main" id="{F31A912F-2516-2DCE-7576-37A13E6830C6}"/>
                </a:ext>
              </a:extLst>
            </p:cNvPr>
            <p:cNvSpPr txBox="1"/>
            <p:nvPr/>
          </p:nvSpPr>
          <p:spPr>
            <a:xfrm>
              <a:off x="4401006" y="2728470"/>
              <a:ext cx="6884281" cy="923330"/>
            </a:xfrm>
            <a:prstGeom prst="rect">
              <a:avLst/>
            </a:prstGeom>
            <a:noFill/>
            <a:ln>
              <a:solidFill>
                <a:schemeClr val="accent6">
                  <a:lumMod val="60000"/>
                  <a:lumOff val="40000"/>
                </a:schemeClr>
              </a:solidFill>
            </a:ln>
          </p:spPr>
          <p:txBody>
            <a:bodyPr wrap="square" rtlCol="0">
              <a:spAutoFit/>
            </a:bodyPr>
            <a:lstStyle/>
            <a:p>
              <a:pPr algn="just"/>
              <a:r>
                <a:rPr lang="en-GB" sz="1800" dirty="0">
                  <a:effectLst/>
                  <a:ea typeface="Calibri" panose="020F0502020204030204" pitchFamily="34" charset="0"/>
                </a:rPr>
                <a:t>No person, business or entity will be entitled to access the co-financing facilities (incentives) and other provisions under this Act unless they </a:t>
              </a:r>
              <a:r>
                <a:rPr lang="en-GB" dirty="0">
                  <a:ea typeface="Calibri" panose="020F0502020204030204" pitchFamily="34" charset="0"/>
                </a:rPr>
                <a:t>hold a valid Tourism Certificate as an Approved Tourism Operator</a:t>
              </a:r>
              <a:endParaRPr lang="en-US" sz="2200" b="1" dirty="0">
                <a:cs typeface="Times New Roman" panose="02020603050405020304" pitchFamily="18" charset="0"/>
              </a:endParaRPr>
            </a:p>
          </p:txBody>
        </p:sp>
        <p:sp>
          <p:nvSpPr>
            <p:cNvPr id="14" name="TextBox 13">
              <a:extLst>
                <a:ext uri="{FF2B5EF4-FFF2-40B4-BE49-F238E27FC236}">
                  <a16:creationId xmlns:a16="http://schemas.microsoft.com/office/drawing/2014/main" id="{250E3E2D-C760-A2B6-C61B-56D04A05FE3B}"/>
                </a:ext>
              </a:extLst>
            </p:cNvPr>
            <p:cNvSpPr txBox="1"/>
            <p:nvPr/>
          </p:nvSpPr>
          <p:spPr>
            <a:xfrm>
              <a:off x="3408220" y="2260800"/>
              <a:ext cx="3020291" cy="430887"/>
            </a:xfrm>
            <a:prstGeom prst="rect">
              <a:avLst/>
            </a:prstGeom>
            <a:solidFill>
              <a:schemeClr val="accent2">
                <a:lumMod val="20000"/>
                <a:lumOff val="80000"/>
              </a:schemeClr>
            </a:solidFill>
            <a:ln>
              <a:solidFill>
                <a:schemeClr val="accent2">
                  <a:lumMod val="75000"/>
                </a:schemeClr>
              </a:solidFill>
            </a:ln>
          </p:spPr>
          <p:txBody>
            <a:bodyPr wrap="square" rtlCol="0">
              <a:spAutoFit/>
            </a:bodyPr>
            <a:lstStyle/>
            <a:p>
              <a:pPr algn="ctr"/>
              <a:r>
                <a:rPr lang="en-US" sz="2200" b="1" dirty="0">
                  <a:latin typeface="+mj-lt"/>
                  <a:cs typeface="Times New Roman" panose="02020603050405020304" pitchFamily="18" charset="0"/>
                </a:rPr>
                <a:t>Accessing Incentives</a:t>
              </a:r>
            </a:p>
          </p:txBody>
        </p:sp>
      </p:grpSp>
      <p:sp>
        <p:nvSpPr>
          <p:cNvPr id="15" name="TextBox 14">
            <a:extLst>
              <a:ext uri="{FF2B5EF4-FFF2-40B4-BE49-F238E27FC236}">
                <a16:creationId xmlns:a16="http://schemas.microsoft.com/office/drawing/2014/main" id="{609033BE-19C1-9DE0-8FCE-2E2AAC687FAE}"/>
              </a:ext>
            </a:extLst>
          </p:cNvPr>
          <p:cNvSpPr txBox="1"/>
          <p:nvPr/>
        </p:nvSpPr>
        <p:spPr>
          <a:xfrm>
            <a:off x="1847528" y="42750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TOURISM CERTIFICATION</a:t>
            </a:r>
          </a:p>
        </p:txBody>
      </p:sp>
      <p:sp>
        <p:nvSpPr>
          <p:cNvPr id="2" name="TextBox 1"/>
          <p:cNvSpPr txBox="1"/>
          <p:nvPr/>
        </p:nvSpPr>
        <p:spPr>
          <a:xfrm>
            <a:off x="3813746" y="2526528"/>
            <a:ext cx="3061241" cy="369332"/>
          </a:xfrm>
          <a:prstGeom prst="rect">
            <a:avLst/>
          </a:prstGeom>
          <a:noFill/>
        </p:spPr>
        <p:txBody>
          <a:bodyPr wrap="square" rtlCol="0">
            <a:spAutoFit/>
          </a:bodyPr>
          <a:lstStyle/>
          <a:p>
            <a:r>
              <a:rPr lang="en-US" dirty="0"/>
              <a:t>Sections 39 and 40 of the TDA</a:t>
            </a:r>
          </a:p>
        </p:txBody>
      </p:sp>
    </p:spTree>
    <p:extLst>
      <p:ext uri="{BB962C8B-B14F-4D97-AF65-F5344CB8AC3E}">
        <p14:creationId xmlns:p14="http://schemas.microsoft.com/office/powerpoint/2010/main" val="3568015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6196BCC-CCCD-092B-1F82-3293E607E7DC}"/>
              </a:ext>
            </a:extLst>
          </p:cNvPr>
          <p:cNvGrpSpPr/>
          <p:nvPr/>
        </p:nvGrpSpPr>
        <p:grpSpPr>
          <a:xfrm>
            <a:off x="3634920" y="2069247"/>
            <a:ext cx="8384360" cy="4179369"/>
            <a:chOff x="1706880" y="990607"/>
            <a:chExt cx="7188345" cy="4876785"/>
          </a:xfrm>
        </p:grpSpPr>
        <p:sp>
          <p:nvSpPr>
            <p:cNvPr id="3" name="Rectangle 2">
              <a:extLst>
                <a:ext uri="{FF2B5EF4-FFF2-40B4-BE49-F238E27FC236}">
                  <a16:creationId xmlns:a16="http://schemas.microsoft.com/office/drawing/2014/main" id="{0A4DB19E-653C-4ED1-44E6-486C07DFC047}"/>
                </a:ext>
              </a:extLst>
            </p:cNvPr>
            <p:cNvSpPr/>
            <p:nvPr/>
          </p:nvSpPr>
          <p:spPr>
            <a:xfrm>
              <a:off x="2323796" y="2890895"/>
              <a:ext cx="6125845" cy="2844800"/>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11E13DD-5969-BC32-B4D8-1AADDA39BE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8129" y="1612395"/>
              <a:ext cx="6125845" cy="916305"/>
            </a:xfrm>
            <a:prstGeom prst="rect">
              <a:avLst/>
            </a:prstGeom>
            <a:ln>
              <a:solidFill>
                <a:schemeClr val="tx1"/>
              </a:solidFill>
            </a:ln>
          </p:spPr>
        </p:pic>
        <p:pic>
          <p:nvPicPr>
            <p:cNvPr id="5" name="Picture 4">
              <a:extLst>
                <a:ext uri="{FF2B5EF4-FFF2-40B4-BE49-F238E27FC236}">
                  <a16:creationId xmlns:a16="http://schemas.microsoft.com/office/drawing/2014/main" id="{55397D3B-9FC2-E0DD-D137-1BC34E61DB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8223" y="3470724"/>
              <a:ext cx="1480185" cy="1545590"/>
            </a:xfrm>
            <a:prstGeom prst="rect">
              <a:avLst/>
            </a:prstGeom>
            <a:ln>
              <a:solidFill>
                <a:sysClr val="windowText" lastClr="000000"/>
              </a:solidFill>
            </a:ln>
          </p:spPr>
        </p:pic>
        <p:pic>
          <p:nvPicPr>
            <p:cNvPr id="6" name="Picture 5">
              <a:extLst>
                <a:ext uri="{FF2B5EF4-FFF2-40B4-BE49-F238E27FC236}">
                  <a16:creationId xmlns:a16="http://schemas.microsoft.com/office/drawing/2014/main" id="{11B8F0A2-AF86-330B-6647-E8AD034B8C0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16700" y="3614102"/>
              <a:ext cx="1787525" cy="1175385"/>
            </a:xfrm>
            <a:prstGeom prst="rect">
              <a:avLst/>
            </a:prstGeom>
            <a:noFill/>
            <a:ln>
              <a:noFill/>
            </a:ln>
          </p:spPr>
        </p:pic>
        <p:pic>
          <p:nvPicPr>
            <p:cNvPr id="7" name="Picture 6">
              <a:extLst>
                <a:ext uri="{FF2B5EF4-FFF2-40B4-BE49-F238E27FC236}">
                  <a16:creationId xmlns:a16="http://schemas.microsoft.com/office/drawing/2014/main" id="{B622826E-E1BF-8E20-C334-FC3D7D8109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91643" y="3403598"/>
              <a:ext cx="1489075" cy="1545590"/>
            </a:xfrm>
            <a:prstGeom prst="rect">
              <a:avLst/>
            </a:prstGeom>
            <a:ln>
              <a:solidFill>
                <a:sysClr val="windowText" lastClr="000000"/>
              </a:solidFill>
            </a:ln>
          </p:spPr>
        </p:pic>
        <p:pic>
          <p:nvPicPr>
            <p:cNvPr id="8" name="Picture 7">
              <a:extLst>
                <a:ext uri="{FF2B5EF4-FFF2-40B4-BE49-F238E27FC236}">
                  <a16:creationId xmlns:a16="http://schemas.microsoft.com/office/drawing/2014/main" id="{47553606-0301-23CF-8247-3C6F83867A38}"/>
                </a:ext>
              </a:extLst>
            </p:cNvPr>
            <p:cNvPicPr>
              <a:picLocks noChangeAspect="1"/>
            </p:cNvPicPr>
            <p:nvPr/>
          </p:nvPicPr>
          <p:blipFill>
            <a:blip r:embed="rId7"/>
            <a:stretch>
              <a:fillRect/>
            </a:stretch>
          </p:blipFill>
          <p:spPr>
            <a:xfrm>
              <a:off x="2646763" y="4343308"/>
              <a:ext cx="1490791" cy="238996"/>
            </a:xfrm>
            <a:prstGeom prst="rect">
              <a:avLst/>
            </a:prstGeom>
          </p:spPr>
        </p:pic>
        <p:pic>
          <p:nvPicPr>
            <p:cNvPr id="9" name="Picture 8">
              <a:extLst>
                <a:ext uri="{FF2B5EF4-FFF2-40B4-BE49-F238E27FC236}">
                  <a16:creationId xmlns:a16="http://schemas.microsoft.com/office/drawing/2014/main" id="{79739CA5-BEFC-DB6D-042F-4EB0FBCE6276}"/>
                </a:ext>
              </a:extLst>
            </p:cNvPr>
            <p:cNvPicPr>
              <a:picLocks noChangeAspect="1"/>
            </p:cNvPicPr>
            <p:nvPr/>
          </p:nvPicPr>
          <p:blipFill>
            <a:blip r:embed="rId7"/>
            <a:stretch>
              <a:fillRect/>
            </a:stretch>
          </p:blipFill>
          <p:spPr>
            <a:xfrm>
              <a:off x="6473071" y="4243519"/>
              <a:ext cx="1480186" cy="219287"/>
            </a:xfrm>
            <a:prstGeom prst="rect">
              <a:avLst/>
            </a:prstGeom>
          </p:spPr>
        </p:pic>
        <p:sp>
          <p:nvSpPr>
            <p:cNvPr id="10" name="Rectangle 9">
              <a:extLst>
                <a:ext uri="{FF2B5EF4-FFF2-40B4-BE49-F238E27FC236}">
                  <a16:creationId xmlns:a16="http://schemas.microsoft.com/office/drawing/2014/main" id="{FDAD9371-6F70-4112-9A34-8DBCB5CACB11}"/>
                </a:ext>
              </a:extLst>
            </p:cNvPr>
            <p:cNvSpPr/>
            <p:nvPr/>
          </p:nvSpPr>
          <p:spPr>
            <a:xfrm>
              <a:off x="1706880" y="990607"/>
              <a:ext cx="7188345" cy="4876785"/>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65AE7FBD-AF6C-1CB2-368B-B9063D1DF983}"/>
              </a:ext>
            </a:extLst>
          </p:cNvPr>
          <p:cNvGrpSpPr/>
          <p:nvPr/>
        </p:nvGrpSpPr>
        <p:grpSpPr>
          <a:xfrm>
            <a:off x="297943" y="1753320"/>
            <a:ext cx="3019042" cy="4495296"/>
            <a:chOff x="909960" y="1478279"/>
            <a:chExt cx="2902195" cy="4478028"/>
          </a:xfrm>
        </p:grpSpPr>
        <p:pic>
          <p:nvPicPr>
            <p:cNvPr id="13" name="Picture 12">
              <a:extLst>
                <a:ext uri="{FF2B5EF4-FFF2-40B4-BE49-F238E27FC236}">
                  <a16:creationId xmlns:a16="http://schemas.microsoft.com/office/drawing/2014/main" id="{EC4A3CD7-5EC7-3935-9D4C-C8630058E81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5196" y="1478279"/>
              <a:ext cx="2886959" cy="2358345"/>
            </a:xfrm>
            <a:prstGeom prst="rect">
              <a:avLst/>
            </a:prstGeom>
          </p:spPr>
        </p:pic>
        <p:sp>
          <p:nvSpPr>
            <p:cNvPr id="14" name="Rectangle 13">
              <a:extLst>
                <a:ext uri="{FF2B5EF4-FFF2-40B4-BE49-F238E27FC236}">
                  <a16:creationId xmlns:a16="http://schemas.microsoft.com/office/drawing/2014/main" id="{3763E34F-26ED-BFC9-3FDD-F2E917FB87D5}"/>
                </a:ext>
              </a:extLst>
            </p:cNvPr>
            <p:cNvSpPr/>
            <p:nvPr/>
          </p:nvSpPr>
          <p:spPr>
            <a:xfrm>
              <a:off x="909960" y="1478279"/>
              <a:ext cx="2886958" cy="4478028"/>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p:txBody>
        </p:sp>
        <p:pic>
          <p:nvPicPr>
            <p:cNvPr id="15" name="Picture 14">
              <a:extLst>
                <a:ext uri="{FF2B5EF4-FFF2-40B4-BE49-F238E27FC236}">
                  <a16:creationId xmlns:a16="http://schemas.microsoft.com/office/drawing/2014/main" id="{5E0A7213-1A42-A6D5-C4DB-F22261F89B7F}"/>
                </a:ext>
              </a:extLst>
            </p:cNvPr>
            <p:cNvPicPr>
              <a:picLocks noChangeAspect="1"/>
            </p:cNvPicPr>
            <p:nvPr/>
          </p:nvPicPr>
          <p:blipFill>
            <a:blip r:embed="rId9">
              <a:clrChange>
                <a:clrFrom>
                  <a:srgbClr val="FCFEFF"/>
                </a:clrFrom>
                <a:clrTo>
                  <a:srgbClr val="FCFEFF">
                    <a:alpha val="0"/>
                  </a:srgbClr>
                </a:clrTo>
              </a:clrChange>
              <a:grayscl/>
            </a:blip>
            <a:stretch>
              <a:fillRect/>
            </a:stretch>
          </p:blipFill>
          <p:spPr>
            <a:xfrm>
              <a:off x="2893177" y="2498654"/>
              <a:ext cx="852941" cy="317593"/>
            </a:xfrm>
            <a:prstGeom prst="rect">
              <a:avLst/>
            </a:prstGeom>
          </p:spPr>
        </p:pic>
        <p:pic>
          <p:nvPicPr>
            <p:cNvPr id="16" name="Picture 15">
              <a:extLst>
                <a:ext uri="{FF2B5EF4-FFF2-40B4-BE49-F238E27FC236}">
                  <a16:creationId xmlns:a16="http://schemas.microsoft.com/office/drawing/2014/main" id="{6A06E2A7-89A8-3547-608E-4E02C975EE76}"/>
                </a:ext>
              </a:extLst>
            </p:cNvPr>
            <p:cNvPicPr>
              <a:picLocks noChangeAspect="1"/>
            </p:cNvPicPr>
            <p:nvPr/>
          </p:nvPicPr>
          <p:blipFill>
            <a:blip r:embed="rId10"/>
            <a:stretch>
              <a:fillRect/>
            </a:stretch>
          </p:blipFill>
          <p:spPr>
            <a:xfrm>
              <a:off x="1215590" y="3904360"/>
              <a:ext cx="2275697" cy="1251633"/>
            </a:xfrm>
            <a:prstGeom prst="rect">
              <a:avLst/>
            </a:prstGeom>
          </p:spPr>
        </p:pic>
        <p:pic>
          <p:nvPicPr>
            <p:cNvPr id="17" name="Picture 16">
              <a:extLst>
                <a:ext uri="{FF2B5EF4-FFF2-40B4-BE49-F238E27FC236}">
                  <a16:creationId xmlns:a16="http://schemas.microsoft.com/office/drawing/2014/main" id="{FA2B627A-8C51-A91B-4CC0-D2F11BF04816}"/>
                </a:ext>
              </a:extLst>
            </p:cNvPr>
            <p:cNvPicPr>
              <a:picLocks noChangeAspect="1"/>
            </p:cNvPicPr>
            <p:nvPr/>
          </p:nvPicPr>
          <p:blipFill>
            <a:blip r:embed="rId11"/>
            <a:stretch>
              <a:fillRect/>
            </a:stretch>
          </p:blipFill>
          <p:spPr>
            <a:xfrm>
              <a:off x="960955" y="5360118"/>
              <a:ext cx="2764843" cy="310522"/>
            </a:xfrm>
            <a:prstGeom prst="rect">
              <a:avLst/>
            </a:prstGeom>
          </p:spPr>
        </p:pic>
      </p:grpSp>
      <p:sp>
        <p:nvSpPr>
          <p:cNvPr id="19" name="TextBox 18">
            <a:extLst>
              <a:ext uri="{FF2B5EF4-FFF2-40B4-BE49-F238E27FC236}">
                <a16:creationId xmlns:a16="http://schemas.microsoft.com/office/drawing/2014/main" id="{2AA1FDEA-3BC2-F6F6-C8B6-037FFCD3993D}"/>
              </a:ext>
            </a:extLst>
          </p:cNvPr>
          <p:cNvSpPr txBox="1"/>
          <p:nvPr/>
        </p:nvSpPr>
        <p:spPr>
          <a:xfrm>
            <a:off x="2660823" y="1607582"/>
            <a:ext cx="5879551" cy="461665"/>
          </a:xfrm>
          <a:prstGeom prst="rect">
            <a:avLst/>
          </a:prstGeom>
          <a:noFill/>
        </p:spPr>
        <p:txBody>
          <a:bodyPr wrap="square" rtlCol="0" anchor="ctr">
            <a:spAutoFit/>
          </a:bodyPr>
          <a:lstStyle/>
          <a:p>
            <a:pPr algn="ctr"/>
            <a:r>
              <a:rPr lang="en-US" sz="2400" b="1" dirty="0">
                <a:latin typeface="Poppins" pitchFamily="2" charset="77"/>
                <a:cs typeface="Poppins" pitchFamily="2" charset="77"/>
              </a:rPr>
              <a:t>Types of Certification</a:t>
            </a:r>
          </a:p>
        </p:txBody>
      </p:sp>
      <p:sp>
        <p:nvSpPr>
          <p:cNvPr id="11" name="TextBox 10">
            <a:extLst>
              <a:ext uri="{FF2B5EF4-FFF2-40B4-BE49-F238E27FC236}">
                <a16:creationId xmlns:a16="http://schemas.microsoft.com/office/drawing/2014/main" id="{2A77942F-CBF9-B258-46CF-03C1F1057844}"/>
              </a:ext>
            </a:extLst>
          </p:cNvPr>
          <p:cNvSpPr txBox="1"/>
          <p:nvPr/>
        </p:nvSpPr>
        <p:spPr>
          <a:xfrm>
            <a:off x="1847528" y="42750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TOURISM CERTIFICATION</a:t>
            </a:r>
          </a:p>
        </p:txBody>
      </p:sp>
    </p:spTree>
    <p:extLst>
      <p:ext uri="{BB962C8B-B14F-4D97-AF65-F5344CB8AC3E}">
        <p14:creationId xmlns:p14="http://schemas.microsoft.com/office/powerpoint/2010/main" val="955679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A9A75888-22E3-1D43-9112-DA02186070B5}"/>
              </a:ext>
            </a:extLst>
          </p:cNvPr>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tretch>
            <a:fillRect/>
          </a:stretch>
        </p:blipFill>
        <p:spPr>
          <a:xfrm>
            <a:off x="7502002" y="1335024"/>
            <a:ext cx="4689998" cy="4187952"/>
          </a:xfrm>
        </p:spPr>
      </p:pic>
      <p:sp>
        <p:nvSpPr>
          <p:cNvPr id="2" name="Title 1">
            <a:extLst>
              <a:ext uri="{FF2B5EF4-FFF2-40B4-BE49-F238E27FC236}">
                <a16:creationId xmlns:a16="http://schemas.microsoft.com/office/drawing/2014/main" id="{3560F281-4FF6-4617-A809-AC9C15ECF18A}"/>
              </a:ext>
            </a:extLst>
          </p:cNvPr>
          <p:cNvSpPr>
            <a:spLocks noGrp="1"/>
          </p:cNvSpPr>
          <p:nvPr>
            <p:ph type="title" idx="4294967295"/>
          </p:nvPr>
        </p:nvSpPr>
        <p:spPr>
          <a:xfrm>
            <a:off x="1989221" y="417430"/>
            <a:ext cx="7876673" cy="609265"/>
          </a:xfrm>
        </p:spPr>
        <p:txBody>
          <a:bodyPr>
            <a:noAutofit/>
          </a:bodyPr>
          <a:lstStyle/>
          <a:p>
            <a:pPr algn="ctr"/>
            <a:r>
              <a:rPr lang="en-US" sz="4000" b="1" dirty="0">
                <a:latin typeface="Poppins" pitchFamily="2" charset="77"/>
              </a:rPr>
              <a:t>TOURISM CERTIFICATION COMMITTEE</a:t>
            </a:r>
          </a:p>
        </p:txBody>
      </p:sp>
      <p:sp>
        <p:nvSpPr>
          <p:cNvPr id="12" name="Text Placeholder 3">
            <a:extLst>
              <a:ext uri="{FF2B5EF4-FFF2-40B4-BE49-F238E27FC236}">
                <a16:creationId xmlns:a16="http://schemas.microsoft.com/office/drawing/2014/main" id="{ABF31BEF-66A1-4828-97DC-1B7C5558684E}"/>
              </a:ext>
            </a:extLst>
          </p:cNvPr>
          <p:cNvSpPr txBox="1">
            <a:spLocks/>
          </p:cNvSpPr>
          <p:nvPr/>
        </p:nvSpPr>
        <p:spPr>
          <a:xfrm>
            <a:off x="304800" y="1536192"/>
            <a:ext cx="7197202" cy="5321808"/>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The Tourism Certification Committee shall comprises 7 key sector agencies.</a:t>
            </a:r>
          </a:p>
          <a:p>
            <a:pPr marL="0" indent="0">
              <a:buNone/>
            </a:pPr>
            <a:r>
              <a:rPr lang="en-US" b="1" dirty="0"/>
              <a:t>The members are as follows:</a:t>
            </a:r>
          </a:p>
          <a:p>
            <a:pPr marL="342900" lvl="0" indent="-342900">
              <a:buFont typeface="+mj-lt"/>
              <a:buAutoNum type="arabicPeriod"/>
            </a:pPr>
            <a:r>
              <a:rPr lang="en-US" dirty="0"/>
              <a:t>The Permanent Secretary, and in his or her absence, the Deputy Permanent Secretary of the Ministry, who is the Chairperson;</a:t>
            </a:r>
          </a:p>
          <a:p>
            <a:pPr marL="342900" lvl="0" indent="-342900">
              <a:buFont typeface="+mj-lt"/>
              <a:buAutoNum type="arabicPeriod"/>
            </a:pPr>
            <a:r>
              <a:rPr lang="en-US" dirty="0"/>
              <a:t>a representative of the Saint Lucia Bureau of Standards;</a:t>
            </a:r>
          </a:p>
          <a:p>
            <a:pPr marL="342900" lvl="0" indent="-342900">
              <a:buFont typeface="+mj-lt"/>
              <a:buAutoNum type="arabicPeriod"/>
            </a:pPr>
            <a:r>
              <a:rPr lang="en-US" dirty="0"/>
              <a:t>the Chief Tourism Officer (Ex-officio Officer);</a:t>
            </a:r>
          </a:p>
          <a:p>
            <a:pPr marL="342900" lvl="0" indent="-342900">
              <a:buFont typeface="+mj-lt"/>
              <a:buAutoNum type="arabicPeriod"/>
            </a:pPr>
            <a:r>
              <a:rPr lang="en-US" dirty="0"/>
              <a:t>a representative of the Saint Lucia Hospitality &amp; Tourism Association;</a:t>
            </a:r>
          </a:p>
          <a:p>
            <a:pPr marL="342900" lvl="0" indent="-342900">
              <a:buFont typeface="+mj-lt"/>
              <a:buAutoNum type="arabicPeriod"/>
            </a:pPr>
            <a:r>
              <a:rPr lang="en-US" dirty="0"/>
              <a:t>a representative of Saint Lucia Chamber of Commerce; and </a:t>
            </a:r>
          </a:p>
          <a:p>
            <a:pPr marL="342900" lvl="0" indent="-342900">
              <a:buFont typeface="+mj-lt"/>
              <a:buAutoNum type="arabicPeriod"/>
            </a:pPr>
            <a:r>
              <a:rPr lang="en-US" dirty="0"/>
              <a:t>an attorney-at-law, who is an ex officio officer with no voting rights;</a:t>
            </a:r>
          </a:p>
          <a:p>
            <a:pPr marL="342900" lvl="0" indent="-342900">
              <a:buFont typeface="+mj-lt"/>
              <a:buAutoNum type="arabicPeriod"/>
            </a:pPr>
            <a:r>
              <a:rPr lang="en-US" dirty="0"/>
              <a:t>A representative of the Ministry of Health.</a:t>
            </a:r>
          </a:p>
          <a:p>
            <a:pPr marL="0" indent="0">
              <a:buNone/>
            </a:pPr>
            <a:r>
              <a:rPr lang="en-US" b="1" dirty="0"/>
              <a:t>N.B A person appointed to serve on the Tourism Committee Committee must be </a:t>
            </a:r>
            <a:r>
              <a:rPr lang="en-US" dirty="0"/>
              <a:t>—</a:t>
            </a:r>
          </a:p>
          <a:p>
            <a:pPr marL="342900" lvl="0" indent="-342900">
              <a:buFont typeface="+mj-lt"/>
              <a:buAutoNum type="arabicPeriod"/>
            </a:pPr>
            <a:r>
              <a:rPr lang="en-US" dirty="0"/>
              <a:t>nominated by the Ministry or Department that he or she represents; and</a:t>
            </a:r>
          </a:p>
          <a:p>
            <a:pPr marL="342900" lvl="0" indent="-342900">
              <a:buFont typeface="+mj-lt"/>
              <a:buAutoNum type="arabicPeriod"/>
            </a:pPr>
            <a:r>
              <a:rPr lang="en-US" dirty="0"/>
              <a:t>a person who is not below the office of a director or head of an office</a:t>
            </a:r>
          </a:p>
          <a:p>
            <a:pPr marL="0" indent="0" algn="just">
              <a:buClr>
                <a:schemeClr val="bg2">
                  <a:lumMod val="50000"/>
                </a:schemeClr>
              </a:buClr>
              <a:buNone/>
            </a:pPr>
            <a:endParaRPr lang="en-US" sz="2000" b="1" dirty="0">
              <a:solidFill>
                <a:schemeClr val="tx1"/>
              </a:solidFill>
            </a:endParaRPr>
          </a:p>
          <a:p>
            <a:pPr marL="38100" indent="0">
              <a:buNone/>
            </a:pPr>
            <a:endParaRPr lang="en-US" sz="2000" b="1" u="sng" dirty="0"/>
          </a:p>
        </p:txBody>
      </p:sp>
    </p:spTree>
    <p:extLst>
      <p:ext uri="{BB962C8B-B14F-4D97-AF65-F5344CB8AC3E}">
        <p14:creationId xmlns:p14="http://schemas.microsoft.com/office/powerpoint/2010/main" val="1329746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AD9371-6F70-4112-9A34-8DBCB5CACB11}"/>
              </a:ext>
            </a:extLst>
          </p:cNvPr>
          <p:cNvSpPr/>
          <p:nvPr/>
        </p:nvSpPr>
        <p:spPr>
          <a:xfrm>
            <a:off x="1550088" y="1767863"/>
            <a:ext cx="8384360" cy="41793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A77942F-CBF9-B258-46CF-03C1F1057844}"/>
              </a:ext>
            </a:extLst>
          </p:cNvPr>
          <p:cNvSpPr txBox="1"/>
          <p:nvPr/>
        </p:nvSpPr>
        <p:spPr>
          <a:xfrm>
            <a:off x="1847528" y="519836"/>
            <a:ext cx="8496944" cy="523220"/>
          </a:xfrm>
          <a:prstGeom prst="rect">
            <a:avLst/>
          </a:prstGeom>
          <a:noFill/>
        </p:spPr>
        <p:txBody>
          <a:bodyPr wrap="square" rtlCol="0" anchor="ctr">
            <a:spAutoFit/>
          </a:bodyPr>
          <a:lstStyle/>
          <a:p>
            <a:pPr algn="ctr"/>
            <a:r>
              <a:rPr lang="en-US" sz="2800" b="1" dirty="0">
                <a:latin typeface="Poppins" pitchFamily="2" charset="77"/>
                <a:cs typeface="Poppins" pitchFamily="2" charset="77"/>
              </a:rPr>
              <a:t>UPDATE ON THE CERTIFICATION UNIT</a:t>
            </a:r>
          </a:p>
        </p:txBody>
      </p:sp>
      <p:sp>
        <p:nvSpPr>
          <p:cNvPr id="21" name="Rectangle 1">
            <a:extLst>
              <a:ext uri="{FF2B5EF4-FFF2-40B4-BE49-F238E27FC236}">
                <a16:creationId xmlns:a16="http://schemas.microsoft.com/office/drawing/2014/main" id="{AACD2482-C0BC-994B-CCEC-16C8745D06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 name="TextBox 2">
            <a:extLst>
              <a:ext uri="{FF2B5EF4-FFF2-40B4-BE49-F238E27FC236}">
                <a16:creationId xmlns:a16="http://schemas.microsoft.com/office/drawing/2014/main" id="{549CF61E-EAF5-C882-94E5-FC54322202B7}"/>
              </a:ext>
            </a:extLst>
          </p:cNvPr>
          <p:cNvSpPr txBox="1"/>
          <p:nvPr/>
        </p:nvSpPr>
        <p:spPr>
          <a:xfrm>
            <a:off x="1847528" y="2311456"/>
            <a:ext cx="7877778" cy="3416320"/>
          </a:xfrm>
          <a:prstGeom prst="rect">
            <a:avLst/>
          </a:prstGeom>
          <a:noFill/>
        </p:spPr>
        <p:txBody>
          <a:bodyPr wrap="square">
            <a:spAutoFit/>
          </a:bodyPr>
          <a:lstStyle/>
          <a:p>
            <a:pPr marL="342900" indent="-342900" algn="just">
              <a:buFont typeface="Arial" panose="020B0604020202020204" pitchFamily="34" charset="0"/>
              <a:buChar char="•"/>
            </a:pPr>
            <a:r>
              <a:rPr lang="en-US" sz="2400" dirty="0"/>
              <a:t>Submissions for the Tourism Certification Committee have been received from all members listed in the legislation</a:t>
            </a:r>
          </a:p>
          <a:p>
            <a:pPr marL="342900" indent="-342900" algn="just">
              <a:buFont typeface="Arial" panose="020B0604020202020204" pitchFamily="34" charset="0"/>
              <a:buChar char="•"/>
            </a:pPr>
            <a:endParaRPr lang="en-US" sz="2400" dirty="0"/>
          </a:p>
          <a:p>
            <a:pPr marL="342900" indent="-342900" algn="just">
              <a:buFont typeface="Arial" panose="020B0604020202020204" pitchFamily="34" charset="0"/>
              <a:buChar char="•"/>
            </a:pPr>
            <a:r>
              <a:rPr lang="en-US" sz="2400" dirty="0"/>
              <a:t>Memorandum was sent to cabinet to appoint Tourism Certification Committee</a:t>
            </a:r>
          </a:p>
          <a:p>
            <a:pPr marL="342900" indent="-342900" algn="just">
              <a:buFont typeface="Arial" panose="020B0604020202020204" pitchFamily="34" charset="0"/>
              <a:buChar char="•"/>
            </a:pPr>
            <a:endParaRPr lang="en-US" sz="2400" dirty="0"/>
          </a:p>
          <a:p>
            <a:pPr marL="342900" indent="-342900" algn="just">
              <a:buFont typeface="Arial" panose="020B0604020202020204" pitchFamily="34" charset="0"/>
              <a:buChar char="•"/>
            </a:pPr>
            <a:r>
              <a:rPr lang="en-US" sz="2400" dirty="0"/>
              <a:t>Regulations to be published the week of 19 August</a:t>
            </a:r>
          </a:p>
          <a:p>
            <a:pPr marL="342900" indent="-342900" algn="just">
              <a:buFont typeface="Arial" panose="020B0604020202020204" pitchFamily="34" charset="0"/>
              <a:buChar char="•"/>
            </a:pPr>
            <a:endParaRPr lang="en-US" sz="2400" b="1" dirty="0"/>
          </a:p>
          <a:p>
            <a:endParaRPr lang="en-US" sz="2400" dirty="0"/>
          </a:p>
        </p:txBody>
      </p:sp>
    </p:spTree>
    <p:extLst>
      <p:ext uri="{BB962C8B-B14F-4D97-AF65-F5344CB8AC3E}">
        <p14:creationId xmlns:p14="http://schemas.microsoft.com/office/powerpoint/2010/main" val="2276727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AD9371-6F70-4112-9A34-8DBCB5CACB11}"/>
              </a:ext>
            </a:extLst>
          </p:cNvPr>
          <p:cNvSpPr/>
          <p:nvPr/>
        </p:nvSpPr>
        <p:spPr>
          <a:xfrm>
            <a:off x="1847528" y="2041195"/>
            <a:ext cx="8384360" cy="4179369"/>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A77942F-CBF9-B258-46CF-03C1F1057844}"/>
              </a:ext>
            </a:extLst>
          </p:cNvPr>
          <p:cNvSpPr txBox="1"/>
          <p:nvPr/>
        </p:nvSpPr>
        <p:spPr>
          <a:xfrm>
            <a:off x="1847528" y="519836"/>
            <a:ext cx="8496944" cy="523220"/>
          </a:xfrm>
          <a:prstGeom prst="rect">
            <a:avLst/>
          </a:prstGeom>
          <a:noFill/>
        </p:spPr>
        <p:txBody>
          <a:bodyPr wrap="square" rtlCol="0" anchor="ctr">
            <a:spAutoFit/>
          </a:bodyPr>
          <a:lstStyle/>
          <a:p>
            <a:pPr algn="ctr"/>
            <a:r>
              <a:rPr lang="en-US" sz="2800" b="1" dirty="0">
                <a:latin typeface="Poppins" pitchFamily="2" charset="77"/>
                <a:cs typeface="Poppins" pitchFamily="2" charset="77"/>
              </a:rPr>
              <a:t>UPDATE ON THE CERTIFICATION UNIT</a:t>
            </a:r>
          </a:p>
        </p:txBody>
      </p:sp>
      <p:sp>
        <p:nvSpPr>
          <p:cNvPr id="21" name="Rectangle 1">
            <a:extLst>
              <a:ext uri="{FF2B5EF4-FFF2-40B4-BE49-F238E27FC236}">
                <a16:creationId xmlns:a16="http://schemas.microsoft.com/office/drawing/2014/main" id="{AACD2482-C0BC-994B-CCEC-16C8745D06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2" name="Diagram 1">
            <a:extLst>
              <a:ext uri="{FF2B5EF4-FFF2-40B4-BE49-F238E27FC236}">
                <a16:creationId xmlns:a16="http://schemas.microsoft.com/office/drawing/2014/main" id="{DEAE67CB-B47B-4692-9A8E-28C4687FFB93}"/>
              </a:ext>
            </a:extLst>
          </p:cNvPr>
          <p:cNvGraphicFramePr/>
          <p:nvPr>
            <p:extLst>
              <p:ext uri="{D42A27DB-BD31-4B8C-83A1-F6EECF244321}">
                <p14:modId xmlns:p14="http://schemas.microsoft.com/office/powerpoint/2010/main" val="225441827"/>
              </p:ext>
            </p:extLst>
          </p:nvPr>
        </p:nvGraphicFramePr>
        <p:xfrm>
          <a:off x="2111536" y="2381249"/>
          <a:ext cx="7968928" cy="35408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9679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2192000" cy="6858000"/>
          </a:xfrm>
          <a:prstGeom prst="rect">
            <a:avLst/>
          </a:prstGeom>
          <a:solidFill>
            <a:srgbClr val="5C73E6"/>
          </a:solidFill>
          <a:ln/>
        </p:spPr>
      </p:sp>
      <p:sp>
        <p:nvSpPr>
          <p:cNvPr id="3" name="Shape 1"/>
          <p:cNvSpPr/>
          <p:nvPr/>
        </p:nvSpPr>
        <p:spPr>
          <a:xfrm>
            <a:off x="-136835" y="12700"/>
            <a:ext cx="12192000" cy="6858000"/>
          </a:xfrm>
          <a:prstGeom prst="rect">
            <a:avLst/>
          </a:prstGeom>
          <a:solidFill>
            <a:srgbClr val="F9F9FF"/>
          </a:solidFill>
          <a:ln/>
        </p:spPr>
        <p:txBody>
          <a:bodyPr/>
          <a:lstStyle/>
          <a:p>
            <a:endParaRPr lang="en-US" dirty="0"/>
          </a:p>
        </p:txBody>
      </p:sp>
      <p:pic>
        <p:nvPicPr>
          <p:cNvPr id="4" name="Image 0" descr="preencoded.png"/>
          <p:cNvPicPr>
            <a:picLocks noChangeAspect="1"/>
          </p:cNvPicPr>
          <p:nvPr/>
        </p:nvPicPr>
        <p:blipFill>
          <a:blip r:embed="rId3"/>
          <a:stretch>
            <a:fillRect/>
          </a:stretch>
        </p:blipFill>
        <p:spPr>
          <a:xfrm>
            <a:off x="9535925" y="0"/>
            <a:ext cx="2656075" cy="6858000"/>
          </a:xfrm>
          <a:prstGeom prst="rect">
            <a:avLst/>
          </a:prstGeom>
        </p:spPr>
      </p:pic>
      <p:sp>
        <p:nvSpPr>
          <p:cNvPr id="5" name="Text 2"/>
          <p:cNvSpPr/>
          <p:nvPr/>
        </p:nvSpPr>
        <p:spPr>
          <a:xfrm>
            <a:off x="910630" y="190359"/>
            <a:ext cx="6110982" cy="572790"/>
          </a:xfrm>
          <a:prstGeom prst="rect">
            <a:avLst/>
          </a:prstGeom>
          <a:noFill/>
          <a:ln/>
        </p:spPr>
        <p:txBody>
          <a:bodyPr wrap="none" rtlCol="0" anchor="t"/>
          <a:lstStyle/>
          <a:p>
            <a:pPr algn="ctr">
              <a:lnSpc>
                <a:spcPts val="4510"/>
              </a:lnSpc>
            </a:pPr>
            <a:r>
              <a:rPr lang="en-US" sz="4000" b="1" dirty="0">
                <a:solidFill>
                  <a:srgbClr val="1B1B27"/>
                </a:solidFill>
                <a:latin typeface="Poppins" panose="00000500000000000000" pitchFamily="2" charset="0"/>
                <a:ea typeface="Alexandria" pitchFamily="34" charset="-122"/>
                <a:cs typeface="Poppins" panose="00000500000000000000" pitchFamily="2" charset="0"/>
              </a:rPr>
              <a:t>Implementation Plan </a:t>
            </a:r>
            <a:endParaRPr lang="en-US" sz="4000" b="1" dirty="0">
              <a:latin typeface="Poppins" panose="00000500000000000000" pitchFamily="2" charset="0"/>
              <a:cs typeface="Poppins" panose="00000500000000000000" pitchFamily="2" charset="0"/>
            </a:endParaRPr>
          </a:p>
          <a:p>
            <a:pPr algn="ctr">
              <a:lnSpc>
                <a:spcPts val="4510"/>
              </a:lnSpc>
            </a:pPr>
            <a:endParaRPr lang="en-US" sz="4000" dirty="0"/>
          </a:p>
        </p:txBody>
      </p:sp>
      <p:sp>
        <p:nvSpPr>
          <p:cNvPr id="6" name="Shape 3"/>
          <p:cNvSpPr/>
          <p:nvPr/>
        </p:nvSpPr>
        <p:spPr>
          <a:xfrm>
            <a:off x="213154" y="2245074"/>
            <a:ext cx="45719" cy="2440558"/>
          </a:xfrm>
          <a:prstGeom prst="roundRect">
            <a:avLst>
              <a:gd name="adj" fmla="val 225295"/>
            </a:avLst>
          </a:prstGeom>
          <a:solidFill>
            <a:srgbClr val="B8C3DF"/>
          </a:solidFill>
          <a:ln/>
        </p:spPr>
      </p:sp>
      <p:sp>
        <p:nvSpPr>
          <p:cNvPr id="7" name="Shape 4"/>
          <p:cNvSpPr/>
          <p:nvPr/>
        </p:nvSpPr>
        <p:spPr>
          <a:xfrm>
            <a:off x="546609" y="2432944"/>
            <a:ext cx="641449" cy="36612"/>
          </a:xfrm>
          <a:prstGeom prst="roundRect">
            <a:avLst>
              <a:gd name="adj" fmla="val 225295"/>
            </a:avLst>
          </a:prstGeom>
          <a:solidFill>
            <a:srgbClr val="B8C3DF"/>
          </a:solidFill>
          <a:ln/>
        </p:spPr>
      </p:sp>
      <p:sp>
        <p:nvSpPr>
          <p:cNvPr id="8" name="Shape 5"/>
          <p:cNvSpPr/>
          <p:nvPr/>
        </p:nvSpPr>
        <p:spPr>
          <a:xfrm>
            <a:off x="134255" y="2245074"/>
            <a:ext cx="412353" cy="412353"/>
          </a:xfrm>
          <a:prstGeom prst="roundRect">
            <a:avLst>
              <a:gd name="adj" fmla="val 20003"/>
            </a:avLst>
          </a:prstGeom>
          <a:solidFill>
            <a:srgbClr val="D2DDF9"/>
          </a:solidFill>
          <a:ln w="7620">
            <a:solidFill>
              <a:srgbClr val="B8C3DF"/>
            </a:solidFill>
            <a:prstDash val="solid"/>
          </a:ln>
        </p:spPr>
      </p:sp>
      <p:sp>
        <p:nvSpPr>
          <p:cNvPr id="9" name="Text 6"/>
          <p:cNvSpPr/>
          <p:nvPr/>
        </p:nvSpPr>
        <p:spPr>
          <a:xfrm>
            <a:off x="288838" y="2279404"/>
            <a:ext cx="103088" cy="343594"/>
          </a:xfrm>
          <a:prstGeom prst="rect">
            <a:avLst/>
          </a:prstGeom>
          <a:noFill/>
          <a:ln/>
        </p:spPr>
        <p:txBody>
          <a:bodyPr wrap="none" rtlCol="0" anchor="t"/>
          <a:lstStyle/>
          <a:p>
            <a:pPr algn="ctr">
              <a:lnSpc>
                <a:spcPts val="2706"/>
              </a:lnSpc>
            </a:pPr>
            <a:r>
              <a:rPr lang="en-US" sz="2800" dirty="0">
                <a:solidFill>
                  <a:srgbClr val="404155"/>
                </a:solidFill>
                <a:latin typeface="Alexandria" pitchFamily="34" charset="0"/>
                <a:ea typeface="Alexandria" pitchFamily="34" charset="-122"/>
                <a:cs typeface="Alexandria" pitchFamily="34" charset="-120"/>
              </a:rPr>
              <a:t>1</a:t>
            </a:r>
            <a:endParaRPr lang="en-US" sz="2800" dirty="0"/>
          </a:p>
        </p:txBody>
      </p:sp>
      <p:sp>
        <p:nvSpPr>
          <p:cNvPr id="12" name="Shape 9"/>
          <p:cNvSpPr/>
          <p:nvPr/>
        </p:nvSpPr>
        <p:spPr>
          <a:xfrm>
            <a:off x="546609" y="3165617"/>
            <a:ext cx="641449" cy="36612"/>
          </a:xfrm>
          <a:prstGeom prst="roundRect">
            <a:avLst>
              <a:gd name="adj" fmla="val 225295"/>
            </a:avLst>
          </a:prstGeom>
          <a:solidFill>
            <a:srgbClr val="B8C3DF"/>
          </a:solidFill>
          <a:ln/>
        </p:spPr>
      </p:sp>
      <p:sp>
        <p:nvSpPr>
          <p:cNvPr id="13" name="Shape 10"/>
          <p:cNvSpPr/>
          <p:nvPr/>
        </p:nvSpPr>
        <p:spPr>
          <a:xfrm>
            <a:off x="134255" y="2977746"/>
            <a:ext cx="412353" cy="412353"/>
          </a:xfrm>
          <a:prstGeom prst="roundRect">
            <a:avLst>
              <a:gd name="adj" fmla="val 20003"/>
            </a:avLst>
          </a:prstGeom>
          <a:solidFill>
            <a:srgbClr val="D2DDF9"/>
          </a:solidFill>
          <a:ln w="7620">
            <a:solidFill>
              <a:srgbClr val="B8C3DF"/>
            </a:solidFill>
            <a:prstDash val="solid"/>
          </a:ln>
        </p:spPr>
      </p:sp>
      <p:sp>
        <p:nvSpPr>
          <p:cNvPr id="14" name="Text 11"/>
          <p:cNvSpPr/>
          <p:nvPr/>
        </p:nvSpPr>
        <p:spPr>
          <a:xfrm>
            <a:off x="259965" y="3012077"/>
            <a:ext cx="160833" cy="343594"/>
          </a:xfrm>
          <a:prstGeom prst="rect">
            <a:avLst/>
          </a:prstGeom>
          <a:noFill/>
          <a:ln/>
        </p:spPr>
        <p:txBody>
          <a:bodyPr wrap="none" rtlCol="0" anchor="t"/>
          <a:lstStyle/>
          <a:p>
            <a:pPr algn="ctr">
              <a:lnSpc>
                <a:spcPts val="2706"/>
              </a:lnSpc>
            </a:pPr>
            <a:r>
              <a:rPr lang="en-US" sz="2800" dirty="0">
                <a:solidFill>
                  <a:srgbClr val="404155"/>
                </a:solidFill>
                <a:latin typeface="Alexandria" pitchFamily="34" charset="0"/>
                <a:ea typeface="Alexandria" pitchFamily="34" charset="-122"/>
                <a:cs typeface="Alexandria" pitchFamily="34" charset="-120"/>
              </a:rPr>
              <a:t>2</a:t>
            </a:r>
            <a:endParaRPr lang="en-US" sz="2800" dirty="0"/>
          </a:p>
        </p:txBody>
      </p:sp>
      <p:sp>
        <p:nvSpPr>
          <p:cNvPr id="19" name="Text 16"/>
          <p:cNvSpPr/>
          <p:nvPr/>
        </p:nvSpPr>
        <p:spPr>
          <a:xfrm>
            <a:off x="259469" y="5083338"/>
            <a:ext cx="161925" cy="343594"/>
          </a:xfrm>
          <a:prstGeom prst="rect">
            <a:avLst/>
          </a:prstGeom>
          <a:noFill/>
          <a:ln/>
        </p:spPr>
        <p:txBody>
          <a:bodyPr wrap="none" rtlCol="0" anchor="t"/>
          <a:lstStyle/>
          <a:p>
            <a:pPr algn="ctr">
              <a:lnSpc>
                <a:spcPts val="2706"/>
              </a:lnSpc>
            </a:pPr>
            <a:endParaRPr lang="en-US" sz="2800" dirty="0"/>
          </a:p>
        </p:txBody>
      </p:sp>
      <p:sp>
        <p:nvSpPr>
          <p:cNvPr id="23" name="Shape 9">
            <a:extLst>
              <a:ext uri="{FF2B5EF4-FFF2-40B4-BE49-F238E27FC236}">
                <a16:creationId xmlns:a16="http://schemas.microsoft.com/office/drawing/2014/main" id="{6AE6F6E0-A6D2-66DB-AB45-ED14A4300017}"/>
              </a:ext>
            </a:extLst>
          </p:cNvPr>
          <p:cNvSpPr/>
          <p:nvPr/>
        </p:nvSpPr>
        <p:spPr>
          <a:xfrm>
            <a:off x="547899" y="3839568"/>
            <a:ext cx="641449" cy="36612"/>
          </a:xfrm>
          <a:prstGeom prst="roundRect">
            <a:avLst>
              <a:gd name="adj" fmla="val 225295"/>
            </a:avLst>
          </a:prstGeom>
          <a:solidFill>
            <a:srgbClr val="B8C3DF"/>
          </a:solidFill>
          <a:ln/>
        </p:spPr>
      </p:sp>
      <p:sp>
        <p:nvSpPr>
          <p:cNvPr id="24" name="Shape 10">
            <a:extLst>
              <a:ext uri="{FF2B5EF4-FFF2-40B4-BE49-F238E27FC236}">
                <a16:creationId xmlns:a16="http://schemas.microsoft.com/office/drawing/2014/main" id="{0B51AA5B-1E83-CAC5-2626-AF31E51FE8D2}"/>
              </a:ext>
            </a:extLst>
          </p:cNvPr>
          <p:cNvSpPr/>
          <p:nvPr/>
        </p:nvSpPr>
        <p:spPr>
          <a:xfrm>
            <a:off x="135545" y="3651697"/>
            <a:ext cx="412353" cy="412353"/>
          </a:xfrm>
          <a:prstGeom prst="roundRect">
            <a:avLst>
              <a:gd name="adj" fmla="val 20003"/>
            </a:avLst>
          </a:prstGeom>
          <a:solidFill>
            <a:srgbClr val="D2DDF9"/>
          </a:solidFill>
          <a:ln w="7620">
            <a:solidFill>
              <a:srgbClr val="B8C3DF"/>
            </a:solidFill>
            <a:prstDash val="solid"/>
          </a:ln>
        </p:spPr>
      </p:sp>
      <p:sp>
        <p:nvSpPr>
          <p:cNvPr id="25" name="Text 11">
            <a:extLst>
              <a:ext uri="{FF2B5EF4-FFF2-40B4-BE49-F238E27FC236}">
                <a16:creationId xmlns:a16="http://schemas.microsoft.com/office/drawing/2014/main" id="{9F4C7C69-7102-770C-5F45-5817B65B8F10}"/>
              </a:ext>
            </a:extLst>
          </p:cNvPr>
          <p:cNvSpPr/>
          <p:nvPr/>
        </p:nvSpPr>
        <p:spPr>
          <a:xfrm>
            <a:off x="261255" y="3686028"/>
            <a:ext cx="160833" cy="343594"/>
          </a:xfrm>
          <a:prstGeom prst="rect">
            <a:avLst/>
          </a:prstGeom>
          <a:noFill/>
          <a:ln/>
        </p:spPr>
        <p:txBody>
          <a:bodyPr wrap="none" rtlCol="0" anchor="t"/>
          <a:lstStyle/>
          <a:p>
            <a:pPr algn="ctr">
              <a:lnSpc>
                <a:spcPts val="2706"/>
              </a:lnSpc>
            </a:pPr>
            <a:r>
              <a:rPr lang="en-US" sz="2800" dirty="0"/>
              <a:t>3</a:t>
            </a:r>
          </a:p>
        </p:txBody>
      </p:sp>
      <p:sp>
        <p:nvSpPr>
          <p:cNvPr id="26" name="Shape 9">
            <a:extLst>
              <a:ext uri="{FF2B5EF4-FFF2-40B4-BE49-F238E27FC236}">
                <a16:creationId xmlns:a16="http://schemas.microsoft.com/office/drawing/2014/main" id="{9ADFE9BF-6BB0-9326-E4CF-47F3F1692E0A}"/>
              </a:ext>
            </a:extLst>
          </p:cNvPr>
          <p:cNvSpPr/>
          <p:nvPr/>
        </p:nvSpPr>
        <p:spPr>
          <a:xfrm>
            <a:off x="549189" y="4495577"/>
            <a:ext cx="641449" cy="36612"/>
          </a:xfrm>
          <a:prstGeom prst="roundRect">
            <a:avLst>
              <a:gd name="adj" fmla="val 225295"/>
            </a:avLst>
          </a:prstGeom>
          <a:solidFill>
            <a:srgbClr val="B8C3DF"/>
          </a:solidFill>
          <a:ln/>
        </p:spPr>
      </p:sp>
      <p:sp>
        <p:nvSpPr>
          <p:cNvPr id="27" name="Shape 10">
            <a:extLst>
              <a:ext uri="{FF2B5EF4-FFF2-40B4-BE49-F238E27FC236}">
                <a16:creationId xmlns:a16="http://schemas.microsoft.com/office/drawing/2014/main" id="{BE685075-540F-D2E9-67A9-F7DF21C72AA6}"/>
              </a:ext>
            </a:extLst>
          </p:cNvPr>
          <p:cNvSpPr/>
          <p:nvPr/>
        </p:nvSpPr>
        <p:spPr>
          <a:xfrm>
            <a:off x="136835" y="4307706"/>
            <a:ext cx="412353" cy="412353"/>
          </a:xfrm>
          <a:prstGeom prst="roundRect">
            <a:avLst>
              <a:gd name="adj" fmla="val 20003"/>
            </a:avLst>
          </a:prstGeom>
          <a:solidFill>
            <a:srgbClr val="D2DDF9"/>
          </a:solidFill>
          <a:ln w="7620">
            <a:solidFill>
              <a:srgbClr val="B8C3DF"/>
            </a:solidFill>
            <a:prstDash val="solid"/>
          </a:ln>
        </p:spPr>
      </p:sp>
      <p:sp>
        <p:nvSpPr>
          <p:cNvPr id="28" name="Text 11">
            <a:extLst>
              <a:ext uri="{FF2B5EF4-FFF2-40B4-BE49-F238E27FC236}">
                <a16:creationId xmlns:a16="http://schemas.microsoft.com/office/drawing/2014/main" id="{F530D600-B495-403B-59E6-0E51D3EBC7A8}"/>
              </a:ext>
            </a:extLst>
          </p:cNvPr>
          <p:cNvSpPr/>
          <p:nvPr/>
        </p:nvSpPr>
        <p:spPr>
          <a:xfrm>
            <a:off x="262545" y="4342037"/>
            <a:ext cx="160833" cy="343594"/>
          </a:xfrm>
          <a:prstGeom prst="rect">
            <a:avLst/>
          </a:prstGeom>
          <a:noFill/>
          <a:ln/>
        </p:spPr>
        <p:txBody>
          <a:bodyPr wrap="none" rtlCol="0" anchor="t"/>
          <a:lstStyle/>
          <a:p>
            <a:pPr algn="ctr">
              <a:lnSpc>
                <a:spcPts val="2706"/>
              </a:lnSpc>
            </a:pPr>
            <a:r>
              <a:rPr lang="en-US" sz="2800" dirty="0">
                <a:solidFill>
                  <a:srgbClr val="404155"/>
                </a:solidFill>
                <a:latin typeface="Alexandria" pitchFamily="34" charset="0"/>
                <a:ea typeface="Alexandria" pitchFamily="34" charset="-122"/>
              </a:rPr>
              <a:t>4</a:t>
            </a:r>
            <a:endParaRPr lang="en-US" sz="2800" dirty="0"/>
          </a:p>
        </p:txBody>
      </p:sp>
      <p:sp>
        <p:nvSpPr>
          <p:cNvPr id="29" name="Text 12">
            <a:extLst>
              <a:ext uri="{FF2B5EF4-FFF2-40B4-BE49-F238E27FC236}">
                <a16:creationId xmlns:a16="http://schemas.microsoft.com/office/drawing/2014/main" id="{11701A0B-4F2B-CC8E-C84D-350DAC43DC5A}"/>
              </a:ext>
            </a:extLst>
          </p:cNvPr>
          <p:cNvSpPr/>
          <p:nvPr/>
        </p:nvSpPr>
        <p:spPr>
          <a:xfrm>
            <a:off x="1187462" y="2194216"/>
            <a:ext cx="5528300" cy="572790"/>
          </a:xfrm>
          <a:prstGeom prst="rect">
            <a:avLst/>
          </a:prstGeom>
          <a:noFill/>
          <a:ln/>
        </p:spPr>
        <p:txBody>
          <a:bodyPr wrap="none" rtlCol="0" anchor="t"/>
          <a:lstStyle/>
          <a:p>
            <a:pPr>
              <a:lnSpc>
                <a:spcPts val="2255"/>
              </a:lnSpc>
            </a:pPr>
            <a:r>
              <a:rPr lang="en-US" sz="2000" b="1" dirty="0">
                <a:solidFill>
                  <a:srgbClr val="404155"/>
                </a:solidFill>
                <a:latin typeface="Alexandria" pitchFamily="34" charset="0"/>
                <a:ea typeface="Alexandria" pitchFamily="34" charset="-122"/>
              </a:rPr>
              <a:t>Tourism Accommodation &amp; Transportation Certification</a:t>
            </a:r>
          </a:p>
          <a:p>
            <a:pPr>
              <a:lnSpc>
                <a:spcPts val="2255"/>
              </a:lnSpc>
            </a:pPr>
            <a:endParaRPr lang="en-US" dirty="0"/>
          </a:p>
        </p:txBody>
      </p:sp>
      <p:sp>
        <p:nvSpPr>
          <p:cNvPr id="30" name="Text 12">
            <a:extLst>
              <a:ext uri="{FF2B5EF4-FFF2-40B4-BE49-F238E27FC236}">
                <a16:creationId xmlns:a16="http://schemas.microsoft.com/office/drawing/2014/main" id="{712F1027-F441-EB25-E596-A5390FBDE927}"/>
              </a:ext>
            </a:extLst>
          </p:cNvPr>
          <p:cNvSpPr/>
          <p:nvPr/>
        </p:nvSpPr>
        <p:spPr>
          <a:xfrm>
            <a:off x="1187463" y="2942719"/>
            <a:ext cx="6065262" cy="572790"/>
          </a:xfrm>
          <a:prstGeom prst="rect">
            <a:avLst/>
          </a:prstGeom>
          <a:noFill/>
          <a:ln/>
        </p:spPr>
        <p:txBody>
          <a:bodyPr wrap="none" rtlCol="0" anchor="t"/>
          <a:lstStyle/>
          <a:p>
            <a:pPr>
              <a:lnSpc>
                <a:spcPts val="2255"/>
              </a:lnSpc>
            </a:pPr>
            <a:r>
              <a:rPr lang="en-US" sz="2000" b="1" dirty="0">
                <a:solidFill>
                  <a:srgbClr val="404155"/>
                </a:solidFill>
                <a:latin typeface="Alexandria" pitchFamily="34" charset="0"/>
                <a:ea typeface="Alexandria" pitchFamily="34" charset="-122"/>
              </a:rPr>
              <a:t>Sites and  Attractions Certification </a:t>
            </a:r>
          </a:p>
        </p:txBody>
      </p:sp>
      <p:sp>
        <p:nvSpPr>
          <p:cNvPr id="33" name="Text 16">
            <a:extLst>
              <a:ext uri="{FF2B5EF4-FFF2-40B4-BE49-F238E27FC236}">
                <a16:creationId xmlns:a16="http://schemas.microsoft.com/office/drawing/2014/main" id="{8C3F9904-ADC5-5F68-699E-EDA882A0240B}"/>
              </a:ext>
            </a:extLst>
          </p:cNvPr>
          <p:cNvSpPr/>
          <p:nvPr/>
        </p:nvSpPr>
        <p:spPr>
          <a:xfrm>
            <a:off x="884337" y="4981151"/>
            <a:ext cx="161925" cy="343594"/>
          </a:xfrm>
          <a:prstGeom prst="rect">
            <a:avLst/>
          </a:prstGeom>
          <a:noFill/>
          <a:ln/>
        </p:spPr>
        <p:txBody>
          <a:bodyPr wrap="none" rtlCol="0" anchor="t"/>
          <a:lstStyle/>
          <a:p>
            <a:pPr algn="ctr">
              <a:lnSpc>
                <a:spcPts val="2706"/>
              </a:lnSpc>
            </a:pPr>
            <a:endParaRPr lang="en-US" sz="2400" dirty="0"/>
          </a:p>
        </p:txBody>
      </p:sp>
      <p:sp>
        <p:nvSpPr>
          <p:cNvPr id="36" name="Text 16">
            <a:extLst>
              <a:ext uri="{FF2B5EF4-FFF2-40B4-BE49-F238E27FC236}">
                <a16:creationId xmlns:a16="http://schemas.microsoft.com/office/drawing/2014/main" id="{DAF94C66-8503-33F2-C27C-23749C635DBF}"/>
              </a:ext>
            </a:extLst>
          </p:cNvPr>
          <p:cNvSpPr/>
          <p:nvPr/>
        </p:nvSpPr>
        <p:spPr>
          <a:xfrm>
            <a:off x="880665" y="5591606"/>
            <a:ext cx="161925" cy="343594"/>
          </a:xfrm>
          <a:prstGeom prst="rect">
            <a:avLst/>
          </a:prstGeom>
          <a:noFill/>
          <a:ln/>
        </p:spPr>
        <p:txBody>
          <a:bodyPr wrap="none" rtlCol="0" anchor="t"/>
          <a:lstStyle/>
          <a:p>
            <a:pPr algn="ctr">
              <a:lnSpc>
                <a:spcPts val="2706"/>
              </a:lnSpc>
            </a:pPr>
            <a:endParaRPr lang="en-US" sz="2400" dirty="0"/>
          </a:p>
        </p:txBody>
      </p:sp>
      <p:sp>
        <p:nvSpPr>
          <p:cNvPr id="39" name="Text 16">
            <a:extLst>
              <a:ext uri="{FF2B5EF4-FFF2-40B4-BE49-F238E27FC236}">
                <a16:creationId xmlns:a16="http://schemas.microsoft.com/office/drawing/2014/main" id="{23E49DC4-357C-5A66-8E9E-F7C55087E447}"/>
              </a:ext>
            </a:extLst>
          </p:cNvPr>
          <p:cNvSpPr/>
          <p:nvPr/>
        </p:nvSpPr>
        <p:spPr>
          <a:xfrm>
            <a:off x="882976" y="6232982"/>
            <a:ext cx="161925" cy="343594"/>
          </a:xfrm>
          <a:prstGeom prst="rect">
            <a:avLst/>
          </a:prstGeom>
          <a:noFill/>
          <a:ln/>
        </p:spPr>
        <p:txBody>
          <a:bodyPr wrap="none" rtlCol="0" anchor="t"/>
          <a:lstStyle/>
          <a:p>
            <a:pPr algn="ctr">
              <a:lnSpc>
                <a:spcPts val="2706"/>
              </a:lnSpc>
            </a:pPr>
            <a:endParaRPr lang="en-US" sz="2400" dirty="0"/>
          </a:p>
        </p:txBody>
      </p:sp>
      <p:sp>
        <p:nvSpPr>
          <p:cNvPr id="40" name="Text 12">
            <a:extLst>
              <a:ext uri="{FF2B5EF4-FFF2-40B4-BE49-F238E27FC236}">
                <a16:creationId xmlns:a16="http://schemas.microsoft.com/office/drawing/2014/main" id="{E1CFD9C4-4AA4-8003-9E5F-1DF4DB8BD0F5}"/>
              </a:ext>
            </a:extLst>
          </p:cNvPr>
          <p:cNvSpPr/>
          <p:nvPr/>
        </p:nvSpPr>
        <p:spPr>
          <a:xfrm>
            <a:off x="1180205" y="3631248"/>
            <a:ext cx="4895925" cy="572790"/>
          </a:xfrm>
          <a:prstGeom prst="rect">
            <a:avLst/>
          </a:prstGeom>
          <a:noFill/>
          <a:ln/>
        </p:spPr>
        <p:txBody>
          <a:bodyPr wrap="none" rtlCol="0" anchor="t"/>
          <a:lstStyle/>
          <a:p>
            <a:pPr>
              <a:lnSpc>
                <a:spcPts val="2255"/>
              </a:lnSpc>
            </a:pPr>
            <a:r>
              <a:rPr lang="en-US" sz="2000" b="1" dirty="0">
                <a:solidFill>
                  <a:srgbClr val="404155"/>
                </a:solidFill>
                <a:latin typeface="Alexandria" pitchFamily="34" charset="0"/>
                <a:ea typeface="Alexandria" pitchFamily="34" charset="-122"/>
              </a:rPr>
              <a:t>Food and Beverage Certification</a:t>
            </a:r>
            <a:endParaRPr lang="en-US" sz="1600" b="1" dirty="0">
              <a:solidFill>
                <a:srgbClr val="404155"/>
              </a:solidFill>
              <a:latin typeface="Alexandria" pitchFamily="34" charset="0"/>
              <a:ea typeface="Alexandria" pitchFamily="34" charset="-122"/>
            </a:endParaRPr>
          </a:p>
        </p:txBody>
      </p:sp>
      <p:sp>
        <p:nvSpPr>
          <p:cNvPr id="42" name="Text 12">
            <a:extLst>
              <a:ext uri="{FF2B5EF4-FFF2-40B4-BE49-F238E27FC236}">
                <a16:creationId xmlns:a16="http://schemas.microsoft.com/office/drawing/2014/main" id="{D3D0EAD9-1B6F-B7A4-E0F8-4AFA6C4EB131}"/>
              </a:ext>
            </a:extLst>
          </p:cNvPr>
          <p:cNvSpPr/>
          <p:nvPr/>
        </p:nvSpPr>
        <p:spPr>
          <a:xfrm>
            <a:off x="1187462" y="4234912"/>
            <a:ext cx="4895925" cy="572790"/>
          </a:xfrm>
          <a:prstGeom prst="rect">
            <a:avLst/>
          </a:prstGeom>
          <a:noFill/>
          <a:ln/>
        </p:spPr>
        <p:txBody>
          <a:bodyPr wrap="none" rtlCol="0" anchor="t"/>
          <a:lstStyle/>
          <a:p>
            <a:pPr>
              <a:lnSpc>
                <a:spcPts val="2255"/>
              </a:lnSpc>
            </a:pPr>
            <a:r>
              <a:rPr lang="en-US" sz="2000" b="1" dirty="0">
                <a:solidFill>
                  <a:srgbClr val="404155"/>
                </a:solidFill>
                <a:latin typeface="Alexandria" pitchFamily="34" charset="0"/>
                <a:ea typeface="Alexandria" pitchFamily="34" charset="-122"/>
              </a:rPr>
              <a:t>Niche Markets Certification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2"/>
          <p:cNvSpPr/>
          <p:nvPr/>
        </p:nvSpPr>
        <p:spPr>
          <a:xfrm>
            <a:off x="2873542" y="318508"/>
            <a:ext cx="6110982" cy="572790"/>
          </a:xfrm>
          <a:prstGeom prst="rect">
            <a:avLst/>
          </a:prstGeom>
          <a:noFill/>
          <a:ln/>
        </p:spPr>
        <p:txBody>
          <a:bodyPr wrap="none" rtlCol="0" anchor="t"/>
          <a:lstStyle/>
          <a:p>
            <a:pPr algn="ctr">
              <a:lnSpc>
                <a:spcPts val="4510"/>
              </a:lnSpc>
            </a:pPr>
            <a:r>
              <a:rPr lang="en-US" sz="4000" b="1" dirty="0">
                <a:solidFill>
                  <a:srgbClr val="1B1B27"/>
                </a:solidFill>
                <a:latin typeface="Poppins" panose="00000500000000000000" pitchFamily="2" charset="0"/>
                <a:ea typeface="Alexandria" pitchFamily="34" charset="-122"/>
                <a:cs typeface="Poppins" panose="00000500000000000000" pitchFamily="2" charset="0"/>
              </a:rPr>
              <a:t>Implementation Plan</a:t>
            </a:r>
            <a:endParaRPr lang="en-US" sz="4000" b="1" dirty="0">
              <a:latin typeface="Poppins" panose="00000500000000000000" pitchFamily="2" charset="0"/>
              <a:cs typeface="Poppins" panose="00000500000000000000" pitchFamily="2" charset="0"/>
            </a:endParaRPr>
          </a:p>
          <a:p>
            <a:pPr algn="ctr">
              <a:lnSpc>
                <a:spcPts val="4510"/>
              </a:lnSpc>
            </a:pPr>
            <a:endParaRPr lang="en-US" sz="4000" dirty="0"/>
          </a:p>
        </p:txBody>
      </p:sp>
      <p:sp>
        <p:nvSpPr>
          <p:cNvPr id="19" name="Text 16"/>
          <p:cNvSpPr/>
          <p:nvPr/>
        </p:nvSpPr>
        <p:spPr>
          <a:xfrm>
            <a:off x="259469" y="5083338"/>
            <a:ext cx="161925" cy="343594"/>
          </a:xfrm>
          <a:prstGeom prst="rect">
            <a:avLst/>
          </a:prstGeom>
          <a:noFill/>
          <a:ln/>
        </p:spPr>
        <p:txBody>
          <a:bodyPr wrap="none" rtlCol="0" anchor="t"/>
          <a:lstStyle/>
          <a:p>
            <a:pPr algn="ctr">
              <a:lnSpc>
                <a:spcPts val="2706"/>
              </a:lnSpc>
            </a:pPr>
            <a:endParaRPr lang="en-US" sz="2800" dirty="0"/>
          </a:p>
        </p:txBody>
      </p:sp>
      <p:sp>
        <p:nvSpPr>
          <p:cNvPr id="33" name="Text 16">
            <a:extLst>
              <a:ext uri="{FF2B5EF4-FFF2-40B4-BE49-F238E27FC236}">
                <a16:creationId xmlns:a16="http://schemas.microsoft.com/office/drawing/2014/main" id="{8C3F9904-ADC5-5F68-699E-EDA882A0240B}"/>
              </a:ext>
            </a:extLst>
          </p:cNvPr>
          <p:cNvSpPr/>
          <p:nvPr/>
        </p:nvSpPr>
        <p:spPr>
          <a:xfrm>
            <a:off x="884337" y="4981151"/>
            <a:ext cx="161925" cy="343594"/>
          </a:xfrm>
          <a:prstGeom prst="rect">
            <a:avLst/>
          </a:prstGeom>
          <a:noFill/>
          <a:ln/>
        </p:spPr>
        <p:txBody>
          <a:bodyPr wrap="none" rtlCol="0" anchor="t"/>
          <a:lstStyle/>
          <a:p>
            <a:pPr algn="ctr">
              <a:lnSpc>
                <a:spcPts val="2706"/>
              </a:lnSpc>
            </a:pPr>
            <a:endParaRPr lang="en-US" sz="2400" dirty="0"/>
          </a:p>
        </p:txBody>
      </p:sp>
      <p:sp>
        <p:nvSpPr>
          <p:cNvPr id="36" name="Text 16">
            <a:extLst>
              <a:ext uri="{FF2B5EF4-FFF2-40B4-BE49-F238E27FC236}">
                <a16:creationId xmlns:a16="http://schemas.microsoft.com/office/drawing/2014/main" id="{DAF94C66-8503-33F2-C27C-23749C635DBF}"/>
              </a:ext>
            </a:extLst>
          </p:cNvPr>
          <p:cNvSpPr/>
          <p:nvPr/>
        </p:nvSpPr>
        <p:spPr>
          <a:xfrm>
            <a:off x="880665" y="5591606"/>
            <a:ext cx="161925" cy="343594"/>
          </a:xfrm>
          <a:prstGeom prst="rect">
            <a:avLst/>
          </a:prstGeom>
          <a:noFill/>
          <a:ln/>
        </p:spPr>
        <p:txBody>
          <a:bodyPr wrap="none" rtlCol="0" anchor="t"/>
          <a:lstStyle/>
          <a:p>
            <a:pPr algn="ctr">
              <a:lnSpc>
                <a:spcPts val="2706"/>
              </a:lnSpc>
            </a:pPr>
            <a:endParaRPr lang="en-US" sz="2400" dirty="0"/>
          </a:p>
        </p:txBody>
      </p:sp>
      <p:sp>
        <p:nvSpPr>
          <p:cNvPr id="39" name="Text 16">
            <a:extLst>
              <a:ext uri="{FF2B5EF4-FFF2-40B4-BE49-F238E27FC236}">
                <a16:creationId xmlns:a16="http://schemas.microsoft.com/office/drawing/2014/main" id="{23E49DC4-357C-5A66-8E9E-F7C55087E447}"/>
              </a:ext>
            </a:extLst>
          </p:cNvPr>
          <p:cNvSpPr/>
          <p:nvPr/>
        </p:nvSpPr>
        <p:spPr>
          <a:xfrm>
            <a:off x="882976" y="6232982"/>
            <a:ext cx="161925" cy="343594"/>
          </a:xfrm>
          <a:prstGeom prst="rect">
            <a:avLst/>
          </a:prstGeom>
          <a:noFill/>
          <a:ln/>
        </p:spPr>
        <p:txBody>
          <a:bodyPr wrap="none" rtlCol="0" anchor="t"/>
          <a:lstStyle/>
          <a:p>
            <a:pPr algn="ctr">
              <a:lnSpc>
                <a:spcPts val="2706"/>
              </a:lnSpc>
            </a:pPr>
            <a:endParaRPr lang="en-US" sz="2400" dirty="0"/>
          </a:p>
        </p:txBody>
      </p:sp>
      <p:grpSp>
        <p:nvGrpSpPr>
          <p:cNvPr id="3" name="Group 2">
            <a:extLst>
              <a:ext uri="{FF2B5EF4-FFF2-40B4-BE49-F238E27FC236}">
                <a16:creationId xmlns:a16="http://schemas.microsoft.com/office/drawing/2014/main" id="{19991D9C-A596-4ECD-86A2-5E70BF52E2B3}"/>
              </a:ext>
            </a:extLst>
          </p:cNvPr>
          <p:cNvGrpSpPr/>
          <p:nvPr/>
        </p:nvGrpSpPr>
        <p:grpSpPr>
          <a:xfrm>
            <a:off x="742950" y="3149595"/>
            <a:ext cx="2581275" cy="1831555"/>
            <a:chOff x="628650" y="2203536"/>
            <a:chExt cx="2526147" cy="1682664"/>
          </a:xfrm>
          <a:solidFill>
            <a:schemeClr val="accent5"/>
          </a:solidFill>
        </p:grpSpPr>
        <p:sp>
          <p:nvSpPr>
            <p:cNvPr id="2" name="Speech Bubble: Rectangle with Corners Rounded 1">
              <a:extLst>
                <a:ext uri="{FF2B5EF4-FFF2-40B4-BE49-F238E27FC236}">
                  <a16:creationId xmlns:a16="http://schemas.microsoft.com/office/drawing/2014/main" id="{BAE1B1DE-098E-4799-857B-8389F7797976}"/>
                </a:ext>
              </a:extLst>
            </p:cNvPr>
            <p:cNvSpPr/>
            <p:nvPr/>
          </p:nvSpPr>
          <p:spPr>
            <a:xfrm>
              <a:off x="628650" y="2203536"/>
              <a:ext cx="2526147" cy="1682664"/>
            </a:xfrm>
            <a:prstGeom prst="wedgeRoundRectCallou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4FC267B6-9010-50EC-7169-87874BD02934}"/>
                </a:ext>
              </a:extLst>
            </p:cNvPr>
            <p:cNvSpPr txBox="1"/>
            <p:nvPr/>
          </p:nvSpPr>
          <p:spPr>
            <a:xfrm>
              <a:off x="710974" y="2370569"/>
              <a:ext cx="2378572" cy="1349758"/>
            </a:xfrm>
            <a:prstGeom prst="rect">
              <a:avLst/>
            </a:prstGeom>
            <a:grpFill/>
          </p:spPr>
          <p:txBody>
            <a:bodyPr wrap="square" rtlCol="0">
              <a:spAutoFit/>
            </a:bodyPr>
            <a:lstStyle/>
            <a:p>
              <a:pPr algn="ctr"/>
              <a:r>
                <a:rPr lang="en-US" sz="1800" b="1" dirty="0"/>
                <a:t>308 Tourism Accommodation Properties Pursuing Certification </a:t>
              </a:r>
            </a:p>
            <a:p>
              <a:endParaRPr lang="en-US" dirty="0"/>
            </a:p>
          </p:txBody>
        </p:sp>
      </p:grpSp>
      <p:pic>
        <p:nvPicPr>
          <p:cNvPr id="10" name="Picture 9">
            <a:extLst>
              <a:ext uri="{FF2B5EF4-FFF2-40B4-BE49-F238E27FC236}">
                <a16:creationId xmlns:a16="http://schemas.microsoft.com/office/drawing/2014/main" id="{2C29CB45-6DDA-7074-5C8E-23693111F275}"/>
              </a:ext>
            </a:extLst>
          </p:cNvPr>
          <p:cNvPicPr>
            <a:picLocks noChangeAspect="1"/>
          </p:cNvPicPr>
          <p:nvPr/>
        </p:nvPicPr>
        <p:blipFill>
          <a:blip r:embed="rId3"/>
          <a:stretch>
            <a:fillRect/>
          </a:stretch>
        </p:blipFill>
        <p:spPr>
          <a:xfrm>
            <a:off x="4248648" y="1334349"/>
            <a:ext cx="2767824" cy="5346655"/>
          </a:xfrm>
          <a:prstGeom prst="rect">
            <a:avLst/>
          </a:prstGeom>
        </p:spPr>
      </p:pic>
      <p:cxnSp>
        <p:nvCxnSpPr>
          <p:cNvPr id="12" name="Straight Connector 11">
            <a:extLst>
              <a:ext uri="{FF2B5EF4-FFF2-40B4-BE49-F238E27FC236}">
                <a16:creationId xmlns:a16="http://schemas.microsoft.com/office/drawing/2014/main" id="{E5D58F64-DEC1-453C-92F7-9741146944F4}"/>
              </a:ext>
            </a:extLst>
          </p:cNvPr>
          <p:cNvCxnSpPr>
            <a:cxnSpLocks/>
          </p:cNvCxnSpPr>
          <p:nvPr/>
        </p:nvCxnSpPr>
        <p:spPr>
          <a:xfrm flipH="1">
            <a:off x="3969092" y="974709"/>
            <a:ext cx="3667239" cy="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437A74B-8621-44F7-8553-00266DD91A43}"/>
              </a:ext>
            </a:extLst>
          </p:cNvPr>
          <p:cNvGrpSpPr/>
          <p:nvPr/>
        </p:nvGrpSpPr>
        <p:grpSpPr>
          <a:xfrm>
            <a:off x="8553450" y="1860109"/>
            <a:ext cx="2526147" cy="1682664"/>
            <a:chOff x="628650" y="2203536"/>
            <a:chExt cx="2526147" cy="1682664"/>
          </a:xfrm>
          <a:solidFill>
            <a:schemeClr val="accent5"/>
          </a:solidFill>
        </p:grpSpPr>
        <p:sp>
          <p:nvSpPr>
            <p:cNvPr id="16" name="Speech Bubble: Rectangle with Corners Rounded 15">
              <a:extLst>
                <a:ext uri="{FF2B5EF4-FFF2-40B4-BE49-F238E27FC236}">
                  <a16:creationId xmlns:a16="http://schemas.microsoft.com/office/drawing/2014/main" id="{9FE75FD3-681A-4CF7-AB79-A7AD382E82DC}"/>
                </a:ext>
              </a:extLst>
            </p:cNvPr>
            <p:cNvSpPr/>
            <p:nvPr/>
          </p:nvSpPr>
          <p:spPr>
            <a:xfrm>
              <a:off x="628650" y="2203536"/>
              <a:ext cx="2526147" cy="1682664"/>
            </a:xfrm>
            <a:prstGeom prst="wedgeRoundRectCallou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4476F53A-F813-4F74-AAA4-F084FF9BEBAD}"/>
                </a:ext>
              </a:extLst>
            </p:cNvPr>
            <p:cNvSpPr txBox="1"/>
            <p:nvPr/>
          </p:nvSpPr>
          <p:spPr>
            <a:xfrm>
              <a:off x="736173" y="2501348"/>
              <a:ext cx="2418624" cy="1200329"/>
            </a:xfrm>
            <a:prstGeom prst="rect">
              <a:avLst/>
            </a:prstGeom>
            <a:grpFill/>
          </p:spPr>
          <p:txBody>
            <a:bodyPr wrap="square" rtlCol="0">
              <a:spAutoFit/>
            </a:bodyPr>
            <a:lstStyle/>
            <a:p>
              <a:pPr algn="ctr"/>
              <a:r>
                <a:rPr lang="en-US" sz="1800" b="1" dirty="0"/>
                <a:t>17 Accommodation Properties </a:t>
              </a:r>
              <a:r>
                <a:rPr lang="en-US" b="1" dirty="0"/>
                <a:t>Inspected Thus Far</a:t>
              </a:r>
              <a:endParaRPr lang="en-US" sz="1800" b="1" dirty="0"/>
            </a:p>
            <a:p>
              <a:endParaRPr lang="en-US" dirty="0"/>
            </a:p>
          </p:txBody>
        </p:sp>
      </p:grpSp>
    </p:spTree>
    <p:extLst>
      <p:ext uri="{BB962C8B-B14F-4D97-AF65-F5344CB8AC3E}">
        <p14:creationId xmlns:p14="http://schemas.microsoft.com/office/powerpoint/2010/main" val="276873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7486A1-A038-5358-C42B-9A302BF4332A}"/>
              </a:ext>
            </a:extLst>
          </p:cNvPr>
          <p:cNvSpPr txBox="1"/>
          <p:nvPr/>
        </p:nvSpPr>
        <p:spPr>
          <a:xfrm>
            <a:off x="-24215" y="2204864"/>
            <a:ext cx="3118319" cy="954107"/>
          </a:xfrm>
          <a:prstGeom prst="rect">
            <a:avLst/>
          </a:prstGeom>
          <a:noFill/>
        </p:spPr>
        <p:txBody>
          <a:bodyPr wrap="square" rtlCol="0">
            <a:spAutoFit/>
          </a:bodyPr>
          <a:lstStyle/>
          <a:p>
            <a:pPr algn="ctr"/>
            <a:r>
              <a:rPr lang="en-US" sz="2800" b="1" dirty="0">
                <a:latin typeface="Arial" panose="020B0604020202020204" pitchFamily="34" charset="0"/>
                <a:cs typeface="Arial" panose="020B0604020202020204" pitchFamily="34" charset="0"/>
              </a:rPr>
              <a:t>ORDER OF PRESENTATION</a:t>
            </a:r>
            <a:endParaRPr lang="en-LC" sz="2800" b="1" dirty="0">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CDFA7C8C-1764-14A1-5884-2A90776F115D}"/>
              </a:ext>
            </a:extLst>
          </p:cNvPr>
          <p:cNvSpPr txBox="1">
            <a:spLocks noGrp="1"/>
          </p:cNvSpPr>
          <p:nvPr>
            <p:ph sz="quarter" idx="10"/>
          </p:nvPr>
        </p:nvSpPr>
        <p:spPr>
          <a:xfrm>
            <a:off x="3117850" y="0"/>
            <a:ext cx="9074150" cy="6868868"/>
          </a:xfrm>
          <a:prstGeom prst="rect">
            <a:avLst/>
          </a:prstGeom>
          <a:noFill/>
        </p:spPr>
        <p:txBody>
          <a:bodyPr wrap="square" rtlCol="0">
            <a:spAutoFit/>
          </a:bodyPr>
          <a:lstStyle/>
          <a:p>
            <a:pPr marL="342900" indent="-3429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Introduction</a:t>
            </a:r>
          </a:p>
          <a:p>
            <a:pPr marL="800100" lvl="1" indent="-342900">
              <a:lnSpc>
                <a:spcPct val="150000"/>
              </a:lnSpc>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Presentation Team  </a:t>
            </a:r>
            <a:endParaRPr lang="en-US" sz="1600" b="1" dirty="0">
              <a:latin typeface="Open Sans" panose="020B0606030504020204" pitchFamily="34" charset="0"/>
              <a:ea typeface="Open Sans" panose="020B0606030504020204" pitchFamily="34" charset="0"/>
              <a:cs typeface="Open Sans" panose="020B0606030504020204" pitchFamily="34" charset="0"/>
            </a:endParaRPr>
          </a:p>
          <a:p>
            <a:pPr marL="342900" indent="-3429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Tourism Development Act </a:t>
            </a:r>
          </a:p>
          <a:p>
            <a:pPr marL="800100" lvl="1" indent="-342900">
              <a:lnSpc>
                <a:spcPct val="150000"/>
              </a:lnSpc>
            </a:pPr>
            <a:r>
              <a:rPr lang="en-US" sz="1600" dirty="0">
                <a:latin typeface="Open Sans" panose="020B0606030504020204" pitchFamily="34" charset="0"/>
                <a:ea typeface="Open Sans" panose="020B0606030504020204" pitchFamily="34" charset="0"/>
                <a:cs typeface="Open Sans" panose="020B0606030504020204" pitchFamily="34" charset="0"/>
              </a:rPr>
              <a:t>TDA Timeline &amp; TDA Background</a:t>
            </a:r>
          </a:p>
          <a:p>
            <a:pPr marL="457200" indent="-4572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 Certification</a:t>
            </a:r>
            <a:endParaRPr lang="en-US" sz="1600" dirty="0">
              <a:latin typeface="Open Sans" panose="020B0606030504020204" pitchFamily="34" charset="0"/>
              <a:ea typeface="Open Sans" panose="020B0606030504020204" pitchFamily="34" charset="0"/>
              <a:cs typeface="Open Sans" panose="020B0606030504020204" pitchFamily="34" charset="0"/>
            </a:endParaRPr>
          </a:p>
          <a:p>
            <a:pPr lvl="1">
              <a:lnSpc>
                <a:spcPct val="150000"/>
              </a:lnSpc>
            </a:pPr>
            <a:r>
              <a:rPr lang="en-US" sz="1600" dirty="0">
                <a:latin typeface="Open Sans" panose="020B0606030504020204" pitchFamily="34" charset="0"/>
              </a:rPr>
              <a:t>Status of Certification</a:t>
            </a:r>
            <a:endParaRPr lang="en-US" sz="1600" b="1" dirty="0">
              <a:latin typeface="Open Sans" panose="020B0606030504020204" pitchFamily="34" charset="0"/>
              <a:ea typeface="Open Sans" panose="020B0606030504020204" pitchFamily="34" charset="0"/>
              <a:cs typeface="Open Sans" panose="020B0606030504020204" pitchFamily="34" charset="0"/>
            </a:endParaRPr>
          </a:p>
          <a:p>
            <a:pPr marL="342900" indent="-3429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Room Stock Update</a:t>
            </a:r>
          </a:p>
          <a:p>
            <a:pPr marL="800100" lvl="1" indent="-342900">
              <a:lnSpc>
                <a:spcPct val="150000"/>
              </a:lnSpc>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Current Room Stock/Room Stock Under Construction </a:t>
            </a:r>
          </a:p>
          <a:p>
            <a:pPr marL="800100" lvl="1" indent="-342900">
              <a:lnSpc>
                <a:spcPct val="150000"/>
              </a:lnSpc>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Room Stock by Product Classification and Geographic Location</a:t>
            </a:r>
            <a:r>
              <a:rPr lang="en-US" sz="1400" b="1" dirty="0">
                <a:latin typeface="Open Sans" panose="020B0606030504020204" pitchFamily="34" charset="0"/>
                <a:ea typeface="Open Sans" panose="020B0606030504020204" pitchFamily="34" charset="0"/>
                <a:cs typeface="Open Sans" panose="020B0606030504020204" pitchFamily="34" charset="0"/>
              </a:rPr>
              <a:t>		</a:t>
            </a:r>
          </a:p>
          <a:p>
            <a:pPr marL="457200" indent="-4572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Tourism Incentives</a:t>
            </a:r>
          </a:p>
          <a:p>
            <a:pPr marL="800100" lvl="1" indent="-342900">
              <a:lnSpc>
                <a:spcPct val="150000"/>
              </a:lnSpc>
            </a:pPr>
            <a:r>
              <a:rPr lang="en-US" sz="1600" dirty="0">
                <a:latin typeface="Open Sans" panose="020B0606030504020204" pitchFamily="34" charset="0"/>
              </a:rPr>
              <a:t>Requirements for Tourism Incentives</a:t>
            </a:r>
          </a:p>
          <a:p>
            <a:pPr marL="800100" lvl="1" indent="-342900">
              <a:lnSpc>
                <a:spcPct val="150000"/>
              </a:lnSpc>
            </a:pPr>
            <a:r>
              <a:rPr lang="en-US" sz="1600" dirty="0">
                <a:latin typeface="Open Sans" panose="020B0606030504020204" pitchFamily="34" charset="0"/>
              </a:rPr>
              <a:t>Incentives Process and Flow Chart</a:t>
            </a:r>
          </a:p>
          <a:p>
            <a:pPr marL="800100" lvl="1" indent="-342900">
              <a:lnSpc>
                <a:spcPct val="150000"/>
              </a:lnSpc>
            </a:pPr>
            <a:r>
              <a:rPr lang="en-US" sz="1600" dirty="0">
                <a:latin typeface="Open Sans" panose="020B0606030504020204" pitchFamily="34" charset="0"/>
              </a:rPr>
              <a:t>Incentives Tables</a:t>
            </a:r>
          </a:p>
          <a:p>
            <a:pPr marL="457200" indent="-4572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Government’s Investment in Tourism Development </a:t>
            </a:r>
          </a:p>
          <a:p>
            <a:pPr marL="457200" indent="-457200">
              <a:lnSpc>
                <a:spcPct val="150000"/>
              </a:lnSpc>
              <a:buFont typeface="+mj-lt"/>
              <a:buAutoNum type="arabicPeriod"/>
            </a:pPr>
            <a:r>
              <a:rPr lang="en-US" sz="1600" b="1" dirty="0">
                <a:latin typeface="Open Sans" panose="020B0606030504020204" pitchFamily="34" charset="0"/>
                <a:ea typeface="Open Sans" panose="020B0606030504020204" pitchFamily="34" charset="0"/>
                <a:cs typeface="Open Sans" panose="020B0606030504020204" pitchFamily="34" charset="0"/>
              </a:rPr>
              <a:t>Questions and Answers </a:t>
            </a:r>
          </a:p>
        </p:txBody>
      </p:sp>
    </p:spTree>
    <p:extLst>
      <p:ext uri="{BB962C8B-B14F-4D97-AF65-F5344CB8AC3E}">
        <p14:creationId xmlns:p14="http://schemas.microsoft.com/office/powerpoint/2010/main" val="29053180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2A77942F-CBF9-B258-46CF-03C1F1057844}"/>
              </a:ext>
            </a:extLst>
          </p:cNvPr>
          <p:cNvSpPr txBox="1"/>
          <p:nvPr/>
        </p:nvSpPr>
        <p:spPr>
          <a:xfrm>
            <a:off x="1847528" y="304393"/>
            <a:ext cx="8496944" cy="954107"/>
          </a:xfrm>
          <a:prstGeom prst="rect">
            <a:avLst/>
          </a:prstGeom>
          <a:noFill/>
        </p:spPr>
        <p:txBody>
          <a:bodyPr wrap="square" rtlCol="0" anchor="ctr">
            <a:spAutoFit/>
          </a:bodyPr>
          <a:lstStyle/>
          <a:p>
            <a:pPr algn="ctr"/>
            <a:r>
              <a:rPr lang="en-US" sz="2800" b="1" dirty="0">
                <a:latin typeface="Poppins" pitchFamily="2" charset="77"/>
                <a:cs typeface="Poppins" pitchFamily="2" charset="77"/>
              </a:rPr>
              <a:t>ACCOMMODATION REQUIREMENTS FOR CERTIFICATION</a:t>
            </a:r>
          </a:p>
        </p:txBody>
      </p:sp>
      <p:sp>
        <p:nvSpPr>
          <p:cNvPr id="21" name="Rectangle 1">
            <a:extLst>
              <a:ext uri="{FF2B5EF4-FFF2-40B4-BE49-F238E27FC236}">
                <a16:creationId xmlns:a16="http://schemas.microsoft.com/office/drawing/2014/main" id="{AACD2482-C0BC-994B-CCEC-16C8745D06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5" name="Table 4">
            <a:extLst>
              <a:ext uri="{FF2B5EF4-FFF2-40B4-BE49-F238E27FC236}">
                <a16:creationId xmlns:a16="http://schemas.microsoft.com/office/drawing/2014/main" id="{FAB91626-6CCA-EDFC-7125-F03417A38FFB}"/>
              </a:ext>
            </a:extLst>
          </p:cNvPr>
          <p:cNvGraphicFramePr>
            <a:graphicFrameLocks noGrp="1"/>
          </p:cNvGraphicFramePr>
          <p:nvPr>
            <p:extLst>
              <p:ext uri="{D42A27DB-BD31-4B8C-83A1-F6EECF244321}">
                <p14:modId xmlns:p14="http://schemas.microsoft.com/office/powerpoint/2010/main" val="3766504026"/>
              </p:ext>
            </p:extLst>
          </p:nvPr>
        </p:nvGraphicFramePr>
        <p:xfrm>
          <a:off x="1097280" y="1755648"/>
          <a:ext cx="9607296" cy="4582513"/>
        </p:xfrm>
        <a:graphic>
          <a:graphicData uri="http://schemas.openxmlformats.org/drawingml/2006/table">
            <a:tbl>
              <a:tblPr/>
              <a:tblGrid>
                <a:gridCol w="9607296">
                  <a:extLst>
                    <a:ext uri="{9D8B030D-6E8A-4147-A177-3AD203B41FA5}">
                      <a16:colId xmlns:a16="http://schemas.microsoft.com/office/drawing/2014/main" val="2117755728"/>
                    </a:ext>
                  </a:extLst>
                </a:gridCol>
              </a:tblGrid>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Certificate of Registration of Business Name or Certification of Incorporation</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27158937"/>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Return of Allotments (where applicable)</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8747861"/>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a:effectLst/>
                          <a:latin typeface="Calibri" panose="020F0502020204030204" pitchFamily="34" charset="0"/>
                          <a:ea typeface="Times New Roman" panose="02020603050405020304" pitchFamily="18" charset="0"/>
                          <a:cs typeface="Times New Roman" panose="02020603050405020304" pitchFamily="18" charset="0"/>
                        </a:rPr>
                        <a:t>Certificate of Good Standing (where applicable)</a:t>
                      </a:r>
                      <a:endParaRPr lang="en-US" sz="2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4821828"/>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Proof of Registration with the Inland Revenue Department</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133016626"/>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Proof of Registration with the National Insurance Corporation</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75082545"/>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Trade </a:t>
                      </a:r>
                      <a:r>
                        <a:rPr lang="en-US" sz="2000" dirty="0" err="1">
                          <a:effectLst/>
                          <a:latin typeface="Calibri" panose="020F0502020204030204" pitchFamily="34" charset="0"/>
                          <a:ea typeface="Times New Roman" panose="02020603050405020304" pitchFamily="18" charset="0"/>
                          <a:cs typeface="Times New Roman" panose="02020603050405020304" pitchFamily="18" charset="0"/>
                        </a:rPr>
                        <a:t>Licence</a:t>
                      </a: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 (where applicable)</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3941468"/>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Public Health </a:t>
                      </a:r>
                      <a:r>
                        <a:rPr lang="en-US" sz="2000" dirty="0" err="1">
                          <a:effectLst/>
                          <a:latin typeface="Calibri" panose="020F0502020204030204" pitchFamily="34" charset="0"/>
                          <a:ea typeface="Times New Roman" panose="02020603050405020304" pitchFamily="18" charset="0"/>
                          <a:cs typeface="Times New Roman" panose="02020603050405020304" pitchFamily="18" charset="0"/>
                        </a:rPr>
                        <a:t>Licence</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71050640"/>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a:effectLst/>
                          <a:latin typeface="Calibri" panose="020F0502020204030204" pitchFamily="34" charset="0"/>
                          <a:ea typeface="Times New Roman" panose="02020603050405020304" pitchFamily="18" charset="0"/>
                          <a:cs typeface="Times New Roman" panose="02020603050405020304" pitchFamily="18" charset="0"/>
                        </a:rPr>
                        <a:t>Food Handler Certificate (where applicable)</a:t>
                      </a:r>
                      <a:endParaRPr lang="en-US" sz="2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9621255"/>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a:effectLst/>
                          <a:latin typeface="Calibri" panose="020F0502020204030204" pitchFamily="34" charset="0"/>
                          <a:ea typeface="Times New Roman" panose="02020603050405020304" pitchFamily="18" charset="0"/>
                          <a:cs typeface="Times New Roman" panose="02020603050405020304" pitchFamily="18" charset="0"/>
                        </a:rPr>
                        <a:t>Liquor Licence (where applicable)</a:t>
                      </a:r>
                      <a:endParaRPr lang="en-US" sz="2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1194562"/>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Proof of Public Liability Insurance</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226726529"/>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a:effectLst/>
                          <a:latin typeface="Calibri" panose="020F0502020204030204" pitchFamily="34" charset="0"/>
                          <a:ea typeface="Times New Roman" panose="02020603050405020304" pitchFamily="18" charset="0"/>
                          <a:cs typeface="Times New Roman" panose="02020603050405020304" pitchFamily="18" charset="0"/>
                        </a:rPr>
                        <a:t>Letter of Compliance from the Saint Lucia Tourism Authority (where applicable)</a:t>
                      </a:r>
                      <a:endParaRPr lang="en-US" sz="2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3058493"/>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a:effectLst/>
                          <a:latin typeface="Calibri" panose="020F0502020204030204" pitchFamily="34" charset="0"/>
                          <a:ea typeface="Times New Roman" panose="02020603050405020304" pitchFamily="18" charset="0"/>
                          <a:cs typeface="Times New Roman" panose="02020603050405020304" pitchFamily="18" charset="0"/>
                        </a:rPr>
                        <a:t>Development Control Authority Approval (at least in principle)</a:t>
                      </a:r>
                      <a:endParaRPr lang="en-US" sz="2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0053422"/>
                  </a:ext>
                </a:extLst>
              </a:tr>
              <a:tr h="352501">
                <a:tc>
                  <a:txBody>
                    <a:bodyPr/>
                    <a:lstStyle/>
                    <a:p>
                      <a:pPr marL="0" marR="0">
                        <a:spcBef>
                          <a:spcPts val="0"/>
                        </a:spcBef>
                        <a:spcAft>
                          <a:spcPts val="400"/>
                        </a:spcAft>
                        <a:tabLst>
                          <a:tab pos="540385" algn="l"/>
                          <a:tab pos="900430" algn="l"/>
                          <a:tab pos="5850890" algn="r"/>
                          <a:tab pos="457200" algn="l"/>
                          <a:tab pos="540385" algn="l"/>
                          <a:tab pos="800100" algn="l"/>
                          <a:tab pos="900430" algn="l"/>
                          <a:tab pos="5850890" algn="r"/>
                        </a:tabLst>
                      </a:pPr>
                      <a:r>
                        <a:rPr lang="en-US" sz="2000" dirty="0">
                          <a:effectLst/>
                          <a:latin typeface="Calibri" panose="020F0502020204030204" pitchFamily="34" charset="0"/>
                          <a:ea typeface="Times New Roman" panose="02020603050405020304" pitchFamily="18" charset="0"/>
                          <a:cs typeface="Times New Roman" panose="02020603050405020304" pitchFamily="18" charset="0"/>
                        </a:rPr>
                        <a:t>Land Register or Agreement for Lease</a:t>
                      </a:r>
                      <a:endParaRPr lang="en-US" sz="2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61168429"/>
                  </a:ext>
                </a:extLst>
              </a:tr>
            </a:tbl>
          </a:graphicData>
        </a:graphic>
      </p:graphicFrame>
    </p:spTree>
    <p:extLst>
      <p:ext uri="{BB962C8B-B14F-4D97-AF65-F5344CB8AC3E}">
        <p14:creationId xmlns:p14="http://schemas.microsoft.com/office/powerpoint/2010/main" val="2079914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AD9371-6F70-4112-9A34-8DBCB5CACB11}"/>
              </a:ext>
            </a:extLst>
          </p:cNvPr>
          <p:cNvSpPr/>
          <p:nvPr/>
        </p:nvSpPr>
        <p:spPr>
          <a:xfrm>
            <a:off x="1903820" y="1964721"/>
            <a:ext cx="8384360" cy="4179369"/>
          </a:xfrm>
          <a:prstGeom prst="rect">
            <a:avLst/>
          </a:prstGeom>
          <a:no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A77942F-CBF9-B258-46CF-03C1F1057844}"/>
              </a:ext>
            </a:extLst>
          </p:cNvPr>
          <p:cNvSpPr txBox="1"/>
          <p:nvPr/>
        </p:nvSpPr>
        <p:spPr>
          <a:xfrm>
            <a:off x="1847528" y="519836"/>
            <a:ext cx="8496944" cy="523220"/>
          </a:xfrm>
          <a:prstGeom prst="rect">
            <a:avLst/>
          </a:prstGeom>
          <a:noFill/>
        </p:spPr>
        <p:txBody>
          <a:bodyPr wrap="square" rtlCol="0" anchor="ctr">
            <a:spAutoFit/>
          </a:bodyPr>
          <a:lstStyle/>
          <a:p>
            <a:pPr algn="ctr"/>
            <a:r>
              <a:rPr lang="en-US" sz="2800" b="1">
                <a:latin typeface="Poppins" pitchFamily="2" charset="77"/>
                <a:cs typeface="Poppins" pitchFamily="2" charset="77"/>
              </a:rPr>
              <a:t>UPDATE ON THE </a:t>
            </a:r>
            <a:r>
              <a:rPr lang="en-US" sz="2800" b="1" dirty="0">
                <a:latin typeface="Poppins" pitchFamily="2" charset="77"/>
                <a:cs typeface="Poppins" pitchFamily="2" charset="77"/>
              </a:rPr>
              <a:t>CERTIFICATION UNIT</a:t>
            </a:r>
          </a:p>
        </p:txBody>
      </p:sp>
      <p:sp>
        <p:nvSpPr>
          <p:cNvPr id="21" name="Rectangle 1">
            <a:extLst>
              <a:ext uri="{FF2B5EF4-FFF2-40B4-BE49-F238E27FC236}">
                <a16:creationId xmlns:a16="http://schemas.microsoft.com/office/drawing/2014/main" id="{AACD2482-C0BC-994B-CCEC-16C8745D068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3" name="TextBox 2">
            <a:extLst>
              <a:ext uri="{FF2B5EF4-FFF2-40B4-BE49-F238E27FC236}">
                <a16:creationId xmlns:a16="http://schemas.microsoft.com/office/drawing/2014/main" id="{549CF61E-EAF5-C882-94E5-FC54322202B7}"/>
              </a:ext>
            </a:extLst>
          </p:cNvPr>
          <p:cNvSpPr txBox="1"/>
          <p:nvPr/>
        </p:nvSpPr>
        <p:spPr>
          <a:xfrm>
            <a:off x="2410402" y="2558344"/>
            <a:ext cx="7877778" cy="3416320"/>
          </a:xfrm>
          <a:prstGeom prst="rect">
            <a:avLst/>
          </a:prstGeom>
          <a:noFill/>
        </p:spPr>
        <p:txBody>
          <a:bodyPr wrap="square">
            <a:spAutoFit/>
          </a:bodyPr>
          <a:lstStyle/>
          <a:p>
            <a:pPr algn="just"/>
            <a:endParaRPr lang="en-US" sz="2400" dirty="0"/>
          </a:p>
          <a:p>
            <a:pPr marL="342900" indent="-342900" algn="just">
              <a:buFont typeface="Arial" panose="020B0604020202020204" pitchFamily="34" charset="0"/>
              <a:buChar char="•"/>
            </a:pPr>
            <a:r>
              <a:rPr lang="en-US" sz="2400" dirty="0"/>
              <a:t>Daily Certification Solicitation Target: 10 per day</a:t>
            </a:r>
          </a:p>
          <a:p>
            <a:pPr algn="just"/>
            <a:endParaRPr lang="en-US" sz="2400" dirty="0"/>
          </a:p>
          <a:p>
            <a:pPr marL="342900" indent="-342900" algn="just">
              <a:buFont typeface="Arial" panose="020B0604020202020204" pitchFamily="34" charset="0"/>
              <a:buChar char="•"/>
            </a:pPr>
            <a:r>
              <a:rPr lang="en-US" sz="2400" dirty="0"/>
              <a:t>Daily Follow-Up Target: 20 per day</a:t>
            </a:r>
          </a:p>
          <a:p>
            <a:pPr algn="just"/>
            <a:endParaRPr lang="en-US" sz="2400" dirty="0"/>
          </a:p>
          <a:p>
            <a:pPr marL="342900" indent="-342900" algn="just">
              <a:buFont typeface="Arial" panose="020B0604020202020204" pitchFamily="34" charset="0"/>
              <a:buChar char="•"/>
            </a:pPr>
            <a:r>
              <a:rPr lang="en-US" sz="2400" dirty="0"/>
              <a:t>Weekly Inspection Target: 20 per Week </a:t>
            </a:r>
          </a:p>
          <a:p>
            <a:pPr marL="342900" indent="-342900" algn="just">
              <a:buFont typeface="Arial" panose="020B0604020202020204" pitchFamily="34" charset="0"/>
              <a:buChar char="•"/>
            </a:pPr>
            <a:endParaRPr lang="en-US" sz="2400" dirty="0"/>
          </a:p>
          <a:p>
            <a:pPr marL="342900" indent="-342900" algn="just">
              <a:buFont typeface="Arial" panose="020B0604020202020204" pitchFamily="34" charset="0"/>
              <a:buChar char="•"/>
            </a:pPr>
            <a:endParaRPr lang="en-US" sz="2400" b="1" dirty="0"/>
          </a:p>
          <a:p>
            <a:endParaRPr lang="en-US" sz="2400" dirty="0"/>
          </a:p>
        </p:txBody>
      </p:sp>
    </p:spTree>
    <p:extLst>
      <p:ext uri="{BB962C8B-B14F-4D97-AF65-F5344CB8AC3E}">
        <p14:creationId xmlns:p14="http://schemas.microsoft.com/office/powerpoint/2010/main" val="5368887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0DAA2-1618-4CE3-B093-5B91FB05D738}"/>
              </a:ext>
            </a:extLst>
          </p:cNvPr>
          <p:cNvSpPr>
            <a:spLocks noGrp="1"/>
          </p:cNvSpPr>
          <p:nvPr>
            <p:ph type="title"/>
          </p:nvPr>
        </p:nvSpPr>
        <p:spPr/>
        <p:txBody>
          <a:bodyPr/>
          <a:lstStyle/>
          <a:p>
            <a:r>
              <a:rPr lang="en-US" b="1" dirty="0">
                <a:latin typeface="Open Sans"/>
              </a:rPr>
              <a:t>ROOMSTOCK</a:t>
            </a:r>
          </a:p>
        </p:txBody>
      </p:sp>
      <p:sp>
        <p:nvSpPr>
          <p:cNvPr id="3" name="Text Placeholder 2">
            <a:extLst>
              <a:ext uri="{FF2B5EF4-FFF2-40B4-BE49-F238E27FC236}">
                <a16:creationId xmlns:a16="http://schemas.microsoft.com/office/drawing/2014/main" id="{3584A42F-1CFC-4D34-A869-1D2BA963ACB2}"/>
              </a:ext>
            </a:extLst>
          </p:cNvPr>
          <p:cNvSpPr>
            <a:spLocks noGrp="1"/>
          </p:cNvSpPr>
          <p:nvPr>
            <p:ph type="body" sz="quarter" idx="28"/>
          </p:nvPr>
        </p:nvSpPr>
        <p:spPr>
          <a:solidFill>
            <a:schemeClr val="bg1"/>
          </a:solidFill>
          <a:ln>
            <a:solidFill>
              <a:schemeClr val="bg1"/>
            </a:solidFill>
          </a:ln>
        </p:spPr>
        <p:txBody>
          <a:bodyPr/>
          <a:lstStyle/>
          <a:p>
            <a:r>
              <a:rPr lang="en-US" b="1" dirty="0">
                <a:solidFill>
                  <a:srgbClr val="00B0F0"/>
                </a:solidFill>
              </a:rPr>
              <a:t>Javan Lewis</a:t>
            </a:r>
          </a:p>
        </p:txBody>
      </p:sp>
      <p:pic>
        <p:nvPicPr>
          <p:cNvPr id="5" name="Picture 2" descr="Accommodation – Third generation metamaterials">
            <a:extLst>
              <a:ext uri="{FF2B5EF4-FFF2-40B4-BE49-F238E27FC236}">
                <a16:creationId xmlns:a16="http://schemas.microsoft.com/office/drawing/2014/main" id="{A4946A35-5232-4CDE-858D-A46DBDABA84F}"/>
              </a:ext>
            </a:extLst>
          </p:cNvPr>
          <p:cNvPicPr>
            <a:picLocks noGrp="1" noChangeAspect="1" noChangeArrowheads="1"/>
          </p:cNvPicPr>
          <p:nvPr>
            <p:ph type="pic" sz="quarter" idx="47"/>
          </p:nvPr>
        </p:nvPicPr>
        <p:blipFill>
          <a:blip r:embed="rId2">
            <a:extLst>
              <a:ext uri="{28A0092B-C50C-407E-A947-70E740481C1C}">
                <a14:useLocalDpi xmlns:a14="http://schemas.microsoft.com/office/drawing/2010/main" val="0"/>
              </a:ext>
            </a:extLst>
          </a:blip>
          <a:srcRect l="4707" r="4707"/>
          <a:stretch>
            <a:fillRect/>
          </a:stretch>
        </p:blipFill>
        <p:spPr bwMode="auto">
          <a:xfrm>
            <a:off x="6996100" y="1101669"/>
            <a:ext cx="4047848" cy="465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9897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020F38B-97B6-4247-B8E3-F04A5F738689}"/>
              </a:ext>
            </a:extLst>
          </p:cNvPr>
          <p:cNvGrpSpPr/>
          <p:nvPr/>
        </p:nvGrpSpPr>
        <p:grpSpPr>
          <a:xfrm>
            <a:off x="173072" y="1504572"/>
            <a:ext cx="6419821" cy="595923"/>
            <a:chOff x="202714" y="1526597"/>
            <a:chExt cx="6419821" cy="776450"/>
          </a:xfrm>
        </p:grpSpPr>
        <p:sp>
          <p:nvSpPr>
            <p:cNvPr id="4" name="DDDAA_3182019121337PM">
              <a:extLst>
                <a:ext uri="{FF2B5EF4-FFF2-40B4-BE49-F238E27FC236}">
                  <a16:creationId xmlns:a16="http://schemas.microsoft.com/office/drawing/2014/main" id="{B6C2D0E5-9D40-4037-99F9-15BAB5DC2A61}"/>
                </a:ext>
              </a:extLst>
            </p:cNvPr>
            <p:cNvSpPr/>
            <p:nvPr/>
          </p:nvSpPr>
          <p:spPr>
            <a:xfrm>
              <a:off x="202714" y="1526597"/>
              <a:ext cx="5922928" cy="776450"/>
            </a:xfrm>
            <a:prstGeom prst="rect">
              <a:avLst/>
            </a:prstGeom>
            <a:noFill/>
            <a:ln w="1270">
              <a:noFill/>
            </a:ln>
          </p:spPr>
          <p:style>
            <a:lnRef idx="2">
              <a:schemeClr val="accent1">
                <a:shade val="50000"/>
              </a:schemeClr>
            </a:lnRef>
            <a:fillRef idx="1">
              <a:schemeClr val="accent1"/>
            </a:fillRef>
            <a:effectRef idx="0">
              <a:schemeClr val="accent1"/>
            </a:effectRef>
            <a:fontRef idx="minor">
              <a:schemeClr val="lt1"/>
            </a:fontRef>
          </p:style>
          <p:txBody>
            <a:bodyPr wrap="square" tIns="81720" bIns="81720" rtlCol="0" anchor="t">
              <a:spAutoFit/>
            </a:bodyPr>
            <a:lstStyle/>
            <a:p>
              <a:r>
                <a:rPr lang="en-GB" sz="1400" b="1" dirty="0">
                  <a:solidFill>
                    <a:schemeClr val="tx1"/>
                  </a:solidFill>
                </a:rPr>
                <a:t>Tourism Sector </a:t>
              </a:r>
              <a:r>
                <a:rPr lang="en-GB" sz="1400" b="1" dirty="0" err="1">
                  <a:solidFill>
                    <a:schemeClr val="tx1"/>
                  </a:solidFill>
                </a:rPr>
                <a:t>Roomstock</a:t>
              </a:r>
              <a:r>
                <a:rPr lang="en-GB" sz="1400" b="1" dirty="0">
                  <a:solidFill>
                    <a:schemeClr val="tx1"/>
                  </a:solidFill>
                </a:rPr>
                <a:t> </a:t>
              </a:r>
            </a:p>
            <a:p>
              <a:r>
                <a:rPr lang="en-GB" sz="1400" dirty="0" err="1">
                  <a:solidFill>
                    <a:schemeClr val="tx1"/>
                  </a:solidFill>
                </a:rPr>
                <a:t>Roomstock</a:t>
              </a:r>
              <a:r>
                <a:rPr lang="en-GB" sz="1400" dirty="0">
                  <a:solidFill>
                    <a:schemeClr val="tx1"/>
                  </a:solidFill>
                </a:rPr>
                <a:t> figures to be updated during the current certification rollout.</a:t>
              </a:r>
            </a:p>
          </p:txBody>
        </p:sp>
        <p:cxnSp>
          <p:nvCxnSpPr>
            <p:cNvPr id="5" name="Straight Connector 4">
              <a:extLst>
                <a:ext uri="{FF2B5EF4-FFF2-40B4-BE49-F238E27FC236}">
                  <a16:creationId xmlns:a16="http://schemas.microsoft.com/office/drawing/2014/main" id="{71564CCF-EB06-477B-A4A8-697C8C08DAF5}"/>
                </a:ext>
              </a:extLst>
            </p:cNvPr>
            <p:cNvCxnSpPr>
              <a:cxnSpLocks/>
            </p:cNvCxnSpPr>
            <p:nvPr/>
          </p:nvCxnSpPr>
          <p:spPr>
            <a:xfrm flipV="1">
              <a:off x="287775" y="2223625"/>
              <a:ext cx="6334760" cy="1"/>
            </a:xfrm>
            <a:prstGeom prst="line">
              <a:avLst/>
            </a:prstGeom>
            <a:ln/>
          </p:spPr>
          <p:style>
            <a:lnRef idx="3">
              <a:schemeClr val="dk1"/>
            </a:lnRef>
            <a:fillRef idx="0">
              <a:schemeClr val="dk1"/>
            </a:fillRef>
            <a:effectRef idx="2">
              <a:schemeClr val="dk1"/>
            </a:effectRef>
            <a:fontRef idx="minor">
              <a:schemeClr val="tx1"/>
            </a:fontRef>
          </p:style>
        </p:cxnSp>
      </p:grpSp>
      <p:cxnSp>
        <p:nvCxnSpPr>
          <p:cNvPr id="6" name="Straight Connector 5">
            <a:extLst>
              <a:ext uri="{FF2B5EF4-FFF2-40B4-BE49-F238E27FC236}">
                <a16:creationId xmlns:a16="http://schemas.microsoft.com/office/drawing/2014/main" id="{40DBF731-0EFB-4A7F-A0EE-68F9577C13F4}"/>
              </a:ext>
            </a:extLst>
          </p:cNvPr>
          <p:cNvCxnSpPr/>
          <p:nvPr/>
        </p:nvCxnSpPr>
        <p:spPr>
          <a:xfrm>
            <a:off x="6932424" y="1905345"/>
            <a:ext cx="0" cy="460890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5FBB823-2C99-4DF3-9655-34FD86173798}"/>
              </a:ext>
            </a:extLst>
          </p:cNvPr>
          <p:cNvCxnSpPr>
            <a:cxnSpLocks/>
          </p:cNvCxnSpPr>
          <p:nvPr/>
        </p:nvCxnSpPr>
        <p:spPr>
          <a:xfrm flipH="1">
            <a:off x="7731467" y="5257333"/>
            <a:ext cx="3667239" cy="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DCBBBAF-B427-4B74-8F04-6E42E211CAFD}"/>
              </a:ext>
            </a:extLst>
          </p:cNvPr>
          <p:cNvSpPr txBox="1"/>
          <p:nvPr/>
        </p:nvSpPr>
        <p:spPr>
          <a:xfrm>
            <a:off x="6932424" y="5360880"/>
            <a:ext cx="5421307" cy="646331"/>
          </a:xfrm>
          <a:prstGeom prst="rect">
            <a:avLst/>
          </a:prstGeom>
          <a:noFill/>
        </p:spPr>
        <p:txBody>
          <a:bodyPr wrap="square" rtlCol="0">
            <a:spAutoFit/>
          </a:bodyPr>
          <a:lstStyle/>
          <a:p>
            <a:pPr algn="ctr"/>
            <a:r>
              <a:rPr lang="en-029" sz="1200" dirty="0">
                <a:latin typeface="Arial" panose="020B0604020202020204" pitchFamily="34" charset="0"/>
                <a:cs typeface="Arial" panose="020B0604020202020204" pitchFamily="34" charset="0"/>
              </a:rPr>
              <a:t>Tourism Accommodation Projects currently under construction include; Secrets Resort, Courtyard Marriot, Cas </a:t>
            </a:r>
            <a:r>
              <a:rPr lang="en-029" sz="1200" dirty="0" err="1">
                <a:latin typeface="Arial" panose="020B0604020202020204" pitchFamily="34" charset="0"/>
                <a:cs typeface="Arial" panose="020B0604020202020204" pitchFamily="34" charset="0"/>
              </a:rPr>
              <a:t>en</a:t>
            </a:r>
            <a:r>
              <a:rPr lang="en-029" sz="1200" dirty="0">
                <a:latin typeface="Arial" panose="020B0604020202020204" pitchFamily="34" charset="0"/>
                <a:cs typeface="Arial" panose="020B0604020202020204" pitchFamily="34" charset="0"/>
              </a:rPr>
              <a:t> Bas Beach Resort, Hyatt Hotel, and Atlas Group. </a:t>
            </a:r>
          </a:p>
        </p:txBody>
      </p:sp>
      <p:sp>
        <p:nvSpPr>
          <p:cNvPr id="10" name="Rectangle 9">
            <a:extLst>
              <a:ext uri="{FF2B5EF4-FFF2-40B4-BE49-F238E27FC236}">
                <a16:creationId xmlns:a16="http://schemas.microsoft.com/office/drawing/2014/main" id="{467DD69F-7683-4D3D-9529-8C7A2D43578A}"/>
              </a:ext>
            </a:extLst>
          </p:cNvPr>
          <p:cNvSpPr/>
          <p:nvPr/>
        </p:nvSpPr>
        <p:spPr>
          <a:xfrm>
            <a:off x="305294" y="2233253"/>
            <a:ext cx="6240438" cy="3783483"/>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descr="Accommodation – Third generation metamaterials">
            <a:extLst>
              <a:ext uri="{FF2B5EF4-FFF2-40B4-BE49-F238E27FC236}">
                <a16:creationId xmlns:a16="http://schemas.microsoft.com/office/drawing/2014/main" id="{E1A67B4B-CF66-40CB-A529-E58CF48431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471" y="2830363"/>
            <a:ext cx="913153" cy="9512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Accommodation – Third generation metamaterials">
            <a:extLst>
              <a:ext uri="{FF2B5EF4-FFF2-40B4-BE49-F238E27FC236}">
                <a16:creationId xmlns:a16="http://schemas.microsoft.com/office/drawing/2014/main" id="{16F471E8-4F46-47A3-A86E-22C84C326E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527" y="3331523"/>
            <a:ext cx="913153" cy="9512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Accommodation – Third generation metamaterials">
            <a:extLst>
              <a:ext uri="{FF2B5EF4-FFF2-40B4-BE49-F238E27FC236}">
                <a16:creationId xmlns:a16="http://schemas.microsoft.com/office/drawing/2014/main" id="{33FD37BE-5A55-4592-B4B8-1C93C157C4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2583" y="2437727"/>
            <a:ext cx="913153" cy="95120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E814A3E6-E01C-4A58-BCCE-0A6371CB77F5}"/>
              </a:ext>
            </a:extLst>
          </p:cNvPr>
          <p:cNvSpPr/>
          <p:nvPr/>
        </p:nvSpPr>
        <p:spPr>
          <a:xfrm>
            <a:off x="742950" y="3807123"/>
            <a:ext cx="552450" cy="2200088"/>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1654FC9-FC82-4EE3-9997-9047C3BC6993}"/>
              </a:ext>
            </a:extLst>
          </p:cNvPr>
          <p:cNvSpPr/>
          <p:nvPr/>
        </p:nvSpPr>
        <p:spPr>
          <a:xfrm>
            <a:off x="3060878" y="4282724"/>
            <a:ext cx="552450" cy="1724487"/>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7A8E0F8-FF1C-4182-98E8-C4D4CA163246}"/>
              </a:ext>
            </a:extLst>
          </p:cNvPr>
          <p:cNvSpPr/>
          <p:nvPr/>
        </p:nvSpPr>
        <p:spPr>
          <a:xfrm>
            <a:off x="5362934" y="3450023"/>
            <a:ext cx="552450" cy="256032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3F89ADD-0524-49D8-AD3E-8A1A373801B0}"/>
              </a:ext>
            </a:extLst>
          </p:cNvPr>
          <p:cNvSpPr/>
          <p:nvPr/>
        </p:nvSpPr>
        <p:spPr>
          <a:xfrm>
            <a:off x="305844" y="6149494"/>
            <a:ext cx="1458405" cy="461665"/>
          </a:xfrm>
          <a:prstGeom prst="rect">
            <a:avLst/>
          </a:prstGeom>
        </p:spPr>
        <p:txBody>
          <a:bodyPr wrap="square">
            <a:spAutoFit/>
          </a:bodyPr>
          <a:lstStyle/>
          <a:p>
            <a:pPr algn="ctr"/>
            <a:r>
              <a:rPr lang="en-MY" sz="1200" b="1" dirty="0">
                <a:latin typeface="Arial" panose="020B0604020202020204" pitchFamily="34" charset="0"/>
                <a:cs typeface="Arial" panose="020B0604020202020204" pitchFamily="34" charset="0"/>
              </a:rPr>
              <a:t>Hotel Properties Accommodation</a:t>
            </a:r>
          </a:p>
        </p:txBody>
      </p:sp>
      <p:sp>
        <p:nvSpPr>
          <p:cNvPr id="19" name="Rectangle 18">
            <a:extLst>
              <a:ext uri="{FF2B5EF4-FFF2-40B4-BE49-F238E27FC236}">
                <a16:creationId xmlns:a16="http://schemas.microsoft.com/office/drawing/2014/main" id="{D1BCA0D9-22FD-4B70-AD41-D73878EF833B}"/>
              </a:ext>
            </a:extLst>
          </p:cNvPr>
          <p:cNvSpPr/>
          <p:nvPr/>
        </p:nvSpPr>
        <p:spPr>
          <a:xfrm>
            <a:off x="2607900" y="6130593"/>
            <a:ext cx="1458405" cy="461665"/>
          </a:xfrm>
          <a:prstGeom prst="rect">
            <a:avLst/>
          </a:prstGeom>
        </p:spPr>
        <p:txBody>
          <a:bodyPr wrap="square">
            <a:spAutoFit/>
          </a:bodyPr>
          <a:lstStyle/>
          <a:p>
            <a:pPr algn="ctr"/>
            <a:r>
              <a:rPr lang="en-MY" sz="1200" b="1" dirty="0">
                <a:latin typeface="Arial" panose="020B0604020202020204" pitchFamily="34" charset="0"/>
                <a:cs typeface="Arial" panose="020B0604020202020204" pitchFamily="34" charset="0"/>
              </a:rPr>
              <a:t>Vacation Rentals Accommodation</a:t>
            </a:r>
          </a:p>
        </p:txBody>
      </p:sp>
      <p:sp>
        <p:nvSpPr>
          <p:cNvPr id="20" name="Rectangle 19">
            <a:extLst>
              <a:ext uri="{FF2B5EF4-FFF2-40B4-BE49-F238E27FC236}">
                <a16:creationId xmlns:a16="http://schemas.microsoft.com/office/drawing/2014/main" id="{9DAEB7D0-EE78-4D8E-A66C-1F0FD56FBEA6}"/>
              </a:ext>
            </a:extLst>
          </p:cNvPr>
          <p:cNvSpPr/>
          <p:nvPr/>
        </p:nvSpPr>
        <p:spPr>
          <a:xfrm>
            <a:off x="4909956" y="6149494"/>
            <a:ext cx="1458405" cy="461665"/>
          </a:xfrm>
          <a:prstGeom prst="rect">
            <a:avLst/>
          </a:prstGeom>
        </p:spPr>
        <p:txBody>
          <a:bodyPr wrap="square">
            <a:spAutoFit/>
          </a:bodyPr>
          <a:lstStyle/>
          <a:p>
            <a:pPr algn="ctr"/>
            <a:r>
              <a:rPr lang="en-MY" sz="1200" b="1" dirty="0">
                <a:latin typeface="Arial" panose="020B0604020202020204" pitchFamily="34" charset="0"/>
                <a:cs typeface="Arial" panose="020B0604020202020204" pitchFamily="34" charset="0"/>
              </a:rPr>
              <a:t>Total Accommodation</a:t>
            </a:r>
          </a:p>
        </p:txBody>
      </p:sp>
      <p:sp>
        <p:nvSpPr>
          <p:cNvPr id="21" name="TextBox 20">
            <a:extLst>
              <a:ext uri="{FF2B5EF4-FFF2-40B4-BE49-F238E27FC236}">
                <a16:creationId xmlns:a16="http://schemas.microsoft.com/office/drawing/2014/main" id="{01095161-7F06-4E38-9DC6-C8FE9F6B4737}"/>
              </a:ext>
            </a:extLst>
          </p:cNvPr>
          <p:cNvSpPr txBox="1"/>
          <p:nvPr/>
        </p:nvSpPr>
        <p:spPr>
          <a:xfrm rot="16200000">
            <a:off x="363620" y="4812307"/>
            <a:ext cx="1311109" cy="338554"/>
          </a:xfrm>
          <a:prstGeom prst="rect">
            <a:avLst/>
          </a:prstGeom>
          <a:noFill/>
        </p:spPr>
        <p:txBody>
          <a:bodyPr wrap="square" rtlCol="0">
            <a:spAutoFit/>
          </a:bodyPr>
          <a:lstStyle/>
          <a:p>
            <a:pPr algn="ctr"/>
            <a:r>
              <a:rPr lang="en-MY" sz="1600" b="1" dirty="0">
                <a:latin typeface="Arial" panose="020B0604020202020204" pitchFamily="34" charset="0"/>
                <a:cs typeface="Arial" panose="020B0604020202020204" pitchFamily="34" charset="0"/>
              </a:rPr>
              <a:t>3,501</a:t>
            </a:r>
          </a:p>
        </p:txBody>
      </p:sp>
      <p:sp>
        <p:nvSpPr>
          <p:cNvPr id="22" name="TextBox 21">
            <a:extLst>
              <a:ext uri="{FF2B5EF4-FFF2-40B4-BE49-F238E27FC236}">
                <a16:creationId xmlns:a16="http://schemas.microsoft.com/office/drawing/2014/main" id="{F78D003A-97FB-47D2-BEDA-85D7ACC8D70C}"/>
              </a:ext>
            </a:extLst>
          </p:cNvPr>
          <p:cNvSpPr txBox="1"/>
          <p:nvPr/>
        </p:nvSpPr>
        <p:spPr>
          <a:xfrm rot="16200000">
            <a:off x="2681549" y="5064648"/>
            <a:ext cx="1311109" cy="338554"/>
          </a:xfrm>
          <a:prstGeom prst="rect">
            <a:avLst/>
          </a:prstGeom>
          <a:noFill/>
        </p:spPr>
        <p:txBody>
          <a:bodyPr wrap="square" rtlCol="0">
            <a:spAutoFit/>
          </a:bodyPr>
          <a:lstStyle/>
          <a:p>
            <a:pPr algn="ctr"/>
            <a:r>
              <a:rPr lang="en-MY" sz="1600" b="1" dirty="0">
                <a:latin typeface="Arial" panose="020B0604020202020204" pitchFamily="34" charset="0"/>
                <a:cs typeface="Arial" panose="020B0604020202020204" pitchFamily="34" charset="0"/>
              </a:rPr>
              <a:t>1815</a:t>
            </a:r>
          </a:p>
        </p:txBody>
      </p:sp>
      <p:sp>
        <p:nvSpPr>
          <p:cNvPr id="23" name="TextBox 22">
            <a:extLst>
              <a:ext uri="{FF2B5EF4-FFF2-40B4-BE49-F238E27FC236}">
                <a16:creationId xmlns:a16="http://schemas.microsoft.com/office/drawing/2014/main" id="{0FCC3149-EF07-4476-8C58-45B192143717}"/>
              </a:ext>
            </a:extLst>
          </p:cNvPr>
          <p:cNvSpPr txBox="1"/>
          <p:nvPr/>
        </p:nvSpPr>
        <p:spPr>
          <a:xfrm rot="16200000">
            <a:off x="4983604" y="4737889"/>
            <a:ext cx="1311109" cy="338554"/>
          </a:xfrm>
          <a:prstGeom prst="rect">
            <a:avLst/>
          </a:prstGeom>
          <a:noFill/>
        </p:spPr>
        <p:txBody>
          <a:bodyPr wrap="square" rtlCol="0">
            <a:spAutoFit/>
          </a:bodyPr>
          <a:lstStyle/>
          <a:p>
            <a:pPr algn="ctr"/>
            <a:r>
              <a:rPr lang="en-MY" sz="1600" b="1" dirty="0">
                <a:latin typeface="Arial" panose="020B0604020202020204" pitchFamily="34" charset="0"/>
                <a:cs typeface="Arial" panose="020B0604020202020204" pitchFamily="34" charset="0"/>
              </a:rPr>
              <a:t>5,316</a:t>
            </a:r>
          </a:p>
        </p:txBody>
      </p:sp>
      <p:grpSp>
        <p:nvGrpSpPr>
          <p:cNvPr id="40" name="Group 39">
            <a:extLst>
              <a:ext uri="{FF2B5EF4-FFF2-40B4-BE49-F238E27FC236}">
                <a16:creationId xmlns:a16="http://schemas.microsoft.com/office/drawing/2014/main" id="{15C4DE76-2C4C-4307-9EF6-04E7AFA5035E}"/>
              </a:ext>
            </a:extLst>
          </p:cNvPr>
          <p:cNvGrpSpPr/>
          <p:nvPr/>
        </p:nvGrpSpPr>
        <p:grpSpPr>
          <a:xfrm>
            <a:off x="8498336" y="1448185"/>
            <a:ext cx="1921352" cy="1645920"/>
            <a:chOff x="8721814" y="1370916"/>
            <a:chExt cx="1921352" cy="1645920"/>
          </a:xfrm>
        </p:grpSpPr>
        <p:sp>
          <p:nvSpPr>
            <p:cNvPr id="36" name="Flowchart: Or 35">
              <a:extLst>
                <a:ext uri="{FF2B5EF4-FFF2-40B4-BE49-F238E27FC236}">
                  <a16:creationId xmlns:a16="http://schemas.microsoft.com/office/drawing/2014/main" id="{1D167F05-3C73-49E5-B393-97B7B579D057}"/>
                </a:ext>
              </a:extLst>
            </p:cNvPr>
            <p:cNvSpPr/>
            <p:nvPr/>
          </p:nvSpPr>
          <p:spPr>
            <a:xfrm>
              <a:off x="8721814" y="1370916"/>
              <a:ext cx="1921352" cy="1645920"/>
            </a:xfrm>
            <a:prstGeom prst="flowChartOr">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descr="Crane">
              <a:extLst>
                <a:ext uri="{FF2B5EF4-FFF2-40B4-BE49-F238E27FC236}">
                  <a16:creationId xmlns:a16="http://schemas.microsoft.com/office/drawing/2014/main" id="{A352D523-73A3-4730-BC1F-BF36FEE0F0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14491" y="1562569"/>
              <a:ext cx="548640" cy="548640"/>
            </a:xfrm>
            <a:prstGeom prst="rect">
              <a:avLst/>
            </a:prstGeom>
          </p:spPr>
        </p:pic>
        <p:pic>
          <p:nvPicPr>
            <p:cNvPr id="27" name="Graphic 26" descr="Bulldozer">
              <a:extLst>
                <a:ext uri="{FF2B5EF4-FFF2-40B4-BE49-F238E27FC236}">
                  <a16:creationId xmlns:a16="http://schemas.microsoft.com/office/drawing/2014/main" id="{9AF8D786-844A-4DC5-9AA2-4D447A1829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23522" y="1588458"/>
              <a:ext cx="548640" cy="548640"/>
            </a:xfrm>
            <a:prstGeom prst="rect">
              <a:avLst/>
            </a:prstGeom>
          </p:spPr>
        </p:pic>
        <p:pic>
          <p:nvPicPr>
            <p:cNvPr id="29" name="Graphic 28" descr="Excavator">
              <a:extLst>
                <a:ext uri="{FF2B5EF4-FFF2-40B4-BE49-F238E27FC236}">
                  <a16:creationId xmlns:a16="http://schemas.microsoft.com/office/drawing/2014/main" id="{3CDCDD35-EEF7-48A6-A6A8-AA6321C47C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015782" y="2187170"/>
              <a:ext cx="640080" cy="640080"/>
            </a:xfrm>
            <a:prstGeom prst="rect">
              <a:avLst/>
            </a:prstGeom>
          </p:spPr>
        </p:pic>
        <p:pic>
          <p:nvPicPr>
            <p:cNvPr id="31" name="Graphic 30" descr="Construction worker">
              <a:extLst>
                <a:ext uri="{FF2B5EF4-FFF2-40B4-BE49-F238E27FC236}">
                  <a16:creationId xmlns:a16="http://schemas.microsoft.com/office/drawing/2014/main" id="{76F73EB2-A5E5-467F-AC10-696109CB2C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14491" y="2240998"/>
              <a:ext cx="548640" cy="552105"/>
            </a:xfrm>
            <a:prstGeom prst="rect">
              <a:avLst/>
            </a:prstGeom>
          </p:spPr>
        </p:pic>
      </p:grpSp>
      <p:sp>
        <p:nvSpPr>
          <p:cNvPr id="32" name="Rectangle 31">
            <a:extLst>
              <a:ext uri="{FF2B5EF4-FFF2-40B4-BE49-F238E27FC236}">
                <a16:creationId xmlns:a16="http://schemas.microsoft.com/office/drawing/2014/main" id="{B177EC40-890C-4CD6-A139-6B15912159A4}"/>
              </a:ext>
            </a:extLst>
          </p:cNvPr>
          <p:cNvSpPr/>
          <p:nvPr/>
        </p:nvSpPr>
        <p:spPr>
          <a:xfrm>
            <a:off x="8166291" y="3244458"/>
            <a:ext cx="2797589" cy="738664"/>
          </a:xfrm>
          <a:prstGeom prst="rect">
            <a:avLst/>
          </a:prstGeom>
        </p:spPr>
        <p:txBody>
          <a:bodyPr wrap="square">
            <a:spAutoFit/>
          </a:bodyPr>
          <a:lstStyle/>
          <a:p>
            <a:pPr algn="ctr"/>
            <a:r>
              <a:rPr lang="en-MY" sz="1400" b="1" dirty="0">
                <a:latin typeface="Arial" panose="020B0604020202020204" pitchFamily="34" charset="0"/>
                <a:cs typeface="Arial" panose="020B0604020202020204" pitchFamily="34" charset="0"/>
              </a:rPr>
              <a:t>Hotel Properties Accommodation </a:t>
            </a:r>
            <a:r>
              <a:rPr lang="en-MY" sz="1400" b="1" dirty="0" err="1">
                <a:latin typeface="Arial" panose="020B0604020202020204" pitchFamily="34" charset="0"/>
                <a:cs typeface="Arial" panose="020B0604020202020204" pitchFamily="34" charset="0"/>
              </a:rPr>
              <a:t>Roomstock</a:t>
            </a:r>
            <a:r>
              <a:rPr lang="en-MY" sz="1400" b="1" dirty="0">
                <a:latin typeface="Arial" panose="020B0604020202020204" pitchFamily="34" charset="0"/>
                <a:cs typeface="Arial" panose="020B0604020202020204" pitchFamily="34" charset="0"/>
              </a:rPr>
              <a:t> Under Construction</a:t>
            </a:r>
          </a:p>
        </p:txBody>
      </p:sp>
      <p:sp>
        <p:nvSpPr>
          <p:cNvPr id="39" name="Rectangle: Rounded Corners 38">
            <a:extLst>
              <a:ext uri="{FF2B5EF4-FFF2-40B4-BE49-F238E27FC236}">
                <a16:creationId xmlns:a16="http://schemas.microsoft.com/office/drawing/2014/main" id="{997C41F9-C8C4-4D29-AC59-79A91BF6B581}"/>
              </a:ext>
            </a:extLst>
          </p:cNvPr>
          <p:cNvSpPr/>
          <p:nvPr/>
        </p:nvSpPr>
        <p:spPr>
          <a:xfrm>
            <a:off x="8077931" y="4200113"/>
            <a:ext cx="3015011" cy="75651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400" b="1" dirty="0">
                <a:latin typeface="Arial" panose="020B0604020202020204" pitchFamily="34" charset="0"/>
                <a:cs typeface="Arial" panose="020B0604020202020204" pitchFamily="34" charset="0"/>
              </a:rPr>
              <a:t>3,343 Rooms</a:t>
            </a:r>
          </a:p>
        </p:txBody>
      </p:sp>
      <p:sp>
        <p:nvSpPr>
          <p:cNvPr id="30" name="TextBox 29">
            <a:extLst>
              <a:ext uri="{FF2B5EF4-FFF2-40B4-BE49-F238E27FC236}">
                <a16:creationId xmlns:a16="http://schemas.microsoft.com/office/drawing/2014/main" id="{42768E15-8A25-47FA-A00E-8D3283F3D20C}"/>
              </a:ext>
            </a:extLst>
          </p:cNvPr>
          <p:cNvSpPr txBox="1"/>
          <p:nvPr/>
        </p:nvSpPr>
        <p:spPr>
          <a:xfrm>
            <a:off x="202942" y="266754"/>
            <a:ext cx="8362950" cy="954107"/>
          </a:xfrm>
          <a:prstGeom prst="rect">
            <a:avLst/>
          </a:prstGeom>
          <a:noFill/>
        </p:spPr>
        <p:txBody>
          <a:bodyPr wrap="square" rtlCol="0">
            <a:spAutoFit/>
          </a:bodyPr>
          <a:lstStyle/>
          <a:p>
            <a:r>
              <a:rPr lang="en-US" sz="2800" b="1" dirty="0">
                <a:latin typeface="Open sans"/>
              </a:rPr>
              <a:t>Current </a:t>
            </a:r>
            <a:r>
              <a:rPr lang="en-US" sz="2800" b="1" dirty="0" err="1">
                <a:latin typeface="Open sans"/>
              </a:rPr>
              <a:t>Roomstook</a:t>
            </a:r>
            <a:r>
              <a:rPr lang="en-US" sz="2800" b="1" dirty="0">
                <a:latin typeface="Open sans"/>
              </a:rPr>
              <a:t> and </a:t>
            </a:r>
            <a:r>
              <a:rPr lang="en-US" sz="2800" b="1" dirty="0" err="1">
                <a:latin typeface="Open sans"/>
              </a:rPr>
              <a:t>Roomstock</a:t>
            </a:r>
            <a:r>
              <a:rPr lang="en-US" sz="2800" b="1" dirty="0">
                <a:latin typeface="Open sans"/>
              </a:rPr>
              <a:t> Under Construction</a:t>
            </a:r>
          </a:p>
        </p:txBody>
      </p:sp>
    </p:spTree>
    <p:extLst>
      <p:ext uri="{BB962C8B-B14F-4D97-AF65-F5344CB8AC3E}">
        <p14:creationId xmlns:p14="http://schemas.microsoft.com/office/powerpoint/2010/main" val="20913994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9608421-1128-4E4E-8066-BF119349A542}"/>
              </a:ext>
            </a:extLst>
          </p:cNvPr>
          <p:cNvGraphicFramePr>
            <a:graphicFrameLocks noGrp="1"/>
          </p:cNvGraphicFramePr>
          <p:nvPr>
            <p:extLst>
              <p:ext uri="{D42A27DB-BD31-4B8C-83A1-F6EECF244321}">
                <p14:modId xmlns:p14="http://schemas.microsoft.com/office/powerpoint/2010/main" val="256386971"/>
              </p:ext>
            </p:extLst>
          </p:nvPr>
        </p:nvGraphicFramePr>
        <p:xfrm>
          <a:off x="381000" y="2706688"/>
          <a:ext cx="5505450" cy="3179763"/>
        </p:xfrm>
        <a:graphic>
          <a:graphicData uri="http://schemas.openxmlformats.org/drawingml/2006/table">
            <a:tbl>
              <a:tblPr/>
              <a:tblGrid>
                <a:gridCol w="2111927">
                  <a:extLst>
                    <a:ext uri="{9D8B030D-6E8A-4147-A177-3AD203B41FA5}">
                      <a16:colId xmlns:a16="http://schemas.microsoft.com/office/drawing/2014/main" val="3294895998"/>
                    </a:ext>
                  </a:extLst>
                </a:gridCol>
                <a:gridCol w="1967521">
                  <a:extLst>
                    <a:ext uri="{9D8B030D-6E8A-4147-A177-3AD203B41FA5}">
                      <a16:colId xmlns:a16="http://schemas.microsoft.com/office/drawing/2014/main" val="255492677"/>
                    </a:ext>
                  </a:extLst>
                </a:gridCol>
                <a:gridCol w="1426002">
                  <a:extLst>
                    <a:ext uri="{9D8B030D-6E8A-4147-A177-3AD203B41FA5}">
                      <a16:colId xmlns:a16="http://schemas.microsoft.com/office/drawing/2014/main" val="86347811"/>
                    </a:ext>
                  </a:extLst>
                </a:gridCol>
              </a:tblGrid>
              <a:tr h="353307">
                <a:tc>
                  <a:txBody>
                    <a:bodyPr/>
                    <a:lstStyle/>
                    <a:p>
                      <a:pPr algn="ctr" fontAlgn="b"/>
                      <a:r>
                        <a:rPr lang="en-US" sz="1400" b="1" i="0" u="none" strike="noStrike" dirty="0">
                          <a:solidFill>
                            <a:srgbClr val="352928"/>
                          </a:solidFill>
                          <a:effectLst/>
                          <a:latin typeface="Georgia" panose="02040502050405020303" pitchFamily="18" charset="0"/>
                        </a:rPr>
                        <a:t>Category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US" sz="1400" b="1" i="0" u="none" strike="noStrike">
                          <a:solidFill>
                            <a:srgbClr val="352928"/>
                          </a:solidFill>
                          <a:effectLst/>
                          <a:latin typeface="Georgia" panose="02040502050405020303" pitchFamily="18" charset="0"/>
                        </a:rPr>
                        <a:t>Properties </a:t>
                      </a:r>
                    </a:p>
                  </a:txBody>
                  <a:tcPr marL="9525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US" sz="1400" b="1" i="0" u="none" strike="noStrike" dirty="0" err="1">
                          <a:solidFill>
                            <a:srgbClr val="352928"/>
                          </a:solidFill>
                          <a:effectLst/>
                          <a:latin typeface="Georgia" panose="02040502050405020303" pitchFamily="18" charset="0"/>
                        </a:rPr>
                        <a:t>Roomstock</a:t>
                      </a:r>
                      <a:endParaRPr lang="en-US" sz="1400" b="1" i="0" u="none" strike="noStrike" dirty="0">
                        <a:solidFill>
                          <a:srgbClr val="352928"/>
                        </a:solidFill>
                        <a:effectLst/>
                        <a:latin typeface="Georgia" panose="02040502050405020303" pitchFamily="18" charset="0"/>
                      </a:endParaRPr>
                    </a:p>
                  </a:txBody>
                  <a:tcPr marL="9525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642771802"/>
                  </a:ext>
                </a:extLst>
              </a:tr>
              <a:tr h="353307">
                <a:tc>
                  <a:txBody>
                    <a:bodyPr/>
                    <a:lstStyle/>
                    <a:p>
                      <a:pPr algn="l" fontAlgn="b"/>
                      <a:r>
                        <a:rPr lang="en-US" sz="1100" b="0" i="0" u="none" strike="noStrike">
                          <a:solidFill>
                            <a:srgbClr val="352928"/>
                          </a:solidFill>
                          <a:effectLst/>
                          <a:latin typeface="Georgia" panose="02040502050405020303" pitchFamily="18" charset="0"/>
                        </a:rPr>
                        <a:t>Villa</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86</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780</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763953112"/>
                  </a:ext>
                </a:extLst>
              </a:tr>
              <a:tr h="353307">
                <a:tc>
                  <a:txBody>
                    <a:bodyPr/>
                    <a:lstStyle/>
                    <a:p>
                      <a:pPr algn="l" fontAlgn="b"/>
                      <a:r>
                        <a:rPr lang="en-US" sz="1100" b="0" i="0" u="none" strike="noStrike">
                          <a:solidFill>
                            <a:srgbClr val="352928"/>
                          </a:solidFill>
                          <a:effectLst/>
                          <a:latin typeface="Georgia" panose="02040502050405020303" pitchFamily="18" charset="0"/>
                        </a:rPr>
                        <a:t>Apartments</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54</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551</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04544951"/>
                  </a:ext>
                </a:extLst>
              </a:tr>
              <a:tr h="353307">
                <a:tc>
                  <a:txBody>
                    <a:bodyPr/>
                    <a:lstStyle/>
                    <a:p>
                      <a:pPr algn="l" fontAlgn="b"/>
                      <a:r>
                        <a:rPr lang="en-US" sz="1100" b="0" i="0" u="none" strike="noStrike">
                          <a:solidFill>
                            <a:srgbClr val="352928"/>
                          </a:solidFill>
                          <a:effectLst/>
                          <a:latin typeface="Georgia" panose="02040502050405020303" pitchFamily="18" charset="0"/>
                        </a:rPr>
                        <a:t>Bed and Breakfast</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34</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240</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441718070"/>
                  </a:ext>
                </a:extLst>
              </a:tr>
              <a:tr h="353307">
                <a:tc>
                  <a:txBody>
                    <a:bodyPr/>
                    <a:lstStyle/>
                    <a:p>
                      <a:pPr algn="l" fontAlgn="b"/>
                      <a:r>
                        <a:rPr lang="en-US" sz="1100" b="0" i="0" u="none" strike="noStrike">
                          <a:solidFill>
                            <a:srgbClr val="352928"/>
                          </a:solidFill>
                          <a:effectLst/>
                          <a:latin typeface="Georgia" panose="02040502050405020303" pitchFamily="18" charset="0"/>
                        </a:rPr>
                        <a:t>Condominium</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5</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76</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51995374"/>
                  </a:ext>
                </a:extLst>
              </a:tr>
              <a:tr h="353307">
                <a:tc>
                  <a:txBody>
                    <a:bodyPr/>
                    <a:lstStyle/>
                    <a:p>
                      <a:pPr algn="l" fontAlgn="b"/>
                      <a:r>
                        <a:rPr lang="en-US" sz="1100" b="0" i="0" u="none" strike="noStrike">
                          <a:solidFill>
                            <a:srgbClr val="352928"/>
                          </a:solidFill>
                          <a:effectLst/>
                          <a:latin typeface="Georgia" panose="02040502050405020303" pitchFamily="18" charset="0"/>
                        </a:rPr>
                        <a:t>Cottages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31</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76</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93761718"/>
                  </a:ext>
                </a:extLst>
              </a:tr>
              <a:tr h="353307">
                <a:tc>
                  <a:txBody>
                    <a:bodyPr/>
                    <a:lstStyle/>
                    <a:p>
                      <a:pPr algn="l" fontAlgn="b"/>
                      <a:r>
                        <a:rPr lang="en-US" sz="1100" b="0" i="0" u="none" strike="noStrike">
                          <a:solidFill>
                            <a:srgbClr val="352928"/>
                          </a:solidFill>
                          <a:effectLst/>
                          <a:latin typeface="Georgia" panose="02040502050405020303" pitchFamily="18" charset="0"/>
                        </a:rPr>
                        <a:t>Other</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0</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55</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02681049"/>
                  </a:ext>
                </a:extLst>
              </a:tr>
              <a:tr h="353307">
                <a:tc>
                  <a:txBody>
                    <a:bodyPr/>
                    <a:lstStyle/>
                    <a:p>
                      <a:pPr algn="l" fontAlgn="b"/>
                      <a:r>
                        <a:rPr lang="en-US" sz="1100" b="0" i="0" u="none" strike="noStrike">
                          <a:solidFill>
                            <a:srgbClr val="352928"/>
                          </a:solidFill>
                          <a:effectLst/>
                          <a:latin typeface="Georgia" panose="02040502050405020303" pitchFamily="18" charset="0"/>
                        </a:rPr>
                        <a:t>Home Sharing</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9</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dirty="0">
                          <a:solidFill>
                            <a:srgbClr val="352928"/>
                          </a:solidFill>
                          <a:effectLst/>
                          <a:latin typeface="Georgia" panose="02040502050405020303" pitchFamily="18" charset="0"/>
                        </a:rPr>
                        <a:t>38</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5853805"/>
                  </a:ext>
                </a:extLst>
              </a:tr>
              <a:tr h="353307">
                <a:tc>
                  <a:txBody>
                    <a:bodyPr/>
                    <a:lstStyle/>
                    <a:p>
                      <a:pPr algn="l" fontAlgn="b"/>
                      <a:r>
                        <a:rPr lang="en-US" sz="1200" b="1" i="0" u="none" strike="noStrike">
                          <a:solidFill>
                            <a:srgbClr val="352928"/>
                          </a:solidFill>
                          <a:effectLst/>
                          <a:latin typeface="Georgia" panose="02040502050405020303" pitchFamily="18" charset="0"/>
                        </a:rPr>
                        <a:t>Total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200" b="1" i="0" u="none" strike="noStrike" dirty="0">
                          <a:solidFill>
                            <a:srgbClr val="352928"/>
                          </a:solidFill>
                          <a:effectLst/>
                          <a:latin typeface="Georgia" panose="02040502050405020303" pitchFamily="18" charset="0"/>
                        </a:rPr>
                        <a:t>439</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200" b="1" i="0" u="none" strike="noStrike" dirty="0">
                          <a:solidFill>
                            <a:srgbClr val="352928"/>
                          </a:solidFill>
                          <a:effectLst/>
                          <a:latin typeface="Georgia" panose="02040502050405020303" pitchFamily="18" charset="0"/>
                        </a:rPr>
                        <a:t>1816</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657935406"/>
                  </a:ext>
                </a:extLst>
              </a:tr>
            </a:tbl>
          </a:graphicData>
        </a:graphic>
      </p:graphicFrame>
      <p:graphicFrame>
        <p:nvGraphicFramePr>
          <p:cNvPr id="4" name="Table 3">
            <a:extLst>
              <a:ext uri="{FF2B5EF4-FFF2-40B4-BE49-F238E27FC236}">
                <a16:creationId xmlns:a16="http://schemas.microsoft.com/office/drawing/2014/main" id="{8F3B8D23-A239-41C1-827B-5C18E1BF4232}"/>
              </a:ext>
            </a:extLst>
          </p:cNvPr>
          <p:cNvGraphicFramePr>
            <a:graphicFrameLocks noGrp="1"/>
          </p:cNvGraphicFramePr>
          <p:nvPr>
            <p:extLst>
              <p:ext uri="{D42A27DB-BD31-4B8C-83A1-F6EECF244321}">
                <p14:modId xmlns:p14="http://schemas.microsoft.com/office/powerpoint/2010/main" val="3440773605"/>
              </p:ext>
            </p:extLst>
          </p:nvPr>
        </p:nvGraphicFramePr>
        <p:xfrm>
          <a:off x="6838949" y="2687638"/>
          <a:ext cx="4848225" cy="2692852"/>
        </p:xfrm>
        <a:graphic>
          <a:graphicData uri="http://schemas.openxmlformats.org/drawingml/2006/table">
            <a:tbl>
              <a:tblPr/>
              <a:tblGrid>
                <a:gridCol w="1610424">
                  <a:extLst>
                    <a:ext uri="{9D8B030D-6E8A-4147-A177-3AD203B41FA5}">
                      <a16:colId xmlns:a16="http://schemas.microsoft.com/office/drawing/2014/main" val="113451869"/>
                    </a:ext>
                  </a:extLst>
                </a:gridCol>
                <a:gridCol w="1525665">
                  <a:extLst>
                    <a:ext uri="{9D8B030D-6E8A-4147-A177-3AD203B41FA5}">
                      <a16:colId xmlns:a16="http://schemas.microsoft.com/office/drawing/2014/main" val="92670523"/>
                    </a:ext>
                  </a:extLst>
                </a:gridCol>
                <a:gridCol w="1712136">
                  <a:extLst>
                    <a:ext uri="{9D8B030D-6E8A-4147-A177-3AD203B41FA5}">
                      <a16:colId xmlns:a16="http://schemas.microsoft.com/office/drawing/2014/main" val="611225588"/>
                    </a:ext>
                  </a:extLst>
                </a:gridCol>
              </a:tblGrid>
              <a:tr h="407987">
                <a:tc>
                  <a:txBody>
                    <a:bodyPr/>
                    <a:lstStyle/>
                    <a:p>
                      <a:pPr algn="ctr" fontAlgn="b"/>
                      <a:r>
                        <a:rPr lang="en-US" sz="1400" b="1" i="0" u="none" strike="noStrike" dirty="0">
                          <a:solidFill>
                            <a:srgbClr val="352928"/>
                          </a:solidFill>
                          <a:effectLst/>
                          <a:latin typeface="Georgia" panose="02040502050405020303" pitchFamily="18" charset="0"/>
                        </a:rPr>
                        <a:t>Category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US" sz="1400" b="1" i="0" u="none" strike="noStrike" dirty="0">
                          <a:solidFill>
                            <a:srgbClr val="352928"/>
                          </a:solidFill>
                          <a:effectLst/>
                          <a:latin typeface="Georgia" panose="02040502050405020303" pitchFamily="18" charset="0"/>
                        </a:rPr>
                        <a:t>Properties </a:t>
                      </a:r>
                    </a:p>
                  </a:txBody>
                  <a:tcPr marL="9525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US" sz="1400" b="1" i="0" u="none" strike="noStrike" dirty="0" err="1">
                          <a:solidFill>
                            <a:srgbClr val="352928"/>
                          </a:solidFill>
                          <a:effectLst/>
                          <a:latin typeface="Georgia" panose="02040502050405020303" pitchFamily="18" charset="0"/>
                        </a:rPr>
                        <a:t>Roomstock</a:t>
                      </a:r>
                      <a:endParaRPr lang="en-US" sz="1400" b="1" i="0" u="none" strike="noStrike" dirty="0">
                        <a:solidFill>
                          <a:srgbClr val="352928"/>
                        </a:solidFill>
                        <a:effectLst/>
                        <a:latin typeface="Georgia" panose="02040502050405020303" pitchFamily="18" charset="0"/>
                      </a:endParaRPr>
                    </a:p>
                  </a:txBody>
                  <a:tcPr marL="9525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723407933"/>
                  </a:ext>
                </a:extLst>
              </a:tr>
              <a:tr h="456973">
                <a:tc>
                  <a:txBody>
                    <a:bodyPr/>
                    <a:lstStyle/>
                    <a:p>
                      <a:pPr algn="l" fontAlgn="b"/>
                      <a:r>
                        <a:rPr lang="en-US" sz="1100" b="0" i="0" u="none" strike="noStrike">
                          <a:solidFill>
                            <a:srgbClr val="352928"/>
                          </a:solidFill>
                          <a:effectLst/>
                          <a:latin typeface="Georgia" panose="02040502050405020303" pitchFamily="18" charset="0"/>
                        </a:rPr>
                        <a:t>All Inclusive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0</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2165</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43513353"/>
                  </a:ext>
                </a:extLst>
              </a:tr>
              <a:tr h="456973">
                <a:tc>
                  <a:txBody>
                    <a:bodyPr/>
                    <a:lstStyle/>
                    <a:p>
                      <a:pPr algn="l" fontAlgn="b"/>
                      <a:r>
                        <a:rPr lang="en-US" sz="1100" b="0" i="0" u="none" strike="noStrike">
                          <a:solidFill>
                            <a:srgbClr val="352928"/>
                          </a:solidFill>
                          <a:effectLst/>
                          <a:latin typeface="Georgia" panose="02040502050405020303" pitchFamily="18" charset="0"/>
                        </a:rPr>
                        <a:t>Economy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0</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649</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15253804"/>
                  </a:ext>
                </a:extLst>
              </a:tr>
              <a:tr h="456973">
                <a:tc>
                  <a:txBody>
                    <a:bodyPr/>
                    <a:lstStyle/>
                    <a:p>
                      <a:pPr algn="l" fontAlgn="b"/>
                      <a:r>
                        <a:rPr lang="en-US" sz="1100" b="0" i="0" u="none" strike="noStrike">
                          <a:solidFill>
                            <a:srgbClr val="352928"/>
                          </a:solidFill>
                          <a:effectLst/>
                          <a:latin typeface="Georgia" panose="02040502050405020303" pitchFamily="18" charset="0"/>
                        </a:rPr>
                        <a:t>Luxury</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8</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445</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995628379"/>
                  </a:ext>
                </a:extLst>
              </a:tr>
              <a:tr h="456973">
                <a:tc>
                  <a:txBody>
                    <a:bodyPr/>
                    <a:lstStyle/>
                    <a:p>
                      <a:pPr algn="l" fontAlgn="b"/>
                      <a:r>
                        <a:rPr lang="en-US" sz="1100" b="0" i="0" u="none" strike="noStrike">
                          <a:solidFill>
                            <a:srgbClr val="352928"/>
                          </a:solidFill>
                          <a:effectLst/>
                          <a:latin typeface="Georgia" panose="02040502050405020303" pitchFamily="18" charset="0"/>
                        </a:rPr>
                        <a:t>Boutique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352928"/>
                          </a:solidFill>
                          <a:effectLst/>
                          <a:latin typeface="Georgia" panose="02040502050405020303" pitchFamily="18" charset="0"/>
                        </a:rPr>
                        <a:t>11</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dirty="0">
                          <a:solidFill>
                            <a:srgbClr val="352928"/>
                          </a:solidFill>
                          <a:effectLst/>
                          <a:latin typeface="Georgia" panose="02040502050405020303" pitchFamily="18" charset="0"/>
                        </a:rPr>
                        <a:t>242</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16945143"/>
                  </a:ext>
                </a:extLst>
              </a:tr>
              <a:tr h="456973">
                <a:tc>
                  <a:txBody>
                    <a:bodyPr/>
                    <a:lstStyle/>
                    <a:p>
                      <a:pPr algn="l" fontAlgn="b"/>
                      <a:r>
                        <a:rPr lang="en-US" sz="1200" b="1" i="0" u="none" strike="noStrike" dirty="0">
                          <a:solidFill>
                            <a:srgbClr val="352928"/>
                          </a:solidFill>
                          <a:effectLst/>
                          <a:latin typeface="Georgia" panose="02040502050405020303" pitchFamily="18" charset="0"/>
                        </a:rPr>
                        <a:t>Total </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200" b="1" i="0" u="none" strike="noStrike">
                          <a:solidFill>
                            <a:srgbClr val="352928"/>
                          </a:solidFill>
                          <a:effectLst/>
                          <a:latin typeface="Georgia" panose="02040502050405020303" pitchFamily="18" charset="0"/>
                        </a:rPr>
                        <a:t>39</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200" b="1" i="0" u="none" strike="noStrike" dirty="0">
                          <a:solidFill>
                            <a:srgbClr val="352928"/>
                          </a:solidFill>
                          <a:effectLst/>
                          <a:latin typeface="Georgia" panose="02040502050405020303" pitchFamily="18" charset="0"/>
                        </a:rPr>
                        <a:t>3501</a:t>
                      </a:r>
                    </a:p>
                  </a:txBody>
                  <a:tcPr marL="9525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52027780"/>
                  </a:ext>
                </a:extLst>
              </a:tr>
            </a:tbl>
          </a:graphicData>
        </a:graphic>
      </p:graphicFrame>
      <p:sp>
        <p:nvSpPr>
          <p:cNvPr id="5" name="TextBox 4">
            <a:extLst>
              <a:ext uri="{FF2B5EF4-FFF2-40B4-BE49-F238E27FC236}">
                <a16:creationId xmlns:a16="http://schemas.microsoft.com/office/drawing/2014/main" id="{20AE6971-CCC3-4794-832A-23C9F0A679F3}"/>
              </a:ext>
            </a:extLst>
          </p:cNvPr>
          <p:cNvSpPr txBox="1"/>
          <p:nvPr/>
        </p:nvSpPr>
        <p:spPr>
          <a:xfrm>
            <a:off x="352425" y="448329"/>
            <a:ext cx="8362950" cy="523220"/>
          </a:xfrm>
          <a:prstGeom prst="rect">
            <a:avLst/>
          </a:prstGeom>
          <a:noFill/>
        </p:spPr>
        <p:txBody>
          <a:bodyPr wrap="square" rtlCol="0">
            <a:spAutoFit/>
          </a:bodyPr>
          <a:lstStyle/>
          <a:p>
            <a:r>
              <a:rPr lang="en-US" sz="2800" b="1" dirty="0">
                <a:latin typeface="Open sans"/>
              </a:rPr>
              <a:t>Current </a:t>
            </a:r>
            <a:r>
              <a:rPr lang="en-US" sz="2800" b="1" dirty="0" err="1">
                <a:latin typeface="Open sans"/>
              </a:rPr>
              <a:t>Roomstook</a:t>
            </a:r>
            <a:r>
              <a:rPr lang="en-US" sz="2800" b="1" dirty="0">
                <a:latin typeface="Open sans"/>
              </a:rPr>
              <a:t> By Product Classification</a:t>
            </a:r>
          </a:p>
        </p:txBody>
      </p:sp>
      <p:sp>
        <p:nvSpPr>
          <p:cNvPr id="6" name="Rectangle 5">
            <a:extLst>
              <a:ext uri="{FF2B5EF4-FFF2-40B4-BE49-F238E27FC236}">
                <a16:creationId xmlns:a16="http://schemas.microsoft.com/office/drawing/2014/main" id="{23C1602E-C589-4754-919E-132AA57A1668}"/>
              </a:ext>
            </a:extLst>
          </p:cNvPr>
          <p:cNvSpPr/>
          <p:nvPr/>
        </p:nvSpPr>
        <p:spPr>
          <a:xfrm>
            <a:off x="8390983" y="1954838"/>
            <a:ext cx="1753142" cy="461665"/>
          </a:xfrm>
          <a:prstGeom prst="rect">
            <a:avLst/>
          </a:prstGeom>
        </p:spPr>
        <p:txBody>
          <a:bodyPr wrap="square">
            <a:spAutoFit/>
          </a:bodyPr>
          <a:lstStyle/>
          <a:p>
            <a:pPr algn="ctr"/>
            <a:r>
              <a:rPr lang="en-MY" sz="1200" b="1" dirty="0">
                <a:latin typeface="Arial" panose="020B0604020202020204" pitchFamily="34" charset="0"/>
                <a:cs typeface="Arial" panose="020B0604020202020204" pitchFamily="34" charset="0"/>
              </a:rPr>
              <a:t>Formal Accommodation</a:t>
            </a:r>
          </a:p>
        </p:txBody>
      </p:sp>
      <p:cxnSp>
        <p:nvCxnSpPr>
          <p:cNvPr id="8" name="Straight Connector 7">
            <a:extLst>
              <a:ext uri="{FF2B5EF4-FFF2-40B4-BE49-F238E27FC236}">
                <a16:creationId xmlns:a16="http://schemas.microsoft.com/office/drawing/2014/main" id="{AC4CD209-F58C-475B-83E1-E1D03FDD582F}"/>
              </a:ext>
            </a:extLst>
          </p:cNvPr>
          <p:cNvCxnSpPr>
            <a:cxnSpLocks/>
          </p:cNvCxnSpPr>
          <p:nvPr/>
        </p:nvCxnSpPr>
        <p:spPr>
          <a:xfrm flipH="1">
            <a:off x="7429441" y="2552069"/>
            <a:ext cx="3667239" cy="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79B3677-3751-4E44-A816-477ABB9C96FD}"/>
              </a:ext>
            </a:extLst>
          </p:cNvPr>
          <p:cNvSpPr/>
          <p:nvPr/>
        </p:nvSpPr>
        <p:spPr>
          <a:xfrm>
            <a:off x="2404522" y="1954837"/>
            <a:ext cx="1458405" cy="461665"/>
          </a:xfrm>
          <a:prstGeom prst="rect">
            <a:avLst/>
          </a:prstGeom>
        </p:spPr>
        <p:txBody>
          <a:bodyPr wrap="square">
            <a:spAutoFit/>
          </a:bodyPr>
          <a:lstStyle/>
          <a:p>
            <a:pPr algn="ctr"/>
            <a:r>
              <a:rPr lang="en-MY" sz="1200" b="1" dirty="0">
                <a:latin typeface="Arial" panose="020B0604020202020204" pitchFamily="34" charset="0"/>
                <a:cs typeface="Arial" panose="020B0604020202020204" pitchFamily="34" charset="0"/>
              </a:rPr>
              <a:t>Alternative Accommodation</a:t>
            </a:r>
          </a:p>
        </p:txBody>
      </p:sp>
      <p:cxnSp>
        <p:nvCxnSpPr>
          <p:cNvPr id="10" name="Straight Connector 9">
            <a:extLst>
              <a:ext uri="{FF2B5EF4-FFF2-40B4-BE49-F238E27FC236}">
                <a16:creationId xmlns:a16="http://schemas.microsoft.com/office/drawing/2014/main" id="{6863EC1D-2D46-4660-8ABF-9792E3725076}"/>
              </a:ext>
            </a:extLst>
          </p:cNvPr>
          <p:cNvCxnSpPr>
            <a:cxnSpLocks/>
          </p:cNvCxnSpPr>
          <p:nvPr/>
        </p:nvCxnSpPr>
        <p:spPr>
          <a:xfrm flipH="1">
            <a:off x="1381066" y="2544129"/>
            <a:ext cx="3667239" cy="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2568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le 31">
            <a:extLst>
              <a:ext uri="{FF2B5EF4-FFF2-40B4-BE49-F238E27FC236}">
                <a16:creationId xmlns:a16="http://schemas.microsoft.com/office/drawing/2014/main" id="{F4F14924-A6C6-4B84-8B7E-C824512FEF4A}"/>
              </a:ext>
            </a:extLst>
          </p:cNvPr>
          <p:cNvGraphicFramePr>
            <a:graphicFrameLocks noGrp="1"/>
          </p:cNvGraphicFramePr>
          <p:nvPr>
            <p:extLst>
              <p:ext uri="{D42A27DB-BD31-4B8C-83A1-F6EECF244321}">
                <p14:modId xmlns:p14="http://schemas.microsoft.com/office/powerpoint/2010/main" val="3423646364"/>
              </p:ext>
            </p:extLst>
          </p:nvPr>
        </p:nvGraphicFramePr>
        <p:xfrm>
          <a:off x="5804604" y="1813917"/>
          <a:ext cx="6389036" cy="3840480"/>
        </p:xfrm>
        <a:graphic>
          <a:graphicData uri="http://schemas.openxmlformats.org/drawingml/2006/table">
            <a:tbl>
              <a:tblPr firstRow="1" bandRow="1">
                <a:tableStyleId>{7DF18680-E054-41AD-8BC1-D1AEF772440D}</a:tableStyleId>
              </a:tblPr>
              <a:tblGrid>
                <a:gridCol w="1597259">
                  <a:extLst>
                    <a:ext uri="{9D8B030D-6E8A-4147-A177-3AD203B41FA5}">
                      <a16:colId xmlns:a16="http://schemas.microsoft.com/office/drawing/2014/main" val="795849749"/>
                    </a:ext>
                  </a:extLst>
                </a:gridCol>
                <a:gridCol w="1597259">
                  <a:extLst>
                    <a:ext uri="{9D8B030D-6E8A-4147-A177-3AD203B41FA5}">
                      <a16:colId xmlns:a16="http://schemas.microsoft.com/office/drawing/2014/main" val="966743539"/>
                    </a:ext>
                  </a:extLst>
                </a:gridCol>
                <a:gridCol w="1597259">
                  <a:extLst>
                    <a:ext uri="{9D8B030D-6E8A-4147-A177-3AD203B41FA5}">
                      <a16:colId xmlns:a16="http://schemas.microsoft.com/office/drawing/2014/main" val="534501195"/>
                    </a:ext>
                  </a:extLst>
                </a:gridCol>
                <a:gridCol w="1597259">
                  <a:extLst>
                    <a:ext uri="{9D8B030D-6E8A-4147-A177-3AD203B41FA5}">
                      <a16:colId xmlns:a16="http://schemas.microsoft.com/office/drawing/2014/main" val="408694264"/>
                    </a:ext>
                  </a:extLst>
                </a:gridCol>
              </a:tblGrid>
              <a:tr h="343352">
                <a:tc>
                  <a:txBody>
                    <a:bodyPr/>
                    <a:lstStyle/>
                    <a:p>
                      <a:pPr algn="ctr"/>
                      <a:r>
                        <a:rPr lang="en-US" dirty="0"/>
                        <a:t>DISTRICT</a:t>
                      </a:r>
                    </a:p>
                  </a:txBody>
                  <a:tcPr/>
                </a:tc>
                <a:tc>
                  <a:txBody>
                    <a:bodyPr/>
                    <a:lstStyle/>
                    <a:p>
                      <a:pPr algn="ctr"/>
                      <a:r>
                        <a:rPr lang="en-US" dirty="0"/>
                        <a:t>FORMAL SHARE</a:t>
                      </a:r>
                    </a:p>
                  </a:txBody>
                  <a:tcPr/>
                </a:tc>
                <a:tc>
                  <a:txBody>
                    <a:bodyPr/>
                    <a:lstStyle/>
                    <a:p>
                      <a:pPr algn="ctr"/>
                      <a:r>
                        <a:rPr lang="en-US" dirty="0"/>
                        <a:t>ALTERNATIVE SHARE</a:t>
                      </a:r>
                    </a:p>
                  </a:txBody>
                  <a:tcPr/>
                </a:tc>
                <a:tc>
                  <a:txBody>
                    <a:bodyPr/>
                    <a:lstStyle/>
                    <a:p>
                      <a:pPr algn="ctr"/>
                      <a:r>
                        <a:rPr lang="en-US" dirty="0"/>
                        <a:t>OVERALL SHARE</a:t>
                      </a:r>
                    </a:p>
                  </a:txBody>
                  <a:tcPr/>
                </a:tc>
                <a:extLst>
                  <a:ext uri="{0D108BD9-81ED-4DB2-BD59-A6C34878D82A}">
                    <a16:rowId xmlns:a16="http://schemas.microsoft.com/office/drawing/2014/main" val="2675826194"/>
                  </a:ext>
                </a:extLst>
              </a:tr>
              <a:tr h="343352">
                <a:tc>
                  <a:txBody>
                    <a:bodyPr/>
                    <a:lstStyle/>
                    <a:p>
                      <a:r>
                        <a:rPr lang="en-US" dirty="0"/>
                        <a:t>Gros Islet </a:t>
                      </a:r>
                    </a:p>
                  </a:txBody>
                  <a:tcPr/>
                </a:tc>
                <a:tc>
                  <a:txBody>
                    <a:bodyPr/>
                    <a:lstStyle/>
                    <a:p>
                      <a:pPr algn="ctr"/>
                      <a:r>
                        <a:rPr lang="en-US" dirty="0"/>
                        <a:t>58%</a:t>
                      </a:r>
                    </a:p>
                  </a:txBody>
                  <a:tcPr/>
                </a:tc>
                <a:tc>
                  <a:txBody>
                    <a:bodyPr/>
                    <a:lstStyle/>
                    <a:p>
                      <a:pPr algn="ctr"/>
                      <a:r>
                        <a:rPr lang="en-US" dirty="0"/>
                        <a:t>44%</a:t>
                      </a:r>
                    </a:p>
                  </a:txBody>
                  <a:tcPr/>
                </a:tc>
                <a:tc>
                  <a:txBody>
                    <a:bodyPr/>
                    <a:lstStyle/>
                    <a:p>
                      <a:pPr marL="0" algn="ctr" defTabSz="914400" rtl="0" eaLnBrk="1" fontAlgn="ctr" latinLnBrk="0" hangingPunct="1"/>
                      <a:r>
                        <a:rPr lang="en-US" sz="1800" kern="1200" dirty="0"/>
                        <a:t>53%</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1116900631"/>
                  </a:ext>
                </a:extLst>
              </a:tr>
              <a:tr h="343352">
                <a:tc>
                  <a:txBody>
                    <a:bodyPr/>
                    <a:lstStyle/>
                    <a:p>
                      <a:r>
                        <a:rPr lang="en-US" dirty="0"/>
                        <a:t>Castries </a:t>
                      </a:r>
                    </a:p>
                  </a:txBody>
                  <a:tcPr/>
                </a:tc>
                <a:tc>
                  <a:txBody>
                    <a:bodyPr/>
                    <a:lstStyle/>
                    <a:p>
                      <a:pPr algn="ctr"/>
                      <a:r>
                        <a:rPr lang="en-US" dirty="0"/>
                        <a:t>25%</a:t>
                      </a:r>
                    </a:p>
                  </a:txBody>
                  <a:tcPr/>
                </a:tc>
                <a:tc>
                  <a:txBody>
                    <a:bodyPr/>
                    <a:lstStyle/>
                    <a:p>
                      <a:pPr algn="ctr"/>
                      <a:r>
                        <a:rPr lang="en-US" dirty="0"/>
                        <a:t>22%</a:t>
                      </a:r>
                    </a:p>
                  </a:txBody>
                  <a:tcPr/>
                </a:tc>
                <a:tc>
                  <a:txBody>
                    <a:bodyPr/>
                    <a:lstStyle/>
                    <a:p>
                      <a:pPr marL="0" algn="ctr" defTabSz="914400" rtl="0" eaLnBrk="1" fontAlgn="ctr" latinLnBrk="0" hangingPunct="1"/>
                      <a:r>
                        <a:rPr lang="en-US" sz="1800" kern="1200" dirty="0"/>
                        <a:t>24%</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3753495715"/>
                  </a:ext>
                </a:extLst>
              </a:tr>
              <a:tr h="343352">
                <a:tc>
                  <a:txBody>
                    <a:bodyPr/>
                    <a:lstStyle/>
                    <a:p>
                      <a:r>
                        <a:rPr lang="en-US" dirty="0" err="1"/>
                        <a:t>Anse</a:t>
                      </a:r>
                      <a:r>
                        <a:rPr lang="en-US" dirty="0"/>
                        <a:t> La Raye/Canaries</a:t>
                      </a:r>
                    </a:p>
                  </a:txBody>
                  <a:tcPr/>
                </a:tc>
                <a:tc>
                  <a:txBody>
                    <a:bodyPr/>
                    <a:lstStyle/>
                    <a:p>
                      <a:pPr algn="ctr"/>
                      <a:r>
                        <a:rPr lang="en-US" dirty="0"/>
                        <a:t>1%</a:t>
                      </a:r>
                    </a:p>
                  </a:txBody>
                  <a:tcPr/>
                </a:tc>
                <a:tc>
                  <a:txBody>
                    <a:bodyPr/>
                    <a:lstStyle/>
                    <a:p>
                      <a:pPr algn="ctr"/>
                      <a:r>
                        <a:rPr lang="en-US" dirty="0"/>
                        <a:t>3%</a:t>
                      </a:r>
                    </a:p>
                  </a:txBody>
                  <a:tcPr/>
                </a:tc>
                <a:tc>
                  <a:txBody>
                    <a:bodyPr/>
                    <a:lstStyle/>
                    <a:p>
                      <a:pPr marL="0" algn="ctr" defTabSz="914400" rtl="0" eaLnBrk="1" fontAlgn="ctr" latinLnBrk="0" hangingPunct="1"/>
                      <a:r>
                        <a:rPr lang="en-US" sz="1800" kern="1200" dirty="0"/>
                        <a:t>10%</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1074612750"/>
                  </a:ext>
                </a:extLst>
              </a:tr>
              <a:tr h="343352">
                <a:tc>
                  <a:txBody>
                    <a:bodyPr/>
                    <a:lstStyle/>
                    <a:p>
                      <a:r>
                        <a:rPr lang="en-US" dirty="0"/>
                        <a:t>Soufriere</a:t>
                      </a:r>
                    </a:p>
                  </a:txBody>
                  <a:tcPr/>
                </a:tc>
                <a:tc>
                  <a:txBody>
                    <a:bodyPr/>
                    <a:lstStyle/>
                    <a:p>
                      <a:pPr algn="ctr"/>
                      <a:r>
                        <a:rPr lang="en-US" dirty="0"/>
                        <a:t>8%</a:t>
                      </a:r>
                    </a:p>
                  </a:txBody>
                  <a:tcPr/>
                </a:tc>
                <a:tc>
                  <a:txBody>
                    <a:bodyPr/>
                    <a:lstStyle/>
                    <a:p>
                      <a:pPr algn="ctr"/>
                      <a:r>
                        <a:rPr lang="en-US" dirty="0"/>
                        <a:t>16%</a:t>
                      </a:r>
                    </a:p>
                  </a:txBody>
                  <a:tcPr/>
                </a:tc>
                <a:tc>
                  <a:txBody>
                    <a:bodyPr/>
                    <a:lstStyle/>
                    <a:p>
                      <a:pPr marL="0" algn="ctr" defTabSz="914400" rtl="0" eaLnBrk="1" fontAlgn="ctr" latinLnBrk="0" hangingPunct="1"/>
                      <a:r>
                        <a:rPr lang="en-US" sz="1800" kern="1200" dirty="0"/>
                        <a:t>7%</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3010907043"/>
                  </a:ext>
                </a:extLst>
              </a:tr>
              <a:tr h="343352">
                <a:tc>
                  <a:txBody>
                    <a:bodyPr/>
                    <a:lstStyle/>
                    <a:p>
                      <a:r>
                        <a:rPr lang="en-US" dirty="0"/>
                        <a:t>Choiseul</a:t>
                      </a:r>
                    </a:p>
                  </a:txBody>
                  <a:tcPr/>
                </a:tc>
                <a:tc>
                  <a:txBody>
                    <a:bodyPr/>
                    <a:lstStyle/>
                    <a:p>
                      <a:pPr algn="ctr"/>
                      <a:r>
                        <a:rPr lang="en-US" dirty="0"/>
                        <a:t>0.002%</a:t>
                      </a:r>
                    </a:p>
                  </a:txBody>
                  <a:tcPr/>
                </a:tc>
                <a:tc>
                  <a:txBody>
                    <a:bodyPr/>
                    <a:lstStyle/>
                    <a:p>
                      <a:pPr algn="ctr"/>
                      <a:r>
                        <a:rPr lang="en-US" dirty="0"/>
                        <a:t>3%</a:t>
                      </a:r>
                    </a:p>
                  </a:txBody>
                  <a:tcPr/>
                </a:tc>
                <a:tc>
                  <a:txBody>
                    <a:bodyPr/>
                    <a:lstStyle/>
                    <a:p>
                      <a:pPr marL="0" algn="ctr" defTabSz="914400" rtl="0" eaLnBrk="1" fontAlgn="ctr" latinLnBrk="0" hangingPunct="1"/>
                      <a:r>
                        <a:rPr lang="en-US" sz="1800" kern="1200" dirty="0"/>
                        <a:t>2%</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1886481093"/>
                  </a:ext>
                </a:extLst>
              </a:tr>
              <a:tr h="343352">
                <a:tc>
                  <a:txBody>
                    <a:bodyPr/>
                    <a:lstStyle/>
                    <a:p>
                      <a:r>
                        <a:rPr lang="en-US" dirty="0"/>
                        <a:t>Laborie</a:t>
                      </a:r>
                    </a:p>
                  </a:txBody>
                  <a:tcPr/>
                </a:tc>
                <a:tc>
                  <a:txBody>
                    <a:bodyPr/>
                    <a:lstStyle/>
                    <a:p>
                      <a:pPr algn="ctr"/>
                      <a:r>
                        <a:rPr lang="en-US" dirty="0"/>
                        <a:t>0%</a:t>
                      </a:r>
                    </a:p>
                  </a:txBody>
                  <a:tcPr/>
                </a:tc>
                <a:tc>
                  <a:txBody>
                    <a:bodyPr/>
                    <a:lstStyle/>
                    <a:p>
                      <a:pPr algn="ctr"/>
                      <a:r>
                        <a:rPr lang="en-US" dirty="0"/>
                        <a:t>5%</a:t>
                      </a:r>
                    </a:p>
                  </a:txBody>
                  <a:tcPr/>
                </a:tc>
                <a:tc>
                  <a:txBody>
                    <a:bodyPr/>
                    <a:lstStyle/>
                    <a:p>
                      <a:pPr marL="0" algn="ctr" defTabSz="914400" rtl="0" eaLnBrk="1" fontAlgn="ctr" latinLnBrk="0" hangingPunct="1"/>
                      <a:r>
                        <a:rPr lang="en-US" sz="1800" kern="1200" dirty="0"/>
                        <a:t>2%</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103561623"/>
                  </a:ext>
                </a:extLst>
              </a:tr>
              <a:tr h="343352">
                <a:tc>
                  <a:txBody>
                    <a:bodyPr/>
                    <a:lstStyle/>
                    <a:p>
                      <a:r>
                        <a:rPr lang="en-US" dirty="0"/>
                        <a:t>Vieux Fort </a:t>
                      </a:r>
                    </a:p>
                  </a:txBody>
                  <a:tcPr/>
                </a:tc>
                <a:tc>
                  <a:txBody>
                    <a:bodyPr/>
                    <a:lstStyle/>
                    <a:p>
                      <a:pPr algn="ctr"/>
                      <a:r>
                        <a:rPr lang="en-US" dirty="0"/>
                        <a:t>8%</a:t>
                      </a:r>
                    </a:p>
                  </a:txBody>
                  <a:tcPr/>
                </a:tc>
                <a:tc>
                  <a:txBody>
                    <a:bodyPr/>
                    <a:lstStyle/>
                    <a:p>
                      <a:pPr algn="ctr"/>
                      <a:r>
                        <a:rPr lang="en-US" dirty="0"/>
                        <a:t>6%</a:t>
                      </a:r>
                    </a:p>
                  </a:txBody>
                  <a:tcPr/>
                </a:tc>
                <a:tc>
                  <a:txBody>
                    <a:bodyPr/>
                    <a:lstStyle/>
                    <a:p>
                      <a:pPr marL="0" algn="ctr" defTabSz="914400" rtl="0" eaLnBrk="1" fontAlgn="ctr" latinLnBrk="0" hangingPunct="1"/>
                      <a:r>
                        <a:rPr lang="en-US" sz="1800" kern="1200" dirty="0"/>
                        <a:t>1%</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1846319433"/>
                  </a:ext>
                </a:extLst>
              </a:tr>
              <a:tr h="343352">
                <a:tc>
                  <a:txBody>
                    <a:bodyPr/>
                    <a:lstStyle/>
                    <a:p>
                      <a:r>
                        <a:rPr lang="en-US" dirty="0"/>
                        <a:t>Micoud </a:t>
                      </a:r>
                    </a:p>
                  </a:txBody>
                  <a:tcPr/>
                </a:tc>
                <a:tc>
                  <a:txBody>
                    <a:bodyPr/>
                    <a:lstStyle/>
                    <a:p>
                      <a:pPr algn="ctr"/>
                      <a:r>
                        <a:rPr lang="en-US" dirty="0"/>
                        <a:t>0%</a:t>
                      </a:r>
                    </a:p>
                  </a:txBody>
                  <a:tcPr/>
                </a:tc>
                <a:tc>
                  <a:txBody>
                    <a:bodyPr/>
                    <a:lstStyle/>
                    <a:p>
                      <a:pPr algn="ctr"/>
                      <a:r>
                        <a:rPr lang="en-US" dirty="0"/>
                        <a:t>2%</a:t>
                      </a:r>
                    </a:p>
                  </a:txBody>
                  <a:tcPr/>
                </a:tc>
                <a:tc>
                  <a:txBody>
                    <a:bodyPr/>
                    <a:lstStyle/>
                    <a:p>
                      <a:pPr marL="0" algn="ctr" defTabSz="914400" rtl="0" eaLnBrk="1" fontAlgn="ctr" latinLnBrk="0" hangingPunct="1"/>
                      <a:r>
                        <a:rPr lang="en-US" sz="1800" kern="1200" dirty="0"/>
                        <a:t>1%</a:t>
                      </a:r>
                      <a:endParaRPr lang="en-US" sz="1800" kern="1200" dirty="0">
                        <a:solidFill>
                          <a:schemeClr val="dk1"/>
                        </a:solidFill>
                        <a:latin typeface="+mn-lt"/>
                        <a:ea typeface="+mn-ea"/>
                        <a:cs typeface="+mn-cs"/>
                      </a:endParaRPr>
                    </a:p>
                  </a:txBody>
                  <a:tcPr marL="95250" marR="0" marT="0" marB="0" anchor="ctr"/>
                </a:tc>
                <a:extLst>
                  <a:ext uri="{0D108BD9-81ED-4DB2-BD59-A6C34878D82A}">
                    <a16:rowId xmlns:a16="http://schemas.microsoft.com/office/drawing/2014/main" val="2783335727"/>
                  </a:ext>
                </a:extLst>
              </a:tr>
            </a:tbl>
          </a:graphicData>
        </a:graphic>
      </p:graphicFrame>
      <p:sp>
        <p:nvSpPr>
          <p:cNvPr id="35" name="TextBox 34">
            <a:extLst>
              <a:ext uri="{FF2B5EF4-FFF2-40B4-BE49-F238E27FC236}">
                <a16:creationId xmlns:a16="http://schemas.microsoft.com/office/drawing/2014/main" id="{5DEF43FF-B797-4DF0-B47B-A6229F469892}"/>
              </a:ext>
            </a:extLst>
          </p:cNvPr>
          <p:cNvSpPr txBox="1"/>
          <p:nvPr/>
        </p:nvSpPr>
        <p:spPr>
          <a:xfrm>
            <a:off x="4419932" y="23817"/>
            <a:ext cx="5841690" cy="954107"/>
          </a:xfrm>
          <a:prstGeom prst="rect">
            <a:avLst/>
          </a:prstGeom>
          <a:noFill/>
        </p:spPr>
        <p:txBody>
          <a:bodyPr wrap="square" rtlCol="0">
            <a:spAutoFit/>
          </a:bodyPr>
          <a:lstStyle/>
          <a:p>
            <a:r>
              <a:rPr lang="en-US" sz="2800" b="1" dirty="0" err="1">
                <a:latin typeface="Open sans"/>
              </a:rPr>
              <a:t>Roomstook</a:t>
            </a:r>
            <a:r>
              <a:rPr lang="en-US" sz="2800" b="1" dirty="0">
                <a:latin typeface="Open sans"/>
              </a:rPr>
              <a:t> By Geographical Location</a:t>
            </a:r>
          </a:p>
        </p:txBody>
      </p:sp>
      <p:grpSp>
        <p:nvGrpSpPr>
          <p:cNvPr id="31" name="Group 30">
            <a:extLst>
              <a:ext uri="{FF2B5EF4-FFF2-40B4-BE49-F238E27FC236}">
                <a16:creationId xmlns:a16="http://schemas.microsoft.com/office/drawing/2014/main" id="{CE07D221-BAD2-4E88-80EE-84F67C7EB077}"/>
              </a:ext>
            </a:extLst>
          </p:cNvPr>
          <p:cNvGrpSpPr/>
          <p:nvPr/>
        </p:nvGrpSpPr>
        <p:grpSpPr>
          <a:xfrm>
            <a:off x="-78350" y="521525"/>
            <a:ext cx="5079365" cy="6326358"/>
            <a:chOff x="1693300" y="168595"/>
            <a:chExt cx="5079365" cy="6326358"/>
          </a:xfrm>
        </p:grpSpPr>
        <p:pic>
          <p:nvPicPr>
            <p:cNvPr id="7" name="Graphic 6">
              <a:extLst>
                <a:ext uri="{FF2B5EF4-FFF2-40B4-BE49-F238E27FC236}">
                  <a16:creationId xmlns:a16="http://schemas.microsoft.com/office/drawing/2014/main" id="{18578130-F16D-47F3-8405-45CC092B19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83670" y="414544"/>
              <a:ext cx="3726630" cy="5613472"/>
            </a:xfrm>
            <a:prstGeom prst="rect">
              <a:avLst/>
            </a:prstGeom>
          </p:spPr>
        </p:pic>
        <p:grpSp>
          <p:nvGrpSpPr>
            <p:cNvPr id="8" name="Group 7">
              <a:extLst>
                <a:ext uri="{FF2B5EF4-FFF2-40B4-BE49-F238E27FC236}">
                  <a16:creationId xmlns:a16="http://schemas.microsoft.com/office/drawing/2014/main" id="{48C5CE2F-46FC-4FCE-A76A-1478131B5926}"/>
                </a:ext>
              </a:extLst>
            </p:cNvPr>
            <p:cNvGrpSpPr/>
            <p:nvPr/>
          </p:nvGrpSpPr>
          <p:grpSpPr>
            <a:xfrm>
              <a:off x="1874849" y="4720443"/>
              <a:ext cx="1818229" cy="1058663"/>
              <a:chOff x="808864" y="5133973"/>
              <a:chExt cx="2115758" cy="1743420"/>
            </a:xfrm>
          </p:grpSpPr>
          <p:pic>
            <p:nvPicPr>
              <p:cNvPr id="9" name="Graphic 8" descr="Pin">
                <a:extLst>
                  <a:ext uri="{FF2B5EF4-FFF2-40B4-BE49-F238E27FC236}">
                    <a16:creationId xmlns:a16="http://schemas.microsoft.com/office/drawing/2014/main" id="{FCA37EC5-9A4A-4E1C-B015-38E65A13CA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71699" y="5133973"/>
                <a:ext cx="752923" cy="752923"/>
              </a:xfrm>
              <a:prstGeom prst="rect">
                <a:avLst/>
              </a:prstGeom>
            </p:spPr>
          </p:pic>
          <p:sp>
            <p:nvSpPr>
              <p:cNvPr id="10" name="TextBox 9">
                <a:extLst>
                  <a:ext uri="{FF2B5EF4-FFF2-40B4-BE49-F238E27FC236}">
                    <a16:creationId xmlns:a16="http://schemas.microsoft.com/office/drawing/2014/main" id="{EDF571FD-0C6E-4611-878E-7C8C2A03EAF0}"/>
                  </a:ext>
                </a:extLst>
              </p:cNvPr>
              <p:cNvSpPr txBox="1"/>
              <p:nvPr/>
            </p:nvSpPr>
            <p:spPr>
              <a:xfrm>
                <a:off x="808864" y="5306157"/>
                <a:ext cx="1885950" cy="1571236"/>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CHOISEUL</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6</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46</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52</a:t>
                </a:r>
              </a:p>
            </p:txBody>
          </p:sp>
        </p:grpSp>
        <p:grpSp>
          <p:nvGrpSpPr>
            <p:cNvPr id="11" name="Group 10">
              <a:extLst>
                <a:ext uri="{FF2B5EF4-FFF2-40B4-BE49-F238E27FC236}">
                  <a16:creationId xmlns:a16="http://schemas.microsoft.com/office/drawing/2014/main" id="{BC765722-00D0-4F1F-A64D-5BD3523C6DDB}"/>
                </a:ext>
              </a:extLst>
            </p:cNvPr>
            <p:cNvGrpSpPr/>
            <p:nvPr/>
          </p:nvGrpSpPr>
          <p:grpSpPr>
            <a:xfrm>
              <a:off x="1693300" y="2321796"/>
              <a:ext cx="2017779" cy="1169551"/>
              <a:chOff x="804416" y="3138847"/>
              <a:chExt cx="1885950" cy="1356522"/>
            </a:xfrm>
          </p:grpSpPr>
          <p:pic>
            <p:nvPicPr>
              <p:cNvPr id="12" name="Graphic 11" descr="Pin">
                <a:extLst>
                  <a:ext uri="{FF2B5EF4-FFF2-40B4-BE49-F238E27FC236}">
                    <a16:creationId xmlns:a16="http://schemas.microsoft.com/office/drawing/2014/main" id="{F3B42F85-CCC0-426D-8AAF-D08BC0E419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28850" y="3143251"/>
                <a:ext cx="461516" cy="461516"/>
              </a:xfrm>
              <a:prstGeom prst="rect">
                <a:avLst/>
              </a:prstGeom>
            </p:spPr>
          </p:pic>
          <p:sp>
            <p:nvSpPr>
              <p:cNvPr id="13" name="TextBox 12">
                <a:extLst>
                  <a:ext uri="{FF2B5EF4-FFF2-40B4-BE49-F238E27FC236}">
                    <a16:creationId xmlns:a16="http://schemas.microsoft.com/office/drawing/2014/main" id="{A10F80B3-E5B6-4E82-B8A1-D113F1935D42}"/>
                  </a:ext>
                </a:extLst>
              </p:cNvPr>
              <p:cNvSpPr txBox="1"/>
              <p:nvPr/>
            </p:nvSpPr>
            <p:spPr>
              <a:xfrm>
                <a:off x="804416" y="3138847"/>
                <a:ext cx="1885950" cy="1356522"/>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ANSE LA RAYE/CANARIES</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33</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51</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84</a:t>
                </a:r>
              </a:p>
            </p:txBody>
          </p:sp>
        </p:grpSp>
        <p:grpSp>
          <p:nvGrpSpPr>
            <p:cNvPr id="14" name="Group 13">
              <a:extLst>
                <a:ext uri="{FF2B5EF4-FFF2-40B4-BE49-F238E27FC236}">
                  <a16:creationId xmlns:a16="http://schemas.microsoft.com/office/drawing/2014/main" id="{73A473E6-01FD-4CA8-AF8E-358BD00E908C}"/>
                </a:ext>
              </a:extLst>
            </p:cNvPr>
            <p:cNvGrpSpPr/>
            <p:nvPr/>
          </p:nvGrpSpPr>
          <p:grpSpPr>
            <a:xfrm>
              <a:off x="2435214" y="1215582"/>
              <a:ext cx="1860562" cy="954107"/>
              <a:chOff x="1661162" y="2064462"/>
              <a:chExt cx="1624969" cy="1042248"/>
            </a:xfrm>
          </p:grpSpPr>
          <p:pic>
            <p:nvPicPr>
              <p:cNvPr id="15" name="Graphic 14" descr="Pin">
                <a:extLst>
                  <a:ext uri="{FF2B5EF4-FFF2-40B4-BE49-F238E27FC236}">
                    <a16:creationId xmlns:a16="http://schemas.microsoft.com/office/drawing/2014/main" id="{7221832F-BDBB-4175-B516-3776A9E3B8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54879" y="2353991"/>
                <a:ext cx="431252" cy="463192"/>
              </a:xfrm>
              <a:prstGeom prst="rect">
                <a:avLst/>
              </a:prstGeom>
            </p:spPr>
          </p:pic>
          <p:sp>
            <p:nvSpPr>
              <p:cNvPr id="16" name="TextBox 15">
                <a:extLst>
                  <a:ext uri="{FF2B5EF4-FFF2-40B4-BE49-F238E27FC236}">
                    <a16:creationId xmlns:a16="http://schemas.microsoft.com/office/drawing/2014/main" id="{38063EFC-861F-4331-8F8B-B4F712F1CD56}"/>
                  </a:ext>
                </a:extLst>
              </p:cNvPr>
              <p:cNvSpPr txBox="1"/>
              <p:nvPr/>
            </p:nvSpPr>
            <p:spPr>
              <a:xfrm>
                <a:off x="1661162" y="2064462"/>
                <a:ext cx="1542589" cy="1042248"/>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CASTRIES</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877</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404</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1,281</a:t>
                </a:r>
                <a:endParaRPr lang="en-US" sz="1600" b="1" i="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18" name="Group 17">
              <a:extLst>
                <a:ext uri="{FF2B5EF4-FFF2-40B4-BE49-F238E27FC236}">
                  <a16:creationId xmlns:a16="http://schemas.microsoft.com/office/drawing/2014/main" id="{41AF8D0B-E6DC-40AE-8055-30A5BE31FC8E}"/>
                </a:ext>
              </a:extLst>
            </p:cNvPr>
            <p:cNvGrpSpPr/>
            <p:nvPr/>
          </p:nvGrpSpPr>
          <p:grpSpPr>
            <a:xfrm>
              <a:off x="3015101" y="168595"/>
              <a:ext cx="1774298" cy="954107"/>
              <a:chOff x="1636578" y="2105147"/>
              <a:chExt cx="1683298" cy="1042249"/>
            </a:xfrm>
          </p:grpSpPr>
          <p:pic>
            <p:nvPicPr>
              <p:cNvPr id="19" name="Graphic 18" descr="Pin">
                <a:extLst>
                  <a:ext uri="{FF2B5EF4-FFF2-40B4-BE49-F238E27FC236}">
                    <a16:creationId xmlns:a16="http://schemas.microsoft.com/office/drawing/2014/main" id="{F399F6BC-557C-4D29-9178-3238A1D8A8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54879" y="2353990"/>
                <a:ext cx="464997" cy="499437"/>
              </a:xfrm>
              <a:prstGeom prst="rect">
                <a:avLst/>
              </a:prstGeom>
            </p:spPr>
          </p:pic>
          <p:sp>
            <p:nvSpPr>
              <p:cNvPr id="20" name="TextBox 19">
                <a:extLst>
                  <a:ext uri="{FF2B5EF4-FFF2-40B4-BE49-F238E27FC236}">
                    <a16:creationId xmlns:a16="http://schemas.microsoft.com/office/drawing/2014/main" id="{1732131D-7255-4A6E-8279-23498751EEFE}"/>
                  </a:ext>
                </a:extLst>
              </p:cNvPr>
              <p:cNvSpPr txBox="1"/>
              <p:nvPr/>
            </p:nvSpPr>
            <p:spPr>
              <a:xfrm>
                <a:off x="1636578" y="2105147"/>
                <a:ext cx="1542589" cy="1042249"/>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GROS ISLET</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2025</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793</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2,828</a:t>
                </a:r>
                <a:endParaRPr lang="en-US" sz="1600" b="1" i="1" dirty="0">
                  <a:latin typeface="Calibri" panose="020F050202020403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96EBF4CE-6A47-4E0E-8687-AE6EFFD4A685}"/>
                </a:ext>
              </a:extLst>
            </p:cNvPr>
            <p:cNvGrpSpPr/>
            <p:nvPr/>
          </p:nvGrpSpPr>
          <p:grpSpPr>
            <a:xfrm>
              <a:off x="1826585" y="3726170"/>
              <a:ext cx="1669155" cy="968194"/>
              <a:chOff x="791845" y="3143250"/>
              <a:chExt cx="2040690" cy="1122975"/>
            </a:xfrm>
          </p:grpSpPr>
          <p:pic>
            <p:nvPicPr>
              <p:cNvPr id="22" name="Graphic 21" descr="Pin">
                <a:extLst>
                  <a:ext uri="{FF2B5EF4-FFF2-40B4-BE49-F238E27FC236}">
                    <a16:creationId xmlns:a16="http://schemas.microsoft.com/office/drawing/2014/main" id="{997BD6B8-DB8B-47A6-BCE2-92DB405EC9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28850" y="3143250"/>
                <a:ext cx="603685" cy="603685"/>
              </a:xfrm>
              <a:prstGeom prst="rect">
                <a:avLst/>
              </a:prstGeom>
            </p:spPr>
          </p:pic>
          <p:sp>
            <p:nvSpPr>
              <p:cNvPr id="23" name="TextBox 22">
                <a:extLst>
                  <a:ext uri="{FF2B5EF4-FFF2-40B4-BE49-F238E27FC236}">
                    <a16:creationId xmlns:a16="http://schemas.microsoft.com/office/drawing/2014/main" id="{D6F51098-A34A-443D-9342-675EA3DC5C54}"/>
                  </a:ext>
                </a:extLst>
              </p:cNvPr>
              <p:cNvSpPr txBox="1"/>
              <p:nvPr/>
            </p:nvSpPr>
            <p:spPr>
              <a:xfrm>
                <a:off x="791845" y="3159589"/>
                <a:ext cx="1885950" cy="1106636"/>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SOUFRIERE</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274</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284</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558</a:t>
                </a:r>
              </a:p>
            </p:txBody>
          </p:sp>
        </p:grpSp>
        <p:grpSp>
          <p:nvGrpSpPr>
            <p:cNvPr id="5" name="Group 4">
              <a:extLst>
                <a:ext uri="{FF2B5EF4-FFF2-40B4-BE49-F238E27FC236}">
                  <a16:creationId xmlns:a16="http://schemas.microsoft.com/office/drawing/2014/main" id="{633D910A-B167-49EC-A76E-2D9C27C36CCC}"/>
                </a:ext>
              </a:extLst>
            </p:cNvPr>
            <p:cNvGrpSpPr/>
            <p:nvPr/>
          </p:nvGrpSpPr>
          <p:grpSpPr>
            <a:xfrm>
              <a:off x="4637452" y="5322727"/>
              <a:ext cx="1738596" cy="954107"/>
              <a:chOff x="4628603" y="5125668"/>
              <a:chExt cx="1738596" cy="954107"/>
            </a:xfrm>
          </p:grpSpPr>
          <p:pic>
            <p:nvPicPr>
              <p:cNvPr id="17" name="Graphic 16" descr="Pin">
                <a:extLst>
                  <a:ext uri="{FF2B5EF4-FFF2-40B4-BE49-F238E27FC236}">
                    <a16:creationId xmlns:a16="http://schemas.microsoft.com/office/drawing/2014/main" id="{242451B4-D0BA-4C30-BC58-B2EBF132F38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628603" y="5194642"/>
                <a:ext cx="457200" cy="457200"/>
              </a:xfrm>
              <a:prstGeom prst="rect">
                <a:avLst/>
              </a:prstGeom>
            </p:spPr>
          </p:pic>
          <p:sp>
            <p:nvSpPr>
              <p:cNvPr id="24" name="TextBox 23">
                <a:extLst>
                  <a:ext uri="{FF2B5EF4-FFF2-40B4-BE49-F238E27FC236}">
                    <a16:creationId xmlns:a16="http://schemas.microsoft.com/office/drawing/2014/main" id="{7F80119D-2951-4CFF-B387-82672B96D024}"/>
                  </a:ext>
                </a:extLst>
              </p:cNvPr>
              <p:cNvSpPr txBox="1"/>
              <p:nvPr/>
            </p:nvSpPr>
            <p:spPr>
              <a:xfrm>
                <a:off x="4746461" y="5125668"/>
                <a:ext cx="1620738" cy="954107"/>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VIUEX FORT</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286</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105</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391</a:t>
                </a:r>
              </a:p>
            </p:txBody>
          </p:sp>
        </p:grpSp>
        <p:grpSp>
          <p:nvGrpSpPr>
            <p:cNvPr id="25" name="Group 24">
              <a:extLst>
                <a:ext uri="{FF2B5EF4-FFF2-40B4-BE49-F238E27FC236}">
                  <a16:creationId xmlns:a16="http://schemas.microsoft.com/office/drawing/2014/main" id="{5B079430-E76B-4D0E-A420-21630550BCAD}"/>
                </a:ext>
              </a:extLst>
            </p:cNvPr>
            <p:cNvGrpSpPr/>
            <p:nvPr/>
          </p:nvGrpSpPr>
          <p:grpSpPr>
            <a:xfrm>
              <a:off x="2850966" y="5094491"/>
              <a:ext cx="1620738" cy="1400462"/>
              <a:chOff x="901530" y="4588483"/>
              <a:chExt cx="1885950" cy="2306298"/>
            </a:xfrm>
          </p:grpSpPr>
          <p:pic>
            <p:nvPicPr>
              <p:cNvPr id="26" name="Graphic 25" descr="Pin">
                <a:extLst>
                  <a:ext uri="{FF2B5EF4-FFF2-40B4-BE49-F238E27FC236}">
                    <a16:creationId xmlns:a16="http://schemas.microsoft.com/office/drawing/2014/main" id="{8DC5027B-6123-40B1-B36E-C5CF8A47EE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89429" y="4588483"/>
                <a:ext cx="752924" cy="752923"/>
              </a:xfrm>
              <a:prstGeom prst="rect">
                <a:avLst/>
              </a:prstGeom>
            </p:spPr>
          </p:pic>
          <p:sp>
            <p:nvSpPr>
              <p:cNvPr id="27" name="TextBox 26">
                <a:extLst>
                  <a:ext uri="{FF2B5EF4-FFF2-40B4-BE49-F238E27FC236}">
                    <a16:creationId xmlns:a16="http://schemas.microsoft.com/office/drawing/2014/main" id="{3ACB932C-BB98-4734-BDDA-16CA6FE0F607}"/>
                  </a:ext>
                </a:extLst>
              </p:cNvPr>
              <p:cNvSpPr txBox="1"/>
              <p:nvPr/>
            </p:nvSpPr>
            <p:spPr>
              <a:xfrm>
                <a:off x="901530" y="5323546"/>
                <a:ext cx="1885950" cy="1571235"/>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LABORIE</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0</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88</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88</a:t>
                </a:r>
              </a:p>
            </p:txBody>
          </p:sp>
        </p:grpSp>
        <p:grpSp>
          <p:nvGrpSpPr>
            <p:cNvPr id="28" name="Group 27">
              <a:extLst>
                <a:ext uri="{FF2B5EF4-FFF2-40B4-BE49-F238E27FC236}">
                  <a16:creationId xmlns:a16="http://schemas.microsoft.com/office/drawing/2014/main" id="{870A494B-C5B6-477E-AB77-6E81493661E6}"/>
                </a:ext>
              </a:extLst>
            </p:cNvPr>
            <p:cNvGrpSpPr/>
            <p:nvPr/>
          </p:nvGrpSpPr>
          <p:grpSpPr>
            <a:xfrm>
              <a:off x="5050968" y="4111202"/>
              <a:ext cx="1721697" cy="954107"/>
              <a:chOff x="4628603" y="5047365"/>
              <a:chExt cx="1721697" cy="954107"/>
            </a:xfrm>
          </p:grpSpPr>
          <p:pic>
            <p:nvPicPr>
              <p:cNvPr id="29" name="Graphic 28" descr="Pin">
                <a:extLst>
                  <a:ext uri="{FF2B5EF4-FFF2-40B4-BE49-F238E27FC236}">
                    <a16:creationId xmlns:a16="http://schemas.microsoft.com/office/drawing/2014/main" id="{E333AEBC-B838-41F0-9F57-4EEEDB2A6B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4628603" y="5194642"/>
                <a:ext cx="457200" cy="457200"/>
              </a:xfrm>
              <a:prstGeom prst="rect">
                <a:avLst/>
              </a:prstGeom>
            </p:spPr>
          </p:pic>
          <p:sp>
            <p:nvSpPr>
              <p:cNvPr id="30" name="TextBox 29">
                <a:extLst>
                  <a:ext uri="{FF2B5EF4-FFF2-40B4-BE49-F238E27FC236}">
                    <a16:creationId xmlns:a16="http://schemas.microsoft.com/office/drawing/2014/main" id="{EC8C20F9-CBCE-4E29-BA4B-994BBB9B0FC5}"/>
                  </a:ext>
                </a:extLst>
              </p:cNvPr>
              <p:cNvSpPr txBox="1"/>
              <p:nvPr/>
            </p:nvSpPr>
            <p:spPr>
              <a:xfrm>
                <a:off x="4729562" y="5047365"/>
                <a:ext cx="1620738" cy="954107"/>
              </a:xfrm>
              <a:prstGeom prst="rect">
                <a:avLst/>
              </a:prstGeom>
              <a:noFill/>
            </p:spPr>
            <p:txBody>
              <a:bodyPr wrap="square" rtlCol="0">
                <a:spAutoFit/>
              </a:bodyPr>
              <a:lstStyle/>
              <a:p>
                <a:pPr algn="ctr"/>
                <a:r>
                  <a:rPr lang="en-US" sz="1400" b="1" dirty="0">
                    <a:latin typeface="Calibri" panose="020F0502020204030204" pitchFamily="34" charset="0"/>
                    <a:ea typeface="Calibri" panose="020F0502020204030204" pitchFamily="34" charset="0"/>
                    <a:cs typeface="Calibri" panose="020F0502020204030204" pitchFamily="34" charset="0"/>
                  </a:rPr>
                  <a:t>MICOUD</a:t>
                </a:r>
              </a:p>
              <a:p>
                <a:pPr algn="ctr"/>
                <a:r>
                  <a:rPr lang="en-US" sz="1400" dirty="0">
                    <a:latin typeface="Calibri" panose="020F0502020204030204" pitchFamily="34" charset="0"/>
                    <a:ea typeface="Calibri" panose="020F0502020204030204" pitchFamily="34" charset="0"/>
                    <a:cs typeface="Calibri" panose="020F0502020204030204" pitchFamily="34" charset="0"/>
                  </a:rPr>
                  <a:t>Formal:</a:t>
                </a:r>
                <a:r>
                  <a:rPr lang="en-US" sz="1400" b="1" dirty="0">
                    <a:latin typeface="Calibri" panose="020F0502020204030204" pitchFamily="34" charset="0"/>
                    <a:ea typeface="Calibri" panose="020F0502020204030204" pitchFamily="34" charset="0"/>
                    <a:cs typeface="Calibri" panose="020F0502020204030204" pitchFamily="34" charset="0"/>
                  </a:rPr>
                  <a:t>0</a:t>
                </a:r>
              </a:p>
              <a:p>
                <a:pPr algn="ctr"/>
                <a:r>
                  <a:rPr lang="en-US" sz="1400" dirty="0">
                    <a:latin typeface="Calibri" panose="020F0502020204030204" pitchFamily="34" charset="0"/>
                    <a:ea typeface="Calibri" panose="020F0502020204030204" pitchFamily="34" charset="0"/>
                    <a:cs typeface="Calibri" panose="020F0502020204030204" pitchFamily="34" charset="0"/>
                  </a:rPr>
                  <a:t>Alternative:</a:t>
                </a:r>
                <a:r>
                  <a:rPr lang="en-US" sz="1400" b="1" dirty="0">
                    <a:latin typeface="Calibri" panose="020F0502020204030204" pitchFamily="34" charset="0"/>
                    <a:ea typeface="Calibri" panose="020F0502020204030204" pitchFamily="34" charset="0"/>
                    <a:cs typeface="Calibri" panose="020F0502020204030204" pitchFamily="34" charset="0"/>
                  </a:rPr>
                  <a:t>45</a:t>
                </a:r>
              </a:p>
              <a:p>
                <a:pPr algn="ctr"/>
                <a:r>
                  <a:rPr lang="en-US" sz="1400" b="1" i="1" dirty="0">
                    <a:latin typeface="Calibri" panose="020F0502020204030204" pitchFamily="34" charset="0"/>
                    <a:ea typeface="Calibri" panose="020F0502020204030204" pitchFamily="34" charset="0"/>
                    <a:cs typeface="Calibri" panose="020F0502020204030204" pitchFamily="34" charset="0"/>
                  </a:rPr>
                  <a:t>Total:45</a:t>
                </a:r>
              </a:p>
            </p:txBody>
          </p:sp>
        </p:grpSp>
      </p:grpSp>
    </p:spTree>
    <p:extLst>
      <p:ext uri="{BB962C8B-B14F-4D97-AF65-F5344CB8AC3E}">
        <p14:creationId xmlns:p14="http://schemas.microsoft.com/office/powerpoint/2010/main" val="23989649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56936-FE09-4CE3-B9AC-EF04816CD1C5}"/>
              </a:ext>
            </a:extLst>
          </p:cNvPr>
          <p:cNvSpPr>
            <a:spLocks noGrp="1"/>
          </p:cNvSpPr>
          <p:nvPr>
            <p:ph type="title"/>
          </p:nvPr>
        </p:nvSpPr>
        <p:spPr/>
        <p:txBody>
          <a:bodyPr/>
          <a:lstStyle/>
          <a:p>
            <a:r>
              <a:rPr lang="en-US" b="1" dirty="0">
                <a:latin typeface="Open Sans"/>
              </a:rPr>
              <a:t>TOURISM INCENTIVES</a:t>
            </a:r>
          </a:p>
        </p:txBody>
      </p:sp>
      <p:sp>
        <p:nvSpPr>
          <p:cNvPr id="3" name="Text Placeholder 2">
            <a:extLst>
              <a:ext uri="{FF2B5EF4-FFF2-40B4-BE49-F238E27FC236}">
                <a16:creationId xmlns:a16="http://schemas.microsoft.com/office/drawing/2014/main" id="{0933FD5E-C234-4E2F-8A01-04BAE18D22FC}"/>
              </a:ext>
            </a:extLst>
          </p:cNvPr>
          <p:cNvSpPr>
            <a:spLocks noGrp="1"/>
          </p:cNvSpPr>
          <p:nvPr>
            <p:ph type="body" sz="quarter" idx="28"/>
          </p:nvPr>
        </p:nvSpPr>
        <p:spPr/>
        <p:txBody>
          <a:bodyPr/>
          <a:lstStyle/>
          <a:p>
            <a:r>
              <a:rPr lang="en-US" b="1" dirty="0">
                <a:solidFill>
                  <a:srgbClr val="00B0F0"/>
                </a:solidFill>
              </a:rPr>
              <a:t>Nye Gabriel</a:t>
            </a:r>
          </a:p>
        </p:txBody>
      </p:sp>
      <p:pic>
        <p:nvPicPr>
          <p:cNvPr id="6" name="Picture Placeholder 5">
            <a:extLst>
              <a:ext uri="{FF2B5EF4-FFF2-40B4-BE49-F238E27FC236}">
                <a16:creationId xmlns:a16="http://schemas.microsoft.com/office/drawing/2014/main" id="{B49D097D-7761-4468-A0D8-0CE13ABE34B6}"/>
              </a:ext>
            </a:extLst>
          </p:cNvPr>
          <p:cNvPicPr>
            <a:picLocks noGrp="1" noChangeAspect="1"/>
          </p:cNvPicPr>
          <p:nvPr>
            <p:ph type="pic" sz="quarter" idx="47"/>
          </p:nvPr>
        </p:nvPicPr>
        <p:blipFill>
          <a:blip r:embed="rId2">
            <a:extLst>
              <a:ext uri="{28A0092B-C50C-407E-A947-70E740481C1C}">
                <a14:useLocalDpi xmlns:a14="http://schemas.microsoft.com/office/drawing/2010/main" val="0"/>
              </a:ext>
            </a:extLst>
          </a:blip>
          <a:srcRect l="8149" r="8149"/>
          <a:stretch>
            <a:fillRect/>
          </a:stretch>
        </p:blipFill>
        <p:spPr/>
      </p:pic>
    </p:spTree>
    <p:extLst>
      <p:ext uri="{BB962C8B-B14F-4D97-AF65-F5344CB8AC3E}">
        <p14:creationId xmlns:p14="http://schemas.microsoft.com/office/powerpoint/2010/main" val="17832836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EF304F5-32C5-4869-B185-859B567855A8}"/>
              </a:ext>
            </a:extLst>
          </p:cNvPr>
          <p:cNvSpPr>
            <a:spLocks noGrp="1"/>
          </p:cNvSpPr>
          <p:nvPr>
            <p:ph type="title"/>
          </p:nvPr>
        </p:nvSpPr>
        <p:spPr>
          <a:xfrm>
            <a:off x="270647" y="765615"/>
            <a:ext cx="5763233" cy="708690"/>
          </a:xfrm>
        </p:spPr>
        <p:txBody>
          <a:bodyPr>
            <a:noAutofit/>
          </a:bodyPr>
          <a:lstStyle/>
          <a:p>
            <a:pPr algn="ctr"/>
            <a:r>
              <a:rPr lang="en-US" sz="4000" dirty="0">
                <a:solidFill>
                  <a:schemeClr val="tx2"/>
                </a:solidFill>
                <a:latin typeface="Poppins" pitchFamily="2" charset="77"/>
                <a:cs typeface="Poppins" pitchFamily="2" charset="77"/>
              </a:rPr>
              <a:t>PURPOSE OF INCENTIVES</a:t>
            </a:r>
          </a:p>
        </p:txBody>
      </p:sp>
      <p:pic>
        <p:nvPicPr>
          <p:cNvPr id="11" name="Picture Placeholder 10">
            <a:extLst>
              <a:ext uri="{FF2B5EF4-FFF2-40B4-BE49-F238E27FC236}">
                <a16:creationId xmlns:a16="http://schemas.microsoft.com/office/drawing/2014/main" id="{1CE2008D-DBCE-465F-90DA-B28A4E525131}"/>
              </a:ext>
            </a:extLst>
          </p:cNvPr>
          <p:cNvPicPr>
            <a:picLocks noGrp="1" noChangeAspect="1"/>
          </p:cNvPicPr>
          <p:nvPr>
            <p:ph type="pic" sz="quarter" idx="10"/>
          </p:nvPr>
        </p:nvPicPr>
        <p:blipFill>
          <a:blip r:embed="rId3"/>
          <a:srcRect l="22891" r="22891"/>
          <a:stretch/>
        </p:blipFill>
        <p:spPr>
          <a:xfrm>
            <a:off x="5763233" y="613214"/>
            <a:ext cx="5855754" cy="5631571"/>
          </a:xfrm>
        </p:spPr>
      </p:pic>
      <p:sp>
        <p:nvSpPr>
          <p:cNvPr id="8" name="TextBox 7">
            <a:extLst>
              <a:ext uri="{FF2B5EF4-FFF2-40B4-BE49-F238E27FC236}">
                <a16:creationId xmlns:a16="http://schemas.microsoft.com/office/drawing/2014/main" id="{6BB045F8-67B6-4397-877C-84002DAF21C3}"/>
              </a:ext>
            </a:extLst>
          </p:cNvPr>
          <p:cNvSpPr txBox="1"/>
          <p:nvPr/>
        </p:nvSpPr>
        <p:spPr>
          <a:xfrm>
            <a:off x="104263" y="2365567"/>
            <a:ext cx="6096000" cy="2862322"/>
          </a:xfrm>
          <a:prstGeom prst="rect">
            <a:avLst/>
          </a:prstGeom>
          <a:noFill/>
        </p:spPr>
        <p:txBody>
          <a:bodyPr wrap="square">
            <a:spAutoFit/>
          </a:bodyPr>
          <a:lstStyle/>
          <a:p>
            <a:pPr marL="0" marR="0" algn="just">
              <a:lnSpc>
                <a:spcPct val="150000"/>
              </a:lnSpc>
              <a:spcBef>
                <a:spcPts val="0"/>
              </a:spcBef>
              <a:spcAft>
                <a:spcPts val="800"/>
              </a:spcAft>
            </a:pPr>
            <a:r>
              <a:rPr lang="en-US" sz="2000" b="1" dirty="0">
                <a:solidFill>
                  <a:schemeClr val="tx1"/>
                </a:solidFill>
                <a:effectLst/>
                <a:ea typeface="Calibri" panose="020F0502020204030204" pitchFamily="34" charset="0"/>
                <a:cs typeface="Times New Roman" panose="02020603050405020304" pitchFamily="18" charset="0"/>
              </a:rPr>
              <a:t>The Ministry through its enabling legislation, offer a variety of fiscal incentives to touristic enterprises. The purpose of these incentives is to encourage and facilitate investment and employment in the industry so as to ensure the improvement and diversification of the </a:t>
            </a:r>
            <a:r>
              <a:rPr lang="en-US" sz="2000" b="1" dirty="0">
                <a:ea typeface="Calibri" panose="020F0502020204030204" pitchFamily="34" charset="0"/>
                <a:cs typeface="Times New Roman" panose="02020603050405020304" pitchFamily="18" charset="0"/>
              </a:rPr>
              <a:t>D</a:t>
            </a:r>
            <a:r>
              <a:rPr lang="en-US" sz="2000" b="1" dirty="0">
                <a:solidFill>
                  <a:schemeClr val="tx1"/>
                </a:solidFill>
                <a:effectLst/>
                <a:ea typeface="Calibri" panose="020F0502020204030204" pitchFamily="34" charset="0"/>
                <a:cs typeface="Times New Roman" panose="02020603050405020304" pitchFamily="18" charset="0"/>
              </a:rPr>
              <a:t>estination’s tourism product</a:t>
            </a:r>
            <a:r>
              <a:rPr lang="en-US" b="1" dirty="0">
                <a:solidFill>
                  <a:schemeClr val="tx1"/>
                </a:solidFill>
                <a:effectLst/>
                <a:latin typeface="Calibri Light (Body)"/>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1341901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EF304F5-32C5-4869-B185-859B567855A8}"/>
              </a:ext>
            </a:extLst>
          </p:cNvPr>
          <p:cNvSpPr>
            <a:spLocks noGrp="1"/>
          </p:cNvSpPr>
          <p:nvPr>
            <p:ph type="title"/>
          </p:nvPr>
        </p:nvSpPr>
        <p:spPr>
          <a:xfrm>
            <a:off x="0" y="613215"/>
            <a:ext cx="5763233" cy="708690"/>
          </a:xfrm>
        </p:spPr>
        <p:txBody>
          <a:bodyPr/>
          <a:lstStyle/>
          <a:p>
            <a:pPr algn="ctr"/>
            <a:r>
              <a:rPr lang="en-US" sz="3600" dirty="0">
                <a:solidFill>
                  <a:schemeClr val="tx2"/>
                </a:solidFill>
                <a:latin typeface="Poppins" pitchFamily="2" charset="77"/>
                <a:cs typeface="Poppins" pitchFamily="2" charset="77"/>
              </a:rPr>
              <a:t>TYPES OF</a:t>
            </a:r>
            <a:r>
              <a:rPr lang="en-US" sz="3600" b="1" dirty="0">
                <a:solidFill>
                  <a:schemeClr val="tx2"/>
                </a:solidFill>
                <a:latin typeface="Poppins" pitchFamily="2" charset="77"/>
                <a:cs typeface="Poppins" pitchFamily="2" charset="77"/>
              </a:rPr>
              <a:t> </a:t>
            </a:r>
            <a:r>
              <a:rPr lang="en-US" sz="3600" dirty="0">
                <a:solidFill>
                  <a:schemeClr val="tx2"/>
                </a:solidFill>
                <a:latin typeface="Poppins" pitchFamily="2" charset="77"/>
                <a:cs typeface="Poppins" pitchFamily="2" charset="77"/>
              </a:rPr>
              <a:t>INCENTIVES</a:t>
            </a:r>
            <a:endParaRPr lang="en-US" sz="3600" dirty="0"/>
          </a:p>
        </p:txBody>
      </p:sp>
      <p:pic>
        <p:nvPicPr>
          <p:cNvPr id="11" name="Picture Placeholder 10">
            <a:extLst>
              <a:ext uri="{FF2B5EF4-FFF2-40B4-BE49-F238E27FC236}">
                <a16:creationId xmlns:a16="http://schemas.microsoft.com/office/drawing/2014/main" id="{1CE2008D-DBCE-465F-90DA-B28A4E52513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5763233" y="1233092"/>
            <a:ext cx="5855754" cy="4391815"/>
          </a:xfrm>
        </p:spPr>
      </p:pic>
      <p:sp>
        <p:nvSpPr>
          <p:cNvPr id="8" name="TextBox 7">
            <a:extLst>
              <a:ext uri="{FF2B5EF4-FFF2-40B4-BE49-F238E27FC236}">
                <a16:creationId xmlns:a16="http://schemas.microsoft.com/office/drawing/2014/main" id="{6BB045F8-67B6-4397-877C-84002DAF21C3}"/>
              </a:ext>
            </a:extLst>
          </p:cNvPr>
          <p:cNvSpPr txBox="1"/>
          <p:nvPr/>
        </p:nvSpPr>
        <p:spPr>
          <a:xfrm>
            <a:off x="122194" y="2118970"/>
            <a:ext cx="6096000" cy="4196020"/>
          </a:xfrm>
          <a:prstGeom prst="rect">
            <a:avLst/>
          </a:prstGeom>
          <a:noFill/>
        </p:spPr>
        <p:txBody>
          <a:bodyPr wrap="square">
            <a:spAutoFit/>
          </a:bodyPr>
          <a:lstStyle/>
          <a:p>
            <a:pPr marL="0" marR="0" algn="just">
              <a:lnSpc>
                <a:spcPct val="150000"/>
              </a:lnSpc>
              <a:spcBef>
                <a:spcPts val="0"/>
              </a:spcBef>
              <a:spcAft>
                <a:spcPts val="800"/>
              </a:spcAft>
            </a:pPr>
            <a:r>
              <a:rPr lang="en-US" sz="2000" b="1" dirty="0">
                <a:solidFill>
                  <a:schemeClr val="tx1"/>
                </a:solidFill>
                <a:effectLst/>
                <a:ea typeface="Calibri" panose="020F0502020204030204" pitchFamily="34" charset="0"/>
                <a:cs typeface="Times New Roman" panose="02020603050405020304" pitchFamily="18" charset="0"/>
              </a:rPr>
              <a:t>Tourism incentives fall under four (4) broad categories as per the Tourism Development Act. They are as follows:</a:t>
            </a:r>
          </a:p>
          <a:p>
            <a:pPr marL="457200" marR="0" indent="-457200" algn="just">
              <a:lnSpc>
                <a:spcPct val="150000"/>
              </a:lnSpc>
              <a:spcBef>
                <a:spcPts val="0"/>
              </a:spcBef>
              <a:spcAft>
                <a:spcPts val="800"/>
              </a:spcAft>
              <a:buFont typeface="+mj-lt"/>
              <a:buAutoNum type="alphaLcParenR"/>
            </a:pPr>
            <a:r>
              <a:rPr lang="en-US" sz="2000" dirty="0">
                <a:solidFill>
                  <a:schemeClr val="tx1"/>
                </a:solidFill>
                <a:effectLst/>
                <a:ea typeface="Calibri" panose="020F0502020204030204" pitchFamily="34" charset="0"/>
                <a:cs typeface="Times New Roman" panose="02020603050405020304" pitchFamily="18" charset="0"/>
              </a:rPr>
              <a:t>Incentives for Tourism Investment;</a:t>
            </a:r>
          </a:p>
          <a:p>
            <a:pPr marL="457200" marR="0" indent="-457200" algn="just">
              <a:lnSpc>
                <a:spcPct val="150000"/>
              </a:lnSpc>
              <a:spcBef>
                <a:spcPts val="0"/>
              </a:spcBef>
              <a:spcAft>
                <a:spcPts val="800"/>
              </a:spcAft>
              <a:buFont typeface="+mj-lt"/>
              <a:buAutoNum type="alphaLcParenR"/>
            </a:pPr>
            <a:r>
              <a:rPr lang="en-US" sz="2000" dirty="0">
                <a:ea typeface="Calibri" panose="020F0502020204030204" pitchFamily="34" charset="0"/>
                <a:cs typeface="Times New Roman" panose="02020603050405020304" pitchFamily="18" charset="0"/>
              </a:rPr>
              <a:t>Incentives for a Tourism Investment: Specialized Support Area;</a:t>
            </a:r>
          </a:p>
          <a:p>
            <a:pPr marL="457200" marR="0" indent="-457200" algn="just">
              <a:lnSpc>
                <a:spcPct val="150000"/>
              </a:lnSpc>
              <a:spcBef>
                <a:spcPts val="0"/>
              </a:spcBef>
              <a:spcAft>
                <a:spcPts val="800"/>
              </a:spcAft>
              <a:buFont typeface="+mj-lt"/>
              <a:buAutoNum type="alphaLcParenR"/>
            </a:pPr>
            <a:r>
              <a:rPr lang="en-US" sz="2000" dirty="0">
                <a:solidFill>
                  <a:schemeClr val="tx1"/>
                </a:solidFill>
                <a:effectLst/>
                <a:ea typeface="Calibri" panose="020F0502020204030204" pitchFamily="34" charset="0"/>
                <a:cs typeface="Times New Roman" panose="02020603050405020304" pitchFamily="18" charset="0"/>
              </a:rPr>
              <a:t>Additional Incentives; and </a:t>
            </a:r>
          </a:p>
          <a:p>
            <a:pPr marL="457200" marR="0" indent="-457200" algn="just">
              <a:lnSpc>
                <a:spcPct val="150000"/>
              </a:lnSpc>
              <a:spcBef>
                <a:spcPts val="0"/>
              </a:spcBef>
              <a:spcAft>
                <a:spcPts val="800"/>
              </a:spcAft>
              <a:buFont typeface="+mj-lt"/>
              <a:buAutoNum type="alphaLcParenR"/>
            </a:pPr>
            <a:r>
              <a:rPr lang="en-US" sz="2000" dirty="0">
                <a:ea typeface="Calibri" panose="020F0502020204030204" pitchFamily="34" charset="0"/>
                <a:cs typeface="Times New Roman" panose="02020603050405020304" pitchFamily="18" charset="0"/>
              </a:rPr>
              <a:t>Incentives for Resilience.</a:t>
            </a:r>
            <a:endParaRPr lang="en-US" sz="20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00042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4"/>
          <p:cNvSpPr txBox="1">
            <a:spLocks/>
          </p:cNvSpPr>
          <p:nvPr/>
        </p:nvSpPr>
        <p:spPr>
          <a:xfrm>
            <a:off x="665672" y="5499653"/>
            <a:ext cx="10515600" cy="113907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sz="1200" b="1" u="sng" dirty="0"/>
              <a:t>A person is ineligible for tourism incentives, if:</a:t>
            </a:r>
            <a:endParaRPr lang="en-US" sz="1200" b="1" dirty="0"/>
          </a:p>
          <a:p>
            <a:pPr algn="just"/>
            <a:r>
              <a:rPr lang="en-US" sz="1200" b="1" dirty="0"/>
              <a:t>The person continues to benefit from incentives granted under another enactment</a:t>
            </a:r>
          </a:p>
          <a:p>
            <a:pPr lvl="0" algn="just"/>
            <a:r>
              <a:rPr lang="en-US" sz="1200" b="1" dirty="0"/>
              <a:t>The person has obtained a benefit for a continuous period of forty (40) years under the Tourism Incentives Act, Cap 15.03 or the Tourism Stimulus and Investment Act, Cap 15.03</a:t>
            </a:r>
          </a:p>
          <a:p>
            <a:pPr algn="just"/>
            <a:r>
              <a:rPr lang="en-US" sz="1200" b="1" dirty="0"/>
              <a:t>Has obtained a work permit for a continuous period of two (2) years and six (6) months</a:t>
            </a:r>
          </a:p>
        </p:txBody>
      </p:sp>
      <p:sp>
        <p:nvSpPr>
          <p:cNvPr id="3" name="TextBox 2"/>
          <p:cNvSpPr txBox="1"/>
          <p:nvPr/>
        </p:nvSpPr>
        <p:spPr>
          <a:xfrm>
            <a:off x="1027981" y="322481"/>
            <a:ext cx="9281160" cy="1692771"/>
          </a:xfrm>
          <a:prstGeom prst="rect">
            <a:avLst/>
          </a:prstGeom>
          <a:noFill/>
        </p:spPr>
        <p:txBody>
          <a:bodyPr wrap="square" rtlCol="0">
            <a:spAutoFit/>
          </a:bodyPr>
          <a:lstStyle/>
          <a:p>
            <a:pPr algn="ctr"/>
            <a:r>
              <a:rPr lang="en-US" sz="3200" b="1" dirty="0">
                <a:solidFill>
                  <a:schemeClr val="tx2"/>
                </a:solidFill>
                <a:latin typeface="Poppins" pitchFamily="2" charset="77"/>
                <a:ea typeface="+mj-ea"/>
                <a:cs typeface="+mj-cs"/>
              </a:rPr>
              <a:t>ELIGIBILITY AND NON-ELIGIBILITY REQUIREMENTS </a:t>
            </a:r>
          </a:p>
          <a:p>
            <a:pPr algn="ctr"/>
            <a:endParaRPr lang="en-US" sz="4000" dirty="0"/>
          </a:p>
        </p:txBody>
      </p:sp>
      <p:sp>
        <p:nvSpPr>
          <p:cNvPr id="4" name="Rectangle 3">
            <a:extLst>
              <a:ext uri="{FF2B5EF4-FFF2-40B4-BE49-F238E27FC236}">
                <a16:creationId xmlns:a16="http://schemas.microsoft.com/office/drawing/2014/main" id="{AE182635-64A5-9E03-D81B-730AABDDC522}"/>
              </a:ext>
            </a:extLst>
          </p:cNvPr>
          <p:cNvSpPr/>
          <p:nvPr/>
        </p:nvSpPr>
        <p:spPr>
          <a:xfrm>
            <a:off x="2728785" y="1645920"/>
            <a:ext cx="8796923" cy="11034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buFont typeface="Wingdings" panose="05000000000000000000" pitchFamily="2" charset="2"/>
              <a:buChar char="ü"/>
            </a:pPr>
            <a:r>
              <a:rPr lang="en-US" sz="2800" b="1" dirty="0"/>
              <a:t>A valid tourism operator certificate or,</a:t>
            </a:r>
          </a:p>
          <a:p>
            <a:pPr marL="457200" indent="-457200">
              <a:buFont typeface="Wingdings" panose="05000000000000000000" pitchFamily="2" charset="2"/>
              <a:buChar char="ü"/>
            </a:pPr>
            <a:r>
              <a:rPr lang="en-US" sz="2800" b="1" dirty="0"/>
              <a:t>A valid conditional tourism operator certificate</a:t>
            </a:r>
          </a:p>
        </p:txBody>
      </p:sp>
      <p:sp>
        <p:nvSpPr>
          <p:cNvPr id="5" name="Rectangle 4">
            <a:extLst>
              <a:ext uri="{FF2B5EF4-FFF2-40B4-BE49-F238E27FC236}">
                <a16:creationId xmlns:a16="http://schemas.microsoft.com/office/drawing/2014/main" id="{8827A91C-C50D-E777-162C-086DF8A60EB1}"/>
              </a:ext>
            </a:extLst>
          </p:cNvPr>
          <p:cNvSpPr/>
          <p:nvPr/>
        </p:nvSpPr>
        <p:spPr>
          <a:xfrm>
            <a:off x="665672" y="1645920"/>
            <a:ext cx="2063113" cy="1103475"/>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Basic Criteria</a:t>
            </a:r>
          </a:p>
        </p:txBody>
      </p:sp>
      <p:sp>
        <p:nvSpPr>
          <p:cNvPr id="6" name="Rectangle 5">
            <a:extLst>
              <a:ext uri="{FF2B5EF4-FFF2-40B4-BE49-F238E27FC236}">
                <a16:creationId xmlns:a16="http://schemas.microsoft.com/office/drawing/2014/main" id="{2C1B146A-126C-4511-8AA7-8B95188C6B4E}"/>
              </a:ext>
            </a:extLst>
          </p:cNvPr>
          <p:cNvSpPr/>
          <p:nvPr/>
        </p:nvSpPr>
        <p:spPr>
          <a:xfrm>
            <a:off x="2728785" y="2969359"/>
            <a:ext cx="8796923" cy="11034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lgn="just">
              <a:buFont typeface="Wingdings" panose="05000000000000000000" pitchFamily="2" charset="2"/>
              <a:buChar char="ü"/>
            </a:pPr>
            <a:r>
              <a:rPr lang="en-US" sz="2500" b="1" dirty="0"/>
              <a:t>Intends to undertake an investment in a specialized support area</a:t>
            </a:r>
          </a:p>
        </p:txBody>
      </p:sp>
      <p:sp>
        <p:nvSpPr>
          <p:cNvPr id="7" name="Rectangle 6">
            <a:extLst>
              <a:ext uri="{FF2B5EF4-FFF2-40B4-BE49-F238E27FC236}">
                <a16:creationId xmlns:a16="http://schemas.microsoft.com/office/drawing/2014/main" id="{6EC9F406-7794-FC1B-B272-9F8303050CDE}"/>
              </a:ext>
            </a:extLst>
          </p:cNvPr>
          <p:cNvSpPr/>
          <p:nvPr/>
        </p:nvSpPr>
        <p:spPr>
          <a:xfrm>
            <a:off x="665672" y="2969359"/>
            <a:ext cx="2063113" cy="1103475"/>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Specialized Support Area</a:t>
            </a:r>
          </a:p>
        </p:txBody>
      </p:sp>
      <p:sp>
        <p:nvSpPr>
          <p:cNvPr id="8" name="Rectangle 7">
            <a:extLst>
              <a:ext uri="{FF2B5EF4-FFF2-40B4-BE49-F238E27FC236}">
                <a16:creationId xmlns:a16="http://schemas.microsoft.com/office/drawing/2014/main" id="{8582B54A-E035-BBCF-2B41-601C55C24493}"/>
              </a:ext>
            </a:extLst>
          </p:cNvPr>
          <p:cNvSpPr/>
          <p:nvPr/>
        </p:nvSpPr>
        <p:spPr>
          <a:xfrm>
            <a:off x="2728785" y="4292798"/>
            <a:ext cx="8796923" cy="11034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lgn="just">
              <a:buFont typeface="Wingdings" panose="05000000000000000000" pitchFamily="2" charset="2"/>
              <a:buChar char="ü"/>
            </a:pPr>
            <a:r>
              <a:rPr lang="en-US" sz="2500" b="1" dirty="0"/>
              <a:t>A person operates within the tourism industry or the tourism value chain and suffers loss as a result of a disaster</a:t>
            </a:r>
          </a:p>
        </p:txBody>
      </p:sp>
      <p:sp>
        <p:nvSpPr>
          <p:cNvPr id="9" name="Rectangle 8">
            <a:extLst>
              <a:ext uri="{FF2B5EF4-FFF2-40B4-BE49-F238E27FC236}">
                <a16:creationId xmlns:a16="http://schemas.microsoft.com/office/drawing/2014/main" id="{6AB6FEDB-377D-10F1-666C-B27D7C6ACFB5}"/>
              </a:ext>
            </a:extLst>
          </p:cNvPr>
          <p:cNvSpPr/>
          <p:nvPr/>
        </p:nvSpPr>
        <p:spPr>
          <a:xfrm>
            <a:off x="665672" y="4292798"/>
            <a:ext cx="2063113" cy="1103475"/>
          </a:xfrm>
          <a:prstGeom prst="rect">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In the case of Building Resilience</a:t>
            </a:r>
          </a:p>
        </p:txBody>
      </p:sp>
    </p:spTree>
    <p:extLst>
      <p:ext uri="{BB962C8B-B14F-4D97-AF65-F5344CB8AC3E}">
        <p14:creationId xmlns:p14="http://schemas.microsoft.com/office/powerpoint/2010/main" val="1691052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03078A42-C439-4553-B4E7-C62F3CF30C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1" name="Object 50" hidden="1">
                        <a:extLst>
                          <a:ext uri="{FF2B5EF4-FFF2-40B4-BE49-F238E27FC236}">
                            <a16:creationId xmlns:a16="http://schemas.microsoft.com/office/drawing/2014/main" id="{03078A42-C439-4553-B4E7-C62F3CF30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B1BFC9CD-BBB3-439C-83F6-7B68EAF8236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1A5AB117-5A6F-4511-A103-FAE85A19E44A}"/>
              </a:ext>
            </a:extLst>
          </p:cNvPr>
          <p:cNvSpPr>
            <a:spLocks noGrp="1"/>
          </p:cNvSpPr>
          <p:nvPr>
            <p:ph type="title"/>
          </p:nvPr>
        </p:nvSpPr>
        <p:spPr/>
        <p:txBody>
          <a:bodyPr>
            <a:normAutofit/>
          </a:bodyPr>
          <a:lstStyle/>
          <a:p>
            <a:r>
              <a:rPr lang="en-US" b="1" dirty="0">
                <a:latin typeface="Open Sans" panose="020B0606030504020204"/>
              </a:rPr>
              <a:t>Progress has been made so Far ...</a:t>
            </a:r>
            <a:endParaRPr lang="en-GB" b="1" dirty="0">
              <a:latin typeface="Open Sans" panose="020B0606030504020204"/>
            </a:endParaRPr>
          </a:p>
        </p:txBody>
      </p:sp>
      <p:sp>
        <p:nvSpPr>
          <p:cNvPr id="4" name="Line 3">
            <a:extLst>
              <a:ext uri="{FF2B5EF4-FFF2-40B4-BE49-F238E27FC236}">
                <a16:creationId xmlns:a16="http://schemas.microsoft.com/office/drawing/2014/main" id="{55A5F91C-D9FB-42DD-86EC-D256155A01DC}"/>
              </a:ext>
            </a:extLst>
          </p:cNvPr>
          <p:cNvSpPr>
            <a:spLocks noChangeShapeType="1"/>
          </p:cNvSpPr>
          <p:nvPr/>
        </p:nvSpPr>
        <p:spPr bwMode="gray">
          <a:xfrm>
            <a:off x="788059" y="3274608"/>
            <a:ext cx="10750739" cy="0"/>
          </a:xfrm>
          <a:prstGeom prst="line">
            <a:avLst/>
          </a:prstGeom>
          <a:noFill/>
          <a:ln w="57150">
            <a:solidFill>
              <a:srgbClr val="0070C0"/>
            </a:solidFill>
            <a:round/>
            <a:headEnd/>
            <a:tailEnd type="triangle" w="med" len="med"/>
          </a:ln>
        </p:spPr>
        <p:txBody>
          <a:bodyPr wrap="square" lIns="92253" tIns="46128" rIns="92253" bIns="46128" anchor="ctr">
            <a:spAutoFit/>
          </a:bodyPr>
          <a:lstStyle/>
          <a:p>
            <a:endParaRPr lang="en-US" sz="1413">
              <a:latin typeface="+mj-lt"/>
            </a:endParaRPr>
          </a:p>
        </p:txBody>
      </p:sp>
      <p:sp>
        <p:nvSpPr>
          <p:cNvPr id="5" name="Rectangle 286">
            <a:extLst>
              <a:ext uri="{FF2B5EF4-FFF2-40B4-BE49-F238E27FC236}">
                <a16:creationId xmlns:a16="http://schemas.microsoft.com/office/drawing/2014/main" id="{0DF5E4E0-33A2-439C-9A7D-FE8E64F99B52}"/>
              </a:ext>
            </a:extLst>
          </p:cNvPr>
          <p:cNvSpPr>
            <a:spLocks noChangeArrowheads="1"/>
          </p:cNvSpPr>
          <p:nvPr/>
        </p:nvSpPr>
        <p:spPr bwMode="gray">
          <a:xfrm>
            <a:off x="494650" y="2766052"/>
            <a:ext cx="654025" cy="341760"/>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sz="2221" b="1" dirty="0">
                <a:latin typeface="Open Sans" panose="020B0606030504020204"/>
              </a:rPr>
              <a:t>2024</a:t>
            </a:r>
          </a:p>
        </p:txBody>
      </p:sp>
      <p:grpSp>
        <p:nvGrpSpPr>
          <p:cNvPr id="15" name="Group 14">
            <a:extLst>
              <a:ext uri="{FF2B5EF4-FFF2-40B4-BE49-F238E27FC236}">
                <a16:creationId xmlns:a16="http://schemas.microsoft.com/office/drawing/2014/main" id="{94A175BB-7A5A-495B-9F34-3887BD95AD5D}"/>
              </a:ext>
            </a:extLst>
          </p:cNvPr>
          <p:cNvGrpSpPr/>
          <p:nvPr/>
        </p:nvGrpSpPr>
        <p:grpSpPr>
          <a:xfrm>
            <a:off x="8176087" y="3285868"/>
            <a:ext cx="282129" cy="330683"/>
            <a:chOff x="6569042" y="3162009"/>
            <a:chExt cx="228076" cy="352288"/>
          </a:xfrm>
        </p:grpSpPr>
        <p:sp>
          <p:nvSpPr>
            <p:cNvPr id="16" name="Line 16">
              <a:extLst>
                <a:ext uri="{FF2B5EF4-FFF2-40B4-BE49-F238E27FC236}">
                  <a16:creationId xmlns:a16="http://schemas.microsoft.com/office/drawing/2014/main" id="{FD00CA3B-C25A-44AA-A461-2C4B2059898F}"/>
                </a:ext>
              </a:extLst>
            </p:cNvPr>
            <p:cNvSpPr>
              <a:spLocks noChangeShapeType="1"/>
            </p:cNvSpPr>
            <p:nvPr/>
          </p:nvSpPr>
          <p:spPr bwMode="gray">
            <a:xfrm>
              <a:off x="6742873"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17" name="Rectangle 286">
              <a:extLst>
                <a:ext uri="{FF2B5EF4-FFF2-40B4-BE49-F238E27FC236}">
                  <a16:creationId xmlns:a16="http://schemas.microsoft.com/office/drawing/2014/main" id="{30CB7E70-7B0F-4518-B5CD-47450FB9444C}"/>
                </a:ext>
              </a:extLst>
            </p:cNvPr>
            <p:cNvSpPr>
              <a:spLocks noChangeArrowheads="1"/>
            </p:cNvSpPr>
            <p:nvPr/>
          </p:nvSpPr>
          <p:spPr bwMode="gray">
            <a:xfrm>
              <a:off x="6569042" y="3282659"/>
              <a:ext cx="228076"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sz="1413" dirty="0">
                  <a:solidFill>
                    <a:srgbClr val="000000"/>
                  </a:solidFill>
                  <a:latin typeface="+mj-lt"/>
                </a:rPr>
                <a:t>Aug</a:t>
              </a:r>
            </a:p>
          </p:txBody>
        </p:sp>
      </p:grpSp>
      <p:grpSp>
        <p:nvGrpSpPr>
          <p:cNvPr id="18" name="Group 17">
            <a:extLst>
              <a:ext uri="{FF2B5EF4-FFF2-40B4-BE49-F238E27FC236}">
                <a16:creationId xmlns:a16="http://schemas.microsoft.com/office/drawing/2014/main" id="{2392E33C-FDF5-4F00-8D8E-87281E5FED0D}"/>
              </a:ext>
            </a:extLst>
          </p:cNvPr>
          <p:cNvGrpSpPr/>
          <p:nvPr/>
        </p:nvGrpSpPr>
        <p:grpSpPr>
          <a:xfrm>
            <a:off x="10051795" y="3285870"/>
            <a:ext cx="426715" cy="330683"/>
            <a:chOff x="8170287" y="3162009"/>
            <a:chExt cx="344962" cy="352288"/>
          </a:xfrm>
        </p:grpSpPr>
        <p:sp>
          <p:nvSpPr>
            <p:cNvPr id="19" name="Line 19">
              <a:extLst>
                <a:ext uri="{FF2B5EF4-FFF2-40B4-BE49-F238E27FC236}">
                  <a16:creationId xmlns:a16="http://schemas.microsoft.com/office/drawing/2014/main" id="{E2EB059C-D6EF-46C9-A7FE-C1A574481AD8}"/>
                </a:ext>
              </a:extLst>
            </p:cNvPr>
            <p:cNvSpPr>
              <a:spLocks noChangeShapeType="1"/>
            </p:cNvSpPr>
            <p:nvPr/>
          </p:nvSpPr>
          <p:spPr bwMode="gray">
            <a:xfrm>
              <a:off x="8362374"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20" name="Rectangle 286">
              <a:extLst>
                <a:ext uri="{FF2B5EF4-FFF2-40B4-BE49-F238E27FC236}">
                  <a16:creationId xmlns:a16="http://schemas.microsoft.com/office/drawing/2014/main" id="{7CE0F893-84CB-4D73-AE32-C2758AF482B3}"/>
                </a:ext>
              </a:extLst>
            </p:cNvPr>
            <p:cNvSpPr>
              <a:spLocks noChangeArrowheads="1"/>
            </p:cNvSpPr>
            <p:nvPr/>
          </p:nvSpPr>
          <p:spPr bwMode="gray">
            <a:xfrm>
              <a:off x="8170287" y="3282659"/>
              <a:ext cx="344962"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altLang="ja-JP" sz="1413">
                  <a:solidFill>
                    <a:srgbClr val="000000"/>
                  </a:solidFill>
                  <a:latin typeface="+mj-lt"/>
                </a:rPr>
                <a:t>Nov</a:t>
              </a:r>
              <a:endParaRPr kumimoji="1" lang="en-US" sz="1413">
                <a:solidFill>
                  <a:srgbClr val="000000"/>
                </a:solidFill>
                <a:latin typeface="+mj-lt"/>
              </a:endParaRPr>
            </a:p>
          </p:txBody>
        </p:sp>
      </p:grpSp>
      <p:grpSp>
        <p:nvGrpSpPr>
          <p:cNvPr id="21" name="Group 20">
            <a:extLst>
              <a:ext uri="{FF2B5EF4-FFF2-40B4-BE49-F238E27FC236}">
                <a16:creationId xmlns:a16="http://schemas.microsoft.com/office/drawing/2014/main" id="{DCFAD5F8-EA44-4B08-AC66-9A35E2D35D7F}"/>
              </a:ext>
            </a:extLst>
          </p:cNvPr>
          <p:cNvGrpSpPr/>
          <p:nvPr/>
        </p:nvGrpSpPr>
        <p:grpSpPr>
          <a:xfrm>
            <a:off x="5838393" y="3285868"/>
            <a:ext cx="259686" cy="330683"/>
            <a:chOff x="4154446" y="3162009"/>
            <a:chExt cx="209932" cy="352288"/>
          </a:xfrm>
        </p:grpSpPr>
        <p:sp>
          <p:nvSpPr>
            <p:cNvPr id="22" name="Line 22">
              <a:extLst>
                <a:ext uri="{FF2B5EF4-FFF2-40B4-BE49-F238E27FC236}">
                  <a16:creationId xmlns:a16="http://schemas.microsoft.com/office/drawing/2014/main" id="{81459302-174A-46AC-86DC-95F941BFF914}"/>
                </a:ext>
              </a:extLst>
            </p:cNvPr>
            <p:cNvSpPr>
              <a:spLocks noChangeShapeType="1"/>
            </p:cNvSpPr>
            <p:nvPr/>
          </p:nvSpPr>
          <p:spPr bwMode="gray">
            <a:xfrm>
              <a:off x="4316371"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23" name="Rectangle 286">
              <a:extLst>
                <a:ext uri="{FF2B5EF4-FFF2-40B4-BE49-F238E27FC236}">
                  <a16:creationId xmlns:a16="http://schemas.microsoft.com/office/drawing/2014/main" id="{B1B015A9-5D11-4AC5-957F-5AA296B1AE81}"/>
                </a:ext>
              </a:extLst>
            </p:cNvPr>
            <p:cNvSpPr>
              <a:spLocks noChangeArrowheads="1"/>
            </p:cNvSpPr>
            <p:nvPr/>
          </p:nvSpPr>
          <p:spPr bwMode="gray">
            <a:xfrm>
              <a:off x="4154446" y="3282659"/>
              <a:ext cx="209932"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sz="1413" dirty="0">
                  <a:solidFill>
                    <a:srgbClr val="000000"/>
                  </a:solidFill>
                  <a:latin typeface="+mj-lt"/>
                </a:rPr>
                <a:t>Apr</a:t>
              </a:r>
            </a:p>
          </p:txBody>
        </p:sp>
      </p:grpSp>
      <p:grpSp>
        <p:nvGrpSpPr>
          <p:cNvPr id="30" name="Group 29">
            <a:extLst>
              <a:ext uri="{FF2B5EF4-FFF2-40B4-BE49-F238E27FC236}">
                <a16:creationId xmlns:a16="http://schemas.microsoft.com/office/drawing/2014/main" id="{0F4E48B3-F904-4946-B19C-FE51FCC55DF3}"/>
              </a:ext>
            </a:extLst>
          </p:cNvPr>
          <p:cNvGrpSpPr/>
          <p:nvPr/>
        </p:nvGrpSpPr>
        <p:grpSpPr>
          <a:xfrm>
            <a:off x="1514785" y="3285868"/>
            <a:ext cx="411928" cy="330683"/>
            <a:chOff x="942402" y="3162009"/>
            <a:chExt cx="333010" cy="352288"/>
          </a:xfrm>
        </p:grpSpPr>
        <p:sp>
          <p:nvSpPr>
            <p:cNvPr id="31" name="Line 7">
              <a:extLst>
                <a:ext uri="{FF2B5EF4-FFF2-40B4-BE49-F238E27FC236}">
                  <a16:creationId xmlns:a16="http://schemas.microsoft.com/office/drawing/2014/main" id="{3512B5DF-7715-4AB9-B89A-38B1185ACA34}"/>
                </a:ext>
              </a:extLst>
            </p:cNvPr>
            <p:cNvSpPr>
              <a:spLocks noChangeShapeType="1"/>
            </p:cNvSpPr>
            <p:nvPr/>
          </p:nvSpPr>
          <p:spPr bwMode="gray">
            <a:xfrm>
              <a:off x="1094803"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32" name="Rectangle 286">
              <a:extLst>
                <a:ext uri="{FF2B5EF4-FFF2-40B4-BE49-F238E27FC236}">
                  <a16:creationId xmlns:a16="http://schemas.microsoft.com/office/drawing/2014/main" id="{4236AA33-5DB5-4393-A933-83A910D1B0CD}"/>
                </a:ext>
              </a:extLst>
            </p:cNvPr>
            <p:cNvSpPr>
              <a:spLocks noChangeArrowheads="1"/>
            </p:cNvSpPr>
            <p:nvPr/>
          </p:nvSpPr>
          <p:spPr bwMode="gray">
            <a:xfrm>
              <a:off x="942402" y="3282659"/>
              <a:ext cx="333010"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altLang="ja-JP" sz="1413">
                  <a:solidFill>
                    <a:srgbClr val="000000"/>
                  </a:solidFill>
                  <a:latin typeface="+mj-lt"/>
                </a:rPr>
                <a:t>Feb</a:t>
              </a:r>
              <a:endParaRPr kumimoji="1" lang="en-US" sz="1413">
                <a:solidFill>
                  <a:srgbClr val="000000"/>
                </a:solidFill>
                <a:latin typeface="+mj-lt"/>
              </a:endParaRPr>
            </a:p>
          </p:txBody>
        </p:sp>
      </p:grpSp>
      <p:grpSp>
        <p:nvGrpSpPr>
          <p:cNvPr id="33" name="Group 32">
            <a:extLst>
              <a:ext uri="{FF2B5EF4-FFF2-40B4-BE49-F238E27FC236}">
                <a16:creationId xmlns:a16="http://schemas.microsoft.com/office/drawing/2014/main" id="{61B4E6E9-7846-47C0-B830-240930441D4C}"/>
              </a:ext>
            </a:extLst>
          </p:cNvPr>
          <p:cNvGrpSpPr/>
          <p:nvPr/>
        </p:nvGrpSpPr>
        <p:grpSpPr>
          <a:xfrm>
            <a:off x="608341" y="3285868"/>
            <a:ext cx="386579" cy="330683"/>
            <a:chOff x="145659" y="3162009"/>
            <a:chExt cx="312517" cy="352288"/>
          </a:xfrm>
        </p:grpSpPr>
        <p:sp>
          <p:nvSpPr>
            <p:cNvPr id="34" name="Line 7">
              <a:extLst>
                <a:ext uri="{FF2B5EF4-FFF2-40B4-BE49-F238E27FC236}">
                  <a16:creationId xmlns:a16="http://schemas.microsoft.com/office/drawing/2014/main" id="{A3C6BE20-5B46-4B3C-A64E-762E7E182D37}"/>
                </a:ext>
              </a:extLst>
            </p:cNvPr>
            <p:cNvSpPr>
              <a:spLocks noChangeShapeType="1"/>
            </p:cNvSpPr>
            <p:nvPr/>
          </p:nvSpPr>
          <p:spPr bwMode="gray">
            <a:xfrm>
              <a:off x="302822"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35" name="Rectangle 286">
              <a:extLst>
                <a:ext uri="{FF2B5EF4-FFF2-40B4-BE49-F238E27FC236}">
                  <a16:creationId xmlns:a16="http://schemas.microsoft.com/office/drawing/2014/main" id="{16765FB2-27E3-4F4A-B6BE-A6184E2642CE}"/>
                </a:ext>
              </a:extLst>
            </p:cNvPr>
            <p:cNvSpPr>
              <a:spLocks noChangeArrowheads="1"/>
            </p:cNvSpPr>
            <p:nvPr/>
          </p:nvSpPr>
          <p:spPr bwMode="gray">
            <a:xfrm>
              <a:off x="145659" y="3282659"/>
              <a:ext cx="312517"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altLang="ja-JP" sz="1413">
                  <a:solidFill>
                    <a:srgbClr val="000000"/>
                  </a:solidFill>
                  <a:latin typeface="+mj-lt"/>
                </a:rPr>
                <a:t>Jan</a:t>
              </a:r>
              <a:endParaRPr kumimoji="1" lang="en-US" sz="1413">
                <a:solidFill>
                  <a:srgbClr val="000000"/>
                </a:solidFill>
                <a:latin typeface="+mj-lt"/>
              </a:endParaRPr>
            </a:p>
          </p:txBody>
        </p:sp>
      </p:grpSp>
      <p:grpSp>
        <p:nvGrpSpPr>
          <p:cNvPr id="36" name="Group 35">
            <a:extLst>
              <a:ext uri="{FF2B5EF4-FFF2-40B4-BE49-F238E27FC236}">
                <a16:creationId xmlns:a16="http://schemas.microsoft.com/office/drawing/2014/main" id="{D4BDB5C0-2054-416D-AD49-FB2EEEDC0C0B}"/>
              </a:ext>
            </a:extLst>
          </p:cNvPr>
          <p:cNvGrpSpPr/>
          <p:nvPr/>
        </p:nvGrpSpPr>
        <p:grpSpPr>
          <a:xfrm>
            <a:off x="2454612" y="3285868"/>
            <a:ext cx="411928" cy="330683"/>
            <a:chOff x="1785898" y="3162009"/>
            <a:chExt cx="333009" cy="352288"/>
          </a:xfrm>
        </p:grpSpPr>
        <p:sp>
          <p:nvSpPr>
            <p:cNvPr id="37" name="Line 7">
              <a:extLst>
                <a:ext uri="{FF2B5EF4-FFF2-40B4-BE49-F238E27FC236}">
                  <a16:creationId xmlns:a16="http://schemas.microsoft.com/office/drawing/2014/main" id="{E7E170DD-525D-4BDE-8E5E-1F81AB15D44E}"/>
                </a:ext>
              </a:extLst>
            </p:cNvPr>
            <p:cNvSpPr>
              <a:spLocks noChangeShapeType="1"/>
            </p:cNvSpPr>
            <p:nvPr/>
          </p:nvSpPr>
          <p:spPr bwMode="gray">
            <a:xfrm>
              <a:off x="1984336"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38" name="Rectangle 286">
              <a:extLst>
                <a:ext uri="{FF2B5EF4-FFF2-40B4-BE49-F238E27FC236}">
                  <a16:creationId xmlns:a16="http://schemas.microsoft.com/office/drawing/2014/main" id="{206DE4ED-C525-481A-BFAB-7512D6024EC2}"/>
                </a:ext>
              </a:extLst>
            </p:cNvPr>
            <p:cNvSpPr>
              <a:spLocks noChangeArrowheads="1"/>
            </p:cNvSpPr>
            <p:nvPr/>
          </p:nvSpPr>
          <p:spPr bwMode="gray">
            <a:xfrm>
              <a:off x="1785898" y="3282659"/>
              <a:ext cx="333009"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altLang="ja-JP" sz="1413">
                  <a:solidFill>
                    <a:srgbClr val="000000"/>
                  </a:solidFill>
                  <a:latin typeface="+mj-lt"/>
                </a:rPr>
                <a:t>Mar</a:t>
              </a:r>
              <a:endParaRPr kumimoji="1" lang="en-US" sz="1413">
                <a:solidFill>
                  <a:srgbClr val="000000"/>
                </a:solidFill>
                <a:latin typeface="+mj-lt"/>
              </a:endParaRPr>
            </a:p>
          </p:txBody>
        </p:sp>
      </p:grpSp>
      <p:grpSp>
        <p:nvGrpSpPr>
          <p:cNvPr id="58" name="Group 57">
            <a:extLst>
              <a:ext uri="{FF2B5EF4-FFF2-40B4-BE49-F238E27FC236}">
                <a16:creationId xmlns:a16="http://schemas.microsoft.com/office/drawing/2014/main" id="{43BBFB94-19A1-4578-A12D-DA4F8024F7A0}"/>
              </a:ext>
            </a:extLst>
          </p:cNvPr>
          <p:cNvGrpSpPr/>
          <p:nvPr/>
        </p:nvGrpSpPr>
        <p:grpSpPr>
          <a:xfrm>
            <a:off x="11044649" y="3285868"/>
            <a:ext cx="426715" cy="330683"/>
            <a:chOff x="8554462" y="3162009"/>
            <a:chExt cx="344962" cy="352288"/>
          </a:xfrm>
        </p:grpSpPr>
        <p:sp>
          <p:nvSpPr>
            <p:cNvPr id="59" name="Line 19">
              <a:extLst>
                <a:ext uri="{FF2B5EF4-FFF2-40B4-BE49-F238E27FC236}">
                  <a16:creationId xmlns:a16="http://schemas.microsoft.com/office/drawing/2014/main" id="{AA4F42BB-083D-496A-916F-86E08905277A}"/>
                </a:ext>
              </a:extLst>
            </p:cNvPr>
            <p:cNvSpPr>
              <a:spLocks noChangeShapeType="1"/>
            </p:cNvSpPr>
            <p:nvPr/>
          </p:nvSpPr>
          <p:spPr bwMode="gray">
            <a:xfrm>
              <a:off x="8733197" y="3162009"/>
              <a:ext cx="0" cy="109538"/>
            </a:xfrm>
            <a:prstGeom prst="line">
              <a:avLst/>
            </a:prstGeom>
            <a:noFill/>
            <a:ln w="19050">
              <a:solidFill>
                <a:schemeClr val="accent4"/>
              </a:solidFill>
              <a:round/>
              <a:headEnd/>
              <a:tailEnd/>
            </a:ln>
          </p:spPr>
          <p:txBody>
            <a:bodyPr anchor="ctr">
              <a:spAutoFit/>
            </a:bodyPr>
            <a:lstStyle/>
            <a:p>
              <a:endParaRPr lang="en-US" sz="1413">
                <a:latin typeface="+mj-lt"/>
              </a:endParaRPr>
            </a:p>
          </p:txBody>
        </p:sp>
        <p:sp>
          <p:nvSpPr>
            <p:cNvPr id="60" name="Rectangle 286">
              <a:extLst>
                <a:ext uri="{FF2B5EF4-FFF2-40B4-BE49-F238E27FC236}">
                  <a16:creationId xmlns:a16="http://schemas.microsoft.com/office/drawing/2014/main" id="{57A3DF74-C0E4-46E1-A58E-07F3200E7979}"/>
                </a:ext>
              </a:extLst>
            </p:cNvPr>
            <p:cNvSpPr>
              <a:spLocks noChangeArrowheads="1"/>
            </p:cNvSpPr>
            <p:nvPr/>
          </p:nvSpPr>
          <p:spPr bwMode="gray">
            <a:xfrm>
              <a:off x="8554462" y="3282659"/>
              <a:ext cx="344962" cy="231638"/>
            </a:xfrm>
            <a:prstGeom prst="rect">
              <a:avLst/>
            </a:prstGeom>
            <a:noFill/>
            <a:ln w="9525">
              <a:noFill/>
              <a:miter lim="800000"/>
              <a:headEnd/>
              <a:tailEnd/>
            </a:ln>
          </p:spPr>
          <p:txBody>
            <a:bodyPr wrap="none" lIns="0" tIns="0" rIns="0" bIns="0">
              <a:spAutoFit/>
            </a:bodyPr>
            <a:lstStyle/>
            <a:p>
              <a:pPr marL="344624" indent="-344624" defTabSz="902433">
                <a:buClr>
                  <a:srgbClr val="002960"/>
                </a:buClr>
              </a:pPr>
              <a:r>
                <a:rPr kumimoji="1" lang="en-US" altLang="ja-JP" sz="1413">
                  <a:solidFill>
                    <a:srgbClr val="000000"/>
                  </a:solidFill>
                  <a:latin typeface="+mj-lt"/>
                </a:rPr>
                <a:t>Dec</a:t>
              </a:r>
              <a:endParaRPr kumimoji="1" lang="en-US" sz="1413">
                <a:solidFill>
                  <a:srgbClr val="000000"/>
                </a:solidFill>
                <a:latin typeface="+mj-lt"/>
              </a:endParaRPr>
            </a:p>
          </p:txBody>
        </p:sp>
      </p:grpSp>
      <p:grpSp>
        <p:nvGrpSpPr>
          <p:cNvPr id="67" name="Group 66">
            <a:extLst>
              <a:ext uri="{FF2B5EF4-FFF2-40B4-BE49-F238E27FC236}">
                <a16:creationId xmlns:a16="http://schemas.microsoft.com/office/drawing/2014/main" id="{FD6B7C0D-DF31-4171-9A2F-5EE73CEDDFA4}"/>
              </a:ext>
            </a:extLst>
          </p:cNvPr>
          <p:cNvGrpSpPr/>
          <p:nvPr/>
        </p:nvGrpSpPr>
        <p:grpSpPr>
          <a:xfrm>
            <a:off x="8639476" y="3497730"/>
            <a:ext cx="2218364" cy="2615076"/>
            <a:chOff x="9202635" y="3735931"/>
            <a:chExt cx="2218364" cy="2615076"/>
          </a:xfrm>
        </p:grpSpPr>
        <p:sp>
          <p:nvSpPr>
            <p:cNvPr id="53" name="Rectangle 286">
              <a:extLst>
                <a:ext uri="{FF2B5EF4-FFF2-40B4-BE49-F238E27FC236}">
                  <a16:creationId xmlns:a16="http://schemas.microsoft.com/office/drawing/2014/main" id="{7DBFABDD-726D-4BFB-8F34-4C0AD7035159}"/>
                </a:ext>
              </a:extLst>
            </p:cNvPr>
            <p:cNvSpPr>
              <a:spLocks noChangeArrowheads="1"/>
            </p:cNvSpPr>
            <p:nvPr/>
          </p:nvSpPr>
          <p:spPr bwMode="gray">
            <a:xfrm>
              <a:off x="9244629" y="5791430"/>
              <a:ext cx="2176370" cy="559577"/>
            </a:xfrm>
            <a:prstGeom prst="rect">
              <a:avLst/>
            </a:prstGeom>
            <a:noFill/>
            <a:ln w="9525">
              <a:noFill/>
              <a:miter lim="800000"/>
              <a:headEnd/>
              <a:tailEnd/>
            </a:ln>
          </p:spPr>
          <p:txBody>
            <a:bodyPr wrap="square" lIns="0" tIns="0" rIns="0" bIns="0">
              <a:spAutoFit/>
            </a:bodyPr>
            <a:lstStyle/>
            <a:p>
              <a:pPr algn="ctr" defTabSz="902433">
                <a:buClr>
                  <a:srgbClr val="002960"/>
                </a:buClr>
              </a:pPr>
              <a:r>
                <a:rPr kumimoji="1" lang="en-US" sz="1212" b="1" dirty="0">
                  <a:latin typeface="Open Sans" panose="020B0606030504020204"/>
                </a:rPr>
                <a:t>First Phase of Certification of Accommodation Sub-Sector to be Completed.</a:t>
              </a:r>
            </a:p>
          </p:txBody>
        </p:sp>
        <p:sp>
          <p:nvSpPr>
            <p:cNvPr id="54" name="Line 39">
              <a:extLst>
                <a:ext uri="{FF2B5EF4-FFF2-40B4-BE49-F238E27FC236}">
                  <a16:creationId xmlns:a16="http://schemas.microsoft.com/office/drawing/2014/main" id="{1AE12B87-66A9-4BFA-8C00-09887FC55FCB}"/>
                </a:ext>
              </a:extLst>
            </p:cNvPr>
            <p:cNvSpPr>
              <a:spLocks noChangeShapeType="1"/>
            </p:cNvSpPr>
            <p:nvPr/>
          </p:nvSpPr>
          <p:spPr bwMode="gray">
            <a:xfrm>
              <a:off x="9202635" y="5775317"/>
              <a:ext cx="2218364" cy="0"/>
            </a:xfrm>
            <a:prstGeom prst="line">
              <a:avLst/>
            </a:prstGeom>
            <a:noFill/>
            <a:ln w="12700">
              <a:solidFill>
                <a:schemeClr val="tx1"/>
              </a:solidFill>
              <a:round/>
              <a:headEnd/>
              <a:tailEnd/>
            </a:ln>
          </p:spPr>
          <p:txBody>
            <a:bodyPr wrap="none" lIns="92253" tIns="46128" rIns="92253" bIns="46128" anchor="ctr"/>
            <a:lstStyle/>
            <a:p>
              <a:endParaRPr lang="en-US" sz="1212">
                <a:latin typeface="+mj-lt"/>
              </a:endParaRPr>
            </a:p>
          </p:txBody>
        </p:sp>
        <p:sp>
          <p:nvSpPr>
            <p:cNvPr id="55" name="Line 48">
              <a:extLst>
                <a:ext uri="{FF2B5EF4-FFF2-40B4-BE49-F238E27FC236}">
                  <a16:creationId xmlns:a16="http://schemas.microsoft.com/office/drawing/2014/main" id="{B5F9C69B-FE3C-4595-9ECC-39AC6947F00D}"/>
                </a:ext>
              </a:extLst>
            </p:cNvPr>
            <p:cNvSpPr>
              <a:spLocks noChangeShapeType="1"/>
            </p:cNvSpPr>
            <p:nvPr/>
          </p:nvSpPr>
          <p:spPr bwMode="gray">
            <a:xfrm rot="16200000" flipV="1">
              <a:off x="10032199" y="4751110"/>
              <a:ext cx="2030358" cy="0"/>
            </a:xfrm>
            <a:prstGeom prst="line">
              <a:avLst/>
            </a:prstGeom>
            <a:noFill/>
            <a:ln w="12700">
              <a:solidFill>
                <a:schemeClr val="tx1"/>
              </a:solidFill>
              <a:round/>
              <a:headEnd/>
              <a:tailEnd type="oval" w="med" len="med"/>
            </a:ln>
          </p:spPr>
          <p:txBody>
            <a:bodyPr wrap="none" anchor="ctr"/>
            <a:lstStyle/>
            <a:p>
              <a:endParaRPr lang="en-US" sz="1212">
                <a:latin typeface="+mj-lt"/>
              </a:endParaRPr>
            </a:p>
          </p:txBody>
        </p:sp>
        <p:pic>
          <p:nvPicPr>
            <p:cNvPr id="85" name="Picture 84" descr="Diploma">
              <a:extLst>
                <a:ext uri="{FF2B5EF4-FFF2-40B4-BE49-F238E27FC236}">
                  <a16:creationId xmlns:a16="http://schemas.microsoft.com/office/drawing/2014/main" id="{76ABF38A-196A-4CA1-B1EB-58C9A9120D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26164" y="4708689"/>
              <a:ext cx="807762" cy="807762"/>
            </a:xfrm>
            <a:prstGeom prst="rect">
              <a:avLst/>
            </a:prstGeom>
          </p:spPr>
        </p:pic>
      </p:grpSp>
      <p:grpSp>
        <p:nvGrpSpPr>
          <p:cNvPr id="61" name="Group 60">
            <a:extLst>
              <a:ext uri="{FF2B5EF4-FFF2-40B4-BE49-F238E27FC236}">
                <a16:creationId xmlns:a16="http://schemas.microsoft.com/office/drawing/2014/main" id="{E239D001-3FDE-421B-B682-BD3AEE053423}"/>
              </a:ext>
            </a:extLst>
          </p:cNvPr>
          <p:cNvGrpSpPr/>
          <p:nvPr/>
        </p:nvGrpSpPr>
        <p:grpSpPr>
          <a:xfrm flipH="1">
            <a:off x="2143068" y="1777092"/>
            <a:ext cx="3072447" cy="1239187"/>
            <a:chOff x="5716074" y="1798882"/>
            <a:chExt cx="3072447" cy="1239187"/>
          </a:xfrm>
        </p:grpSpPr>
        <p:grpSp>
          <p:nvGrpSpPr>
            <p:cNvPr id="62" name="Group 61">
              <a:extLst>
                <a:ext uri="{FF2B5EF4-FFF2-40B4-BE49-F238E27FC236}">
                  <a16:creationId xmlns:a16="http://schemas.microsoft.com/office/drawing/2014/main" id="{4C044353-DF8A-4EEC-A6D8-AAEA81EB6135}"/>
                </a:ext>
              </a:extLst>
            </p:cNvPr>
            <p:cNvGrpSpPr/>
            <p:nvPr/>
          </p:nvGrpSpPr>
          <p:grpSpPr>
            <a:xfrm>
              <a:off x="5759922" y="1798882"/>
              <a:ext cx="3028599" cy="693567"/>
              <a:chOff x="2437602" y="1798882"/>
              <a:chExt cx="3028599" cy="693567"/>
            </a:xfrm>
          </p:grpSpPr>
          <p:pic>
            <p:nvPicPr>
              <p:cNvPr id="41" name="Picture 40" descr="Gavel">
                <a:extLst>
                  <a:ext uri="{FF2B5EF4-FFF2-40B4-BE49-F238E27FC236}">
                    <a16:creationId xmlns:a16="http://schemas.microsoft.com/office/drawing/2014/main" id="{FD840124-2BAE-444F-9890-A332DE6338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72634" y="1798882"/>
                <a:ext cx="693567" cy="693567"/>
              </a:xfrm>
              <a:prstGeom prst="rect">
                <a:avLst/>
              </a:prstGeom>
            </p:spPr>
          </p:pic>
          <p:sp>
            <p:nvSpPr>
              <p:cNvPr id="44" name="Rectangle 286">
                <a:extLst>
                  <a:ext uri="{FF2B5EF4-FFF2-40B4-BE49-F238E27FC236}">
                    <a16:creationId xmlns:a16="http://schemas.microsoft.com/office/drawing/2014/main" id="{0ABE856E-9165-487A-B9A7-20D6577ED5D6}"/>
                  </a:ext>
                </a:extLst>
              </p:cNvPr>
              <p:cNvSpPr>
                <a:spLocks noChangeArrowheads="1"/>
              </p:cNvSpPr>
              <p:nvPr/>
            </p:nvSpPr>
            <p:spPr bwMode="gray">
              <a:xfrm>
                <a:off x="2437602" y="1900141"/>
                <a:ext cx="2335032" cy="559577"/>
              </a:xfrm>
              <a:prstGeom prst="rect">
                <a:avLst/>
              </a:prstGeom>
              <a:noFill/>
              <a:ln w="9525">
                <a:noFill/>
                <a:miter lim="800000"/>
                <a:headEnd/>
                <a:tailEnd/>
              </a:ln>
            </p:spPr>
            <p:txBody>
              <a:bodyPr wrap="square" lIns="0" tIns="0" rIns="0" bIns="0" anchor="b">
                <a:spAutoFit/>
              </a:bodyPr>
              <a:lstStyle/>
              <a:p>
                <a:pPr algn="ctr" defTabSz="902433">
                  <a:buClr>
                    <a:srgbClr val="002960"/>
                  </a:buClr>
                </a:pPr>
                <a:r>
                  <a:rPr kumimoji="1" lang="en-US" altLang="ja-JP" sz="1212" b="1" dirty="0">
                    <a:solidFill>
                      <a:srgbClr val="000000"/>
                    </a:solidFill>
                    <a:latin typeface="Open Sans" panose="020B0606030504020204"/>
                  </a:rPr>
                  <a:t>Tourism Development Act No. 1 of 2024 was </a:t>
                </a:r>
                <a:r>
                  <a:rPr kumimoji="1" lang="en-US" altLang="ja-JP" sz="1212" b="1" dirty="0" err="1">
                    <a:solidFill>
                      <a:srgbClr val="000000"/>
                    </a:solidFill>
                    <a:latin typeface="Open Sans" panose="020B0606030504020204"/>
                  </a:rPr>
                  <a:t>Gazetted</a:t>
                </a:r>
                <a:r>
                  <a:rPr kumimoji="1" lang="en-US" altLang="ja-JP" sz="1212" b="1" dirty="0">
                    <a:solidFill>
                      <a:srgbClr val="000000"/>
                    </a:solidFill>
                    <a:latin typeface="Open Sans" panose="020B0606030504020204"/>
                  </a:rPr>
                  <a:t> on March 14</a:t>
                </a:r>
                <a:r>
                  <a:rPr kumimoji="1" lang="en-US" altLang="ja-JP" sz="1212" b="1" baseline="30000" dirty="0">
                    <a:solidFill>
                      <a:srgbClr val="000000"/>
                    </a:solidFill>
                    <a:latin typeface="Open Sans" panose="020B0606030504020204"/>
                  </a:rPr>
                  <a:t>th</a:t>
                </a:r>
                <a:r>
                  <a:rPr kumimoji="1" lang="en-US" altLang="ja-JP" sz="1212" b="1" dirty="0">
                    <a:solidFill>
                      <a:srgbClr val="000000"/>
                    </a:solidFill>
                    <a:latin typeface="Open Sans" panose="020B0606030504020204"/>
                  </a:rPr>
                  <a:t>. </a:t>
                </a:r>
              </a:p>
            </p:txBody>
          </p:sp>
        </p:grpSp>
        <p:sp>
          <p:nvSpPr>
            <p:cNvPr id="74" name="Line 45">
              <a:extLst>
                <a:ext uri="{FF2B5EF4-FFF2-40B4-BE49-F238E27FC236}">
                  <a16:creationId xmlns:a16="http://schemas.microsoft.com/office/drawing/2014/main" id="{E103154E-A9ED-4D6D-9441-475F1B8F2665}"/>
                </a:ext>
              </a:extLst>
            </p:cNvPr>
            <p:cNvSpPr>
              <a:spLocks noChangeShapeType="1"/>
            </p:cNvSpPr>
            <p:nvPr/>
          </p:nvSpPr>
          <p:spPr bwMode="gray">
            <a:xfrm>
              <a:off x="5716074" y="2498218"/>
              <a:ext cx="2883604" cy="0"/>
            </a:xfrm>
            <a:prstGeom prst="line">
              <a:avLst/>
            </a:prstGeom>
            <a:noFill/>
            <a:ln w="12700">
              <a:solidFill>
                <a:schemeClr val="tx1"/>
              </a:solidFill>
              <a:round/>
              <a:headEnd/>
              <a:tailEnd/>
            </a:ln>
          </p:spPr>
          <p:txBody>
            <a:bodyPr wrap="none" lIns="92253" tIns="46128" rIns="92253" bIns="46128" anchor="ctr"/>
            <a:lstStyle/>
            <a:p>
              <a:endParaRPr lang="en-US" sz="1615">
                <a:latin typeface="+mj-lt"/>
              </a:endParaRPr>
            </a:p>
          </p:txBody>
        </p:sp>
        <p:sp>
          <p:nvSpPr>
            <p:cNvPr id="72" name="Line 50">
              <a:extLst>
                <a:ext uri="{FF2B5EF4-FFF2-40B4-BE49-F238E27FC236}">
                  <a16:creationId xmlns:a16="http://schemas.microsoft.com/office/drawing/2014/main" id="{D478A542-522D-4F45-A7CD-E3842290209C}"/>
                </a:ext>
              </a:extLst>
            </p:cNvPr>
            <p:cNvSpPr>
              <a:spLocks noChangeShapeType="1"/>
            </p:cNvSpPr>
            <p:nvPr/>
          </p:nvSpPr>
          <p:spPr bwMode="gray">
            <a:xfrm rot="5400000">
              <a:off x="8102348" y="2770541"/>
              <a:ext cx="535056" cy="0"/>
            </a:xfrm>
            <a:prstGeom prst="line">
              <a:avLst/>
            </a:prstGeom>
            <a:noFill/>
            <a:ln w="12700">
              <a:solidFill>
                <a:schemeClr val="tx1"/>
              </a:solidFill>
              <a:round/>
              <a:headEnd/>
              <a:tailEnd type="oval" w="med" len="med"/>
            </a:ln>
          </p:spPr>
          <p:txBody>
            <a:bodyPr wrap="none" anchor="ctr"/>
            <a:lstStyle/>
            <a:p>
              <a:endParaRPr lang="en-US" sz="5575">
                <a:latin typeface="+mj-lt"/>
              </a:endParaRPr>
            </a:p>
          </p:txBody>
        </p:sp>
      </p:grpSp>
      <p:grpSp>
        <p:nvGrpSpPr>
          <p:cNvPr id="66" name="Group 65">
            <a:extLst>
              <a:ext uri="{FF2B5EF4-FFF2-40B4-BE49-F238E27FC236}">
                <a16:creationId xmlns:a16="http://schemas.microsoft.com/office/drawing/2014/main" id="{C1B80B55-3DB8-45CB-8649-9A8EE0923F55}"/>
              </a:ext>
            </a:extLst>
          </p:cNvPr>
          <p:cNvGrpSpPr/>
          <p:nvPr/>
        </p:nvGrpSpPr>
        <p:grpSpPr>
          <a:xfrm>
            <a:off x="6277544" y="1744618"/>
            <a:ext cx="2824339" cy="1345986"/>
            <a:chOff x="8961518" y="1692084"/>
            <a:chExt cx="2824339" cy="1345986"/>
          </a:xfrm>
        </p:grpSpPr>
        <p:sp>
          <p:nvSpPr>
            <p:cNvPr id="39" name="Line 45">
              <a:extLst>
                <a:ext uri="{FF2B5EF4-FFF2-40B4-BE49-F238E27FC236}">
                  <a16:creationId xmlns:a16="http://schemas.microsoft.com/office/drawing/2014/main" id="{63E120BD-93D0-4C79-9D6A-88CBB642FB1B}"/>
                </a:ext>
              </a:extLst>
            </p:cNvPr>
            <p:cNvSpPr>
              <a:spLocks noChangeShapeType="1"/>
            </p:cNvSpPr>
            <p:nvPr/>
          </p:nvSpPr>
          <p:spPr bwMode="gray">
            <a:xfrm>
              <a:off x="8961518" y="2498218"/>
              <a:ext cx="2824339" cy="0"/>
            </a:xfrm>
            <a:prstGeom prst="line">
              <a:avLst/>
            </a:prstGeom>
            <a:noFill/>
            <a:ln w="12700">
              <a:solidFill>
                <a:schemeClr val="tx1"/>
              </a:solidFill>
              <a:round/>
              <a:headEnd/>
              <a:tailEnd/>
            </a:ln>
          </p:spPr>
          <p:txBody>
            <a:bodyPr wrap="none" lIns="92253" tIns="46128" rIns="92253" bIns="46128" anchor="ctr"/>
            <a:lstStyle/>
            <a:p>
              <a:endParaRPr lang="en-US" sz="1615">
                <a:latin typeface="+mj-lt"/>
              </a:endParaRPr>
            </a:p>
          </p:txBody>
        </p:sp>
        <p:sp>
          <p:nvSpPr>
            <p:cNvPr id="40" name="Rectangle 286">
              <a:extLst>
                <a:ext uri="{FF2B5EF4-FFF2-40B4-BE49-F238E27FC236}">
                  <a16:creationId xmlns:a16="http://schemas.microsoft.com/office/drawing/2014/main" id="{0B037C4D-9479-4B4A-8E5D-D0EE551420E3}"/>
                </a:ext>
              </a:extLst>
            </p:cNvPr>
            <p:cNvSpPr>
              <a:spLocks noChangeArrowheads="1"/>
            </p:cNvSpPr>
            <p:nvPr/>
          </p:nvSpPr>
          <p:spPr bwMode="gray">
            <a:xfrm>
              <a:off x="9038782" y="1888848"/>
              <a:ext cx="1960900" cy="559577"/>
            </a:xfrm>
            <a:prstGeom prst="rect">
              <a:avLst/>
            </a:prstGeom>
            <a:noFill/>
            <a:ln w="9525">
              <a:noFill/>
              <a:miter lim="800000"/>
              <a:headEnd/>
              <a:tailEnd/>
            </a:ln>
          </p:spPr>
          <p:txBody>
            <a:bodyPr wrap="square" lIns="0" tIns="0" rIns="0" bIns="0" anchor="b">
              <a:spAutoFit/>
            </a:bodyPr>
            <a:lstStyle/>
            <a:p>
              <a:pPr algn="ctr" defTabSz="902433">
                <a:buClr>
                  <a:srgbClr val="002960"/>
                </a:buClr>
              </a:pPr>
              <a:r>
                <a:rPr kumimoji="1" lang="en-US" sz="1212" b="1" dirty="0">
                  <a:solidFill>
                    <a:srgbClr val="000000"/>
                  </a:solidFill>
                  <a:latin typeface="Open Sans" panose="020B0606030504020204"/>
                </a:rPr>
                <a:t>Publication of Regulations in the Week of August 19</a:t>
              </a:r>
              <a:r>
                <a:rPr kumimoji="1" lang="en-US" sz="1212" b="1" baseline="30000" dirty="0">
                  <a:solidFill>
                    <a:srgbClr val="000000"/>
                  </a:solidFill>
                  <a:latin typeface="Open Sans" panose="020B0606030504020204"/>
                </a:rPr>
                <a:t>th</a:t>
              </a:r>
              <a:r>
                <a:rPr kumimoji="1" lang="en-US" sz="1212" b="1" dirty="0">
                  <a:solidFill>
                    <a:srgbClr val="000000"/>
                  </a:solidFill>
                  <a:latin typeface="Open Sans" panose="020B0606030504020204"/>
                </a:rPr>
                <a:t>. </a:t>
              </a:r>
            </a:p>
          </p:txBody>
        </p:sp>
        <p:pic>
          <p:nvPicPr>
            <p:cNvPr id="77" name="Picture 76" descr="Closed book">
              <a:extLst>
                <a:ext uri="{FF2B5EF4-FFF2-40B4-BE49-F238E27FC236}">
                  <a16:creationId xmlns:a16="http://schemas.microsoft.com/office/drawing/2014/main" id="{0F95056C-24AB-4EA6-BDF7-2A6E42455F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051507" y="1692084"/>
              <a:ext cx="646402" cy="646402"/>
            </a:xfrm>
            <a:prstGeom prst="rect">
              <a:avLst/>
            </a:prstGeom>
          </p:spPr>
        </p:pic>
        <p:sp>
          <p:nvSpPr>
            <p:cNvPr id="86" name="Line 50">
              <a:extLst>
                <a:ext uri="{FF2B5EF4-FFF2-40B4-BE49-F238E27FC236}">
                  <a16:creationId xmlns:a16="http://schemas.microsoft.com/office/drawing/2014/main" id="{AB6A0223-EE86-434B-8289-E382D34110F5}"/>
                </a:ext>
              </a:extLst>
            </p:cNvPr>
            <p:cNvSpPr>
              <a:spLocks noChangeShapeType="1"/>
            </p:cNvSpPr>
            <p:nvPr/>
          </p:nvSpPr>
          <p:spPr bwMode="gray">
            <a:xfrm rot="5400000">
              <a:off x="10590858" y="2770543"/>
              <a:ext cx="535054" cy="0"/>
            </a:xfrm>
            <a:prstGeom prst="line">
              <a:avLst/>
            </a:prstGeom>
            <a:noFill/>
            <a:ln w="12700">
              <a:solidFill>
                <a:schemeClr val="tx1"/>
              </a:solidFill>
              <a:round/>
              <a:headEnd/>
              <a:tailEnd type="oval" w="med" len="med"/>
            </a:ln>
          </p:spPr>
          <p:txBody>
            <a:bodyPr wrap="none" anchor="ctr"/>
            <a:lstStyle/>
            <a:p>
              <a:endParaRPr lang="en-US" sz="5575">
                <a:latin typeface="+mj-lt"/>
              </a:endParaRPr>
            </a:p>
          </p:txBody>
        </p:sp>
      </p:grpSp>
      <p:grpSp>
        <p:nvGrpSpPr>
          <p:cNvPr id="90" name="Group 89">
            <a:extLst>
              <a:ext uri="{FF2B5EF4-FFF2-40B4-BE49-F238E27FC236}">
                <a16:creationId xmlns:a16="http://schemas.microsoft.com/office/drawing/2014/main" id="{C16702C7-22CF-49DE-837A-875AACB47FDF}"/>
              </a:ext>
            </a:extLst>
          </p:cNvPr>
          <p:cNvGrpSpPr/>
          <p:nvPr/>
        </p:nvGrpSpPr>
        <p:grpSpPr>
          <a:xfrm>
            <a:off x="643746" y="3131200"/>
            <a:ext cx="332087" cy="252000"/>
            <a:chOff x="5367014" y="3024018"/>
            <a:chExt cx="252000" cy="252000"/>
          </a:xfrm>
        </p:grpSpPr>
        <p:sp>
          <p:nvSpPr>
            <p:cNvPr id="92" name="Oval 91">
              <a:extLst>
                <a:ext uri="{FF2B5EF4-FFF2-40B4-BE49-F238E27FC236}">
                  <a16:creationId xmlns:a16="http://schemas.microsoft.com/office/drawing/2014/main" id="{182AB027-6B53-4A58-95AF-388F40C2D061}"/>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93" name="Oval 92">
              <a:extLst>
                <a:ext uri="{FF2B5EF4-FFF2-40B4-BE49-F238E27FC236}">
                  <a16:creationId xmlns:a16="http://schemas.microsoft.com/office/drawing/2014/main" id="{AC208A9B-D182-4C7C-95CA-D4611E010FE5}"/>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94" name="Group 93">
            <a:extLst>
              <a:ext uri="{FF2B5EF4-FFF2-40B4-BE49-F238E27FC236}">
                <a16:creationId xmlns:a16="http://schemas.microsoft.com/office/drawing/2014/main" id="{ACFBB364-2F06-40D7-9C09-697691429FD0}"/>
              </a:ext>
            </a:extLst>
          </p:cNvPr>
          <p:cNvGrpSpPr/>
          <p:nvPr/>
        </p:nvGrpSpPr>
        <p:grpSpPr>
          <a:xfrm>
            <a:off x="1252791" y="3131200"/>
            <a:ext cx="332087" cy="252000"/>
            <a:chOff x="5367014" y="3024018"/>
            <a:chExt cx="252000" cy="252000"/>
          </a:xfrm>
        </p:grpSpPr>
        <p:sp>
          <p:nvSpPr>
            <p:cNvPr id="95" name="Oval 94">
              <a:extLst>
                <a:ext uri="{FF2B5EF4-FFF2-40B4-BE49-F238E27FC236}">
                  <a16:creationId xmlns:a16="http://schemas.microsoft.com/office/drawing/2014/main" id="{86B6C77B-5C48-43A2-A4F9-7F820D2F21E0}"/>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96" name="Oval 95">
              <a:extLst>
                <a:ext uri="{FF2B5EF4-FFF2-40B4-BE49-F238E27FC236}">
                  <a16:creationId xmlns:a16="http://schemas.microsoft.com/office/drawing/2014/main" id="{C279F510-A8E1-4764-B55D-CB88688BE941}"/>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97" name="Group 96">
            <a:extLst>
              <a:ext uri="{FF2B5EF4-FFF2-40B4-BE49-F238E27FC236}">
                <a16:creationId xmlns:a16="http://schemas.microsoft.com/office/drawing/2014/main" id="{EA5F3E76-6BA0-4D8B-9761-B5CB7B04E6A9}"/>
              </a:ext>
            </a:extLst>
          </p:cNvPr>
          <p:cNvGrpSpPr/>
          <p:nvPr/>
        </p:nvGrpSpPr>
        <p:grpSpPr>
          <a:xfrm>
            <a:off x="6016618" y="3140093"/>
            <a:ext cx="332087" cy="252000"/>
            <a:chOff x="5367014" y="3024018"/>
            <a:chExt cx="252000" cy="252000"/>
          </a:xfrm>
        </p:grpSpPr>
        <p:sp>
          <p:nvSpPr>
            <p:cNvPr id="98" name="Oval 97">
              <a:extLst>
                <a:ext uri="{FF2B5EF4-FFF2-40B4-BE49-F238E27FC236}">
                  <a16:creationId xmlns:a16="http://schemas.microsoft.com/office/drawing/2014/main" id="{30129653-AC8C-48BC-B85B-DF8CE1BDAA35}"/>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99" name="Oval 98">
              <a:extLst>
                <a:ext uri="{FF2B5EF4-FFF2-40B4-BE49-F238E27FC236}">
                  <a16:creationId xmlns:a16="http://schemas.microsoft.com/office/drawing/2014/main" id="{3BA5F333-2DAB-4EF4-9A1C-822B3C195F3C}"/>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103" name="Group 102">
            <a:extLst>
              <a:ext uri="{FF2B5EF4-FFF2-40B4-BE49-F238E27FC236}">
                <a16:creationId xmlns:a16="http://schemas.microsoft.com/office/drawing/2014/main" id="{EC6AF3A5-B164-4549-9057-907B02F9EC58}"/>
              </a:ext>
            </a:extLst>
          </p:cNvPr>
          <p:cNvGrpSpPr/>
          <p:nvPr/>
        </p:nvGrpSpPr>
        <p:grpSpPr>
          <a:xfrm>
            <a:off x="2401288" y="3131200"/>
            <a:ext cx="332087" cy="252000"/>
            <a:chOff x="5367014" y="3024018"/>
            <a:chExt cx="252000" cy="252000"/>
          </a:xfrm>
        </p:grpSpPr>
        <p:sp>
          <p:nvSpPr>
            <p:cNvPr id="104" name="Oval 103">
              <a:extLst>
                <a:ext uri="{FF2B5EF4-FFF2-40B4-BE49-F238E27FC236}">
                  <a16:creationId xmlns:a16="http://schemas.microsoft.com/office/drawing/2014/main" id="{D349C24A-9299-4E26-ACE2-18AEE3F001A2}"/>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105" name="Oval 104">
              <a:extLst>
                <a:ext uri="{FF2B5EF4-FFF2-40B4-BE49-F238E27FC236}">
                  <a16:creationId xmlns:a16="http://schemas.microsoft.com/office/drawing/2014/main" id="{B9517B94-D968-4AB6-9B62-233C1CA1833C}"/>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109" name="Group 108">
            <a:extLst>
              <a:ext uri="{FF2B5EF4-FFF2-40B4-BE49-F238E27FC236}">
                <a16:creationId xmlns:a16="http://schemas.microsoft.com/office/drawing/2014/main" id="{45F6135C-71D5-4F22-B0A6-907CE8B7AEEE}"/>
              </a:ext>
            </a:extLst>
          </p:cNvPr>
          <p:cNvGrpSpPr/>
          <p:nvPr/>
        </p:nvGrpSpPr>
        <p:grpSpPr>
          <a:xfrm>
            <a:off x="7981360" y="3161171"/>
            <a:ext cx="332087" cy="252000"/>
            <a:chOff x="5367014" y="3024018"/>
            <a:chExt cx="252000" cy="252000"/>
          </a:xfrm>
        </p:grpSpPr>
        <p:sp>
          <p:nvSpPr>
            <p:cNvPr id="110" name="Oval 109">
              <a:extLst>
                <a:ext uri="{FF2B5EF4-FFF2-40B4-BE49-F238E27FC236}">
                  <a16:creationId xmlns:a16="http://schemas.microsoft.com/office/drawing/2014/main" id="{FDAD3F88-07A4-48A1-8A43-2FE9DADA5829}"/>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111" name="Oval 110">
              <a:extLst>
                <a:ext uri="{FF2B5EF4-FFF2-40B4-BE49-F238E27FC236}">
                  <a16:creationId xmlns:a16="http://schemas.microsoft.com/office/drawing/2014/main" id="{5448495D-5941-4E36-9FB2-7A3623B7C4E9}"/>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115" name="Group 114">
            <a:extLst>
              <a:ext uri="{FF2B5EF4-FFF2-40B4-BE49-F238E27FC236}">
                <a16:creationId xmlns:a16="http://schemas.microsoft.com/office/drawing/2014/main" id="{CF73F1E2-CE77-4E03-AD37-54D0C716B9F3}"/>
              </a:ext>
            </a:extLst>
          </p:cNvPr>
          <p:cNvGrpSpPr/>
          <p:nvPr/>
        </p:nvGrpSpPr>
        <p:grpSpPr>
          <a:xfrm>
            <a:off x="10324122" y="3131200"/>
            <a:ext cx="332087" cy="252000"/>
            <a:chOff x="5367014" y="3024018"/>
            <a:chExt cx="252000" cy="252000"/>
          </a:xfrm>
        </p:grpSpPr>
        <p:sp>
          <p:nvSpPr>
            <p:cNvPr id="116" name="Oval 115">
              <a:extLst>
                <a:ext uri="{FF2B5EF4-FFF2-40B4-BE49-F238E27FC236}">
                  <a16:creationId xmlns:a16="http://schemas.microsoft.com/office/drawing/2014/main" id="{3D1D99F2-CE68-4D45-B65D-B4587BD2F807}"/>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117" name="Oval 116">
              <a:extLst>
                <a:ext uri="{FF2B5EF4-FFF2-40B4-BE49-F238E27FC236}">
                  <a16:creationId xmlns:a16="http://schemas.microsoft.com/office/drawing/2014/main" id="{5CF4667C-7C3A-4974-B2AC-0EB182946F45}"/>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118" name="Group 117">
            <a:extLst>
              <a:ext uri="{FF2B5EF4-FFF2-40B4-BE49-F238E27FC236}">
                <a16:creationId xmlns:a16="http://schemas.microsoft.com/office/drawing/2014/main" id="{F01D2D74-0AF9-4813-9FE9-D1A11A3C7A21}"/>
              </a:ext>
            </a:extLst>
          </p:cNvPr>
          <p:cNvGrpSpPr/>
          <p:nvPr/>
        </p:nvGrpSpPr>
        <p:grpSpPr>
          <a:xfrm>
            <a:off x="10918725" y="3131200"/>
            <a:ext cx="332087" cy="252000"/>
            <a:chOff x="5367014" y="3024018"/>
            <a:chExt cx="252000" cy="252000"/>
          </a:xfrm>
        </p:grpSpPr>
        <p:sp>
          <p:nvSpPr>
            <p:cNvPr id="119" name="Oval 118">
              <a:extLst>
                <a:ext uri="{FF2B5EF4-FFF2-40B4-BE49-F238E27FC236}">
                  <a16:creationId xmlns:a16="http://schemas.microsoft.com/office/drawing/2014/main" id="{FF444085-6E06-468D-A3EC-D052115299A7}"/>
                </a:ext>
              </a:extLst>
            </p:cNvPr>
            <p:cNvSpPr/>
            <p:nvPr/>
          </p:nvSpPr>
          <p:spPr>
            <a:xfrm>
              <a:off x="5367014" y="3024018"/>
              <a:ext cx="252000" cy="252000"/>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sp>
          <p:nvSpPr>
            <p:cNvPr id="120" name="Oval 119">
              <a:extLst>
                <a:ext uri="{FF2B5EF4-FFF2-40B4-BE49-F238E27FC236}">
                  <a16:creationId xmlns:a16="http://schemas.microsoft.com/office/drawing/2014/main" id="{84903A7A-40E0-4067-B50B-FA6DA1D5F3E9}"/>
                </a:ext>
              </a:extLst>
            </p:cNvPr>
            <p:cNvSpPr/>
            <p:nvPr/>
          </p:nvSpPr>
          <p:spPr>
            <a:xfrm>
              <a:off x="5421014" y="3078018"/>
              <a:ext cx="144000" cy="144000"/>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solidFill>
                  <a:schemeClr val="tx1"/>
                </a:solidFill>
                <a:latin typeface="+mj-lt"/>
              </a:endParaRPr>
            </a:p>
          </p:txBody>
        </p:sp>
      </p:grpSp>
      <p:grpSp>
        <p:nvGrpSpPr>
          <p:cNvPr id="49" name="Group 48">
            <a:extLst>
              <a:ext uri="{FF2B5EF4-FFF2-40B4-BE49-F238E27FC236}">
                <a16:creationId xmlns:a16="http://schemas.microsoft.com/office/drawing/2014/main" id="{E976649F-607C-4D86-8549-6D7CF8F06F1B}"/>
              </a:ext>
            </a:extLst>
          </p:cNvPr>
          <p:cNvGrpSpPr/>
          <p:nvPr/>
        </p:nvGrpSpPr>
        <p:grpSpPr>
          <a:xfrm>
            <a:off x="943897" y="3512802"/>
            <a:ext cx="2429173" cy="2191387"/>
            <a:chOff x="5739289" y="3444272"/>
            <a:chExt cx="2429173" cy="2191387"/>
          </a:xfrm>
        </p:grpSpPr>
        <p:sp>
          <p:nvSpPr>
            <p:cNvPr id="68" name="Rectangle 286">
              <a:extLst>
                <a:ext uri="{FF2B5EF4-FFF2-40B4-BE49-F238E27FC236}">
                  <a16:creationId xmlns:a16="http://schemas.microsoft.com/office/drawing/2014/main" id="{2EF3FA51-931F-408F-8EAC-638F50FFBFA7}"/>
                </a:ext>
              </a:extLst>
            </p:cNvPr>
            <p:cNvSpPr>
              <a:spLocks noChangeArrowheads="1"/>
            </p:cNvSpPr>
            <p:nvPr/>
          </p:nvSpPr>
          <p:spPr bwMode="gray">
            <a:xfrm>
              <a:off x="5739289" y="4676299"/>
              <a:ext cx="2158480" cy="746102"/>
            </a:xfrm>
            <a:prstGeom prst="rect">
              <a:avLst/>
            </a:prstGeom>
            <a:noFill/>
            <a:ln w="9525">
              <a:noFill/>
              <a:miter lim="800000"/>
              <a:headEnd/>
              <a:tailEnd/>
            </a:ln>
          </p:spPr>
          <p:txBody>
            <a:bodyPr wrap="square" lIns="0" tIns="0" rIns="0" bIns="0">
              <a:spAutoFit/>
            </a:bodyPr>
            <a:lstStyle/>
            <a:p>
              <a:pPr algn="ctr" defTabSz="902433">
                <a:buClr>
                  <a:srgbClr val="002960"/>
                </a:buClr>
              </a:pPr>
              <a:r>
                <a:rPr kumimoji="1" lang="en-US" sz="1212" b="1" dirty="0">
                  <a:solidFill>
                    <a:srgbClr val="000000"/>
                  </a:solidFill>
                  <a:latin typeface="Open Sans" panose="020B0606030504020204"/>
                </a:rPr>
                <a:t>Tourism Development Bill was Read and Passed in the House of Parliament on February 20</a:t>
              </a:r>
              <a:r>
                <a:rPr kumimoji="1" lang="en-US" sz="1212" b="1" baseline="30000" dirty="0">
                  <a:solidFill>
                    <a:srgbClr val="000000"/>
                  </a:solidFill>
                  <a:latin typeface="Open Sans" panose="020B0606030504020204"/>
                </a:rPr>
                <a:t>th</a:t>
              </a:r>
              <a:r>
                <a:rPr kumimoji="1" lang="en-US" sz="1212" b="1" dirty="0">
                  <a:solidFill>
                    <a:srgbClr val="000000"/>
                  </a:solidFill>
                  <a:latin typeface="Open Sans" panose="020B0606030504020204"/>
                </a:rPr>
                <a:t> . </a:t>
              </a:r>
              <a:endParaRPr kumimoji="1" lang="en-US" sz="1212" dirty="0">
                <a:solidFill>
                  <a:srgbClr val="000000"/>
                </a:solidFill>
                <a:latin typeface="Open Sans" panose="020B0606030504020204"/>
              </a:endParaRPr>
            </a:p>
          </p:txBody>
        </p:sp>
        <p:sp>
          <p:nvSpPr>
            <p:cNvPr id="69" name="Line 56">
              <a:extLst>
                <a:ext uri="{FF2B5EF4-FFF2-40B4-BE49-F238E27FC236}">
                  <a16:creationId xmlns:a16="http://schemas.microsoft.com/office/drawing/2014/main" id="{CDF5B288-3EFB-489A-8C59-4CE06442E438}"/>
                </a:ext>
              </a:extLst>
            </p:cNvPr>
            <p:cNvSpPr>
              <a:spLocks noChangeShapeType="1"/>
            </p:cNvSpPr>
            <p:nvPr/>
          </p:nvSpPr>
          <p:spPr bwMode="gray">
            <a:xfrm rot="16200000">
              <a:off x="5716348" y="3900467"/>
              <a:ext cx="912390" cy="0"/>
            </a:xfrm>
            <a:prstGeom prst="line">
              <a:avLst/>
            </a:prstGeom>
            <a:noFill/>
            <a:ln w="12700">
              <a:solidFill>
                <a:schemeClr val="tx1"/>
              </a:solidFill>
              <a:round/>
              <a:headEnd/>
              <a:tailEnd type="oval" w="med" len="med"/>
            </a:ln>
          </p:spPr>
          <p:txBody>
            <a:bodyPr wrap="none" anchor="ctr"/>
            <a:lstStyle/>
            <a:p>
              <a:endParaRPr lang="en-US" sz="5575" dirty="0">
                <a:latin typeface="+mj-lt"/>
              </a:endParaRPr>
            </a:p>
          </p:txBody>
        </p:sp>
        <p:sp>
          <p:nvSpPr>
            <p:cNvPr id="70" name="Line 45">
              <a:extLst>
                <a:ext uri="{FF2B5EF4-FFF2-40B4-BE49-F238E27FC236}">
                  <a16:creationId xmlns:a16="http://schemas.microsoft.com/office/drawing/2014/main" id="{10CE5329-2196-42DC-801B-65CE678315D2}"/>
                </a:ext>
              </a:extLst>
            </p:cNvPr>
            <p:cNvSpPr>
              <a:spLocks noChangeShapeType="1"/>
            </p:cNvSpPr>
            <p:nvPr/>
          </p:nvSpPr>
          <p:spPr bwMode="gray">
            <a:xfrm>
              <a:off x="5782894" y="4656262"/>
              <a:ext cx="2131037" cy="0"/>
            </a:xfrm>
            <a:prstGeom prst="line">
              <a:avLst/>
            </a:prstGeom>
            <a:noFill/>
            <a:ln w="12700">
              <a:solidFill>
                <a:schemeClr val="tx1"/>
              </a:solidFill>
              <a:round/>
              <a:headEnd/>
              <a:tailEnd/>
            </a:ln>
          </p:spPr>
          <p:txBody>
            <a:bodyPr wrap="none" lIns="92253" tIns="46128" rIns="92253" bIns="46128" anchor="ctr"/>
            <a:lstStyle/>
            <a:p>
              <a:endParaRPr lang="en-US" sz="1615">
                <a:latin typeface="+mj-lt"/>
              </a:endParaRPr>
            </a:p>
          </p:txBody>
        </p:sp>
        <p:pic>
          <p:nvPicPr>
            <p:cNvPr id="71" name="Picture 70">
              <a:extLst>
                <a:ext uri="{FF2B5EF4-FFF2-40B4-BE49-F238E27FC236}">
                  <a16:creationId xmlns:a16="http://schemas.microsoft.com/office/drawing/2014/main" id="{76B13DF4-9A0A-48A3-840F-44C30E052722}"/>
                </a:ext>
              </a:extLst>
            </p:cNvPr>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42281" y="3758841"/>
              <a:ext cx="1064473" cy="912390"/>
            </a:xfrm>
            <a:prstGeom prst="rect">
              <a:avLst/>
            </a:prstGeom>
          </p:spPr>
        </p:pic>
        <p:pic>
          <p:nvPicPr>
            <p:cNvPr id="134" name="Picture 66" descr="Haken">
              <a:extLst>
                <a:ext uri="{FF2B5EF4-FFF2-40B4-BE49-F238E27FC236}">
                  <a16:creationId xmlns:a16="http://schemas.microsoft.com/office/drawing/2014/main" id="{5C9B11FD-1678-46D5-A7F4-985FA16888E2}"/>
                </a:ext>
              </a:extLst>
            </p:cNvPr>
            <p:cNvPicPr>
              <a:picLocks noChangeAspect="1" noChangeArrowheads="1"/>
            </p:cNvPicPr>
            <p:nvPr/>
          </p:nvPicPr>
          <p:blipFill>
            <a:blip r:embed="rId13">
              <a:lum bright="12000" contrast="-12000"/>
            </a:blip>
            <a:srcRect/>
            <a:stretch>
              <a:fillRect/>
            </a:stretch>
          </p:blipFill>
          <p:spPr bwMode="gray">
            <a:xfrm>
              <a:off x="7525248" y="5124872"/>
              <a:ext cx="643214" cy="510787"/>
            </a:xfrm>
            <a:prstGeom prst="rect">
              <a:avLst/>
            </a:prstGeom>
            <a:noFill/>
            <a:ln w="9525">
              <a:noFill/>
              <a:miter lim="800000"/>
              <a:headEnd/>
              <a:tailEnd/>
            </a:ln>
          </p:spPr>
        </p:pic>
      </p:grpSp>
      <p:grpSp>
        <p:nvGrpSpPr>
          <p:cNvPr id="63" name="Group 62">
            <a:extLst>
              <a:ext uri="{FF2B5EF4-FFF2-40B4-BE49-F238E27FC236}">
                <a16:creationId xmlns:a16="http://schemas.microsoft.com/office/drawing/2014/main" id="{BA06D3D3-F11B-4F2F-820A-D89CB4D9C36A}"/>
              </a:ext>
            </a:extLst>
          </p:cNvPr>
          <p:cNvGrpSpPr/>
          <p:nvPr/>
        </p:nvGrpSpPr>
        <p:grpSpPr>
          <a:xfrm>
            <a:off x="4134517" y="3617407"/>
            <a:ext cx="2218364" cy="1732488"/>
            <a:chOff x="3453952" y="3735931"/>
            <a:chExt cx="2218364" cy="1732488"/>
          </a:xfrm>
        </p:grpSpPr>
        <p:sp>
          <p:nvSpPr>
            <p:cNvPr id="129" name="Rectangle 286">
              <a:extLst>
                <a:ext uri="{FF2B5EF4-FFF2-40B4-BE49-F238E27FC236}">
                  <a16:creationId xmlns:a16="http://schemas.microsoft.com/office/drawing/2014/main" id="{9E7FAC19-4868-48D0-B51F-12C860032F3B}"/>
                </a:ext>
              </a:extLst>
            </p:cNvPr>
            <p:cNvSpPr>
              <a:spLocks noChangeArrowheads="1"/>
            </p:cNvSpPr>
            <p:nvPr/>
          </p:nvSpPr>
          <p:spPr bwMode="gray">
            <a:xfrm>
              <a:off x="3602276" y="4908842"/>
              <a:ext cx="1872302" cy="559577"/>
            </a:xfrm>
            <a:prstGeom prst="rect">
              <a:avLst/>
            </a:prstGeom>
            <a:noFill/>
            <a:ln w="9525">
              <a:noFill/>
              <a:miter lim="800000"/>
              <a:headEnd/>
              <a:tailEnd/>
            </a:ln>
          </p:spPr>
          <p:txBody>
            <a:bodyPr wrap="square" lIns="0" tIns="0" rIns="0" bIns="0">
              <a:spAutoFit/>
            </a:bodyPr>
            <a:lstStyle/>
            <a:p>
              <a:pPr algn="ctr" defTabSz="902433">
                <a:buClr>
                  <a:srgbClr val="002960"/>
                </a:buClr>
              </a:pPr>
              <a:r>
                <a:rPr kumimoji="1" lang="en-US" sz="1212" b="1" dirty="0">
                  <a:latin typeface="Open Sans" panose="020B0606030504020204"/>
                </a:rPr>
                <a:t>Tourism Development Act came into Effect on April 15</a:t>
              </a:r>
              <a:r>
                <a:rPr kumimoji="1" lang="en-US" sz="1212" b="1" baseline="30000" dirty="0">
                  <a:latin typeface="Open Sans" panose="020B0606030504020204"/>
                </a:rPr>
                <a:t>th</a:t>
              </a:r>
              <a:r>
                <a:rPr kumimoji="1" lang="en-US" sz="1212" b="1" dirty="0">
                  <a:latin typeface="+mj-lt"/>
                </a:rPr>
                <a:t>. </a:t>
              </a:r>
              <a:r>
                <a:rPr kumimoji="1" lang="en-US" sz="1212" dirty="0">
                  <a:latin typeface="+mj-lt"/>
                </a:rPr>
                <a:t> </a:t>
              </a:r>
              <a:endParaRPr kumimoji="1" lang="en-US" sz="1212" b="1" dirty="0">
                <a:latin typeface="+mj-lt"/>
              </a:endParaRPr>
            </a:p>
          </p:txBody>
        </p:sp>
        <p:sp>
          <p:nvSpPr>
            <p:cNvPr id="130" name="Line 39">
              <a:extLst>
                <a:ext uri="{FF2B5EF4-FFF2-40B4-BE49-F238E27FC236}">
                  <a16:creationId xmlns:a16="http://schemas.microsoft.com/office/drawing/2014/main" id="{39606E39-4713-42EB-8EDF-676CA2FD6583}"/>
                </a:ext>
              </a:extLst>
            </p:cNvPr>
            <p:cNvSpPr>
              <a:spLocks noChangeShapeType="1"/>
            </p:cNvSpPr>
            <p:nvPr/>
          </p:nvSpPr>
          <p:spPr bwMode="gray">
            <a:xfrm>
              <a:off x="3453952" y="4899648"/>
              <a:ext cx="2218364" cy="0"/>
            </a:xfrm>
            <a:prstGeom prst="line">
              <a:avLst/>
            </a:prstGeom>
            <a:noFill/>
            <a:ln w="12700">
              <a:solidFill>
                <a:schemeClr val="tx1"/>
              </a:solidFill>
              <a:round/>
              <a:headEnd/>
              <a:tailEnd/>
            </a:ln>
          </p:spPr>
          <p:txBody>
            <a:bodyPr wrap="none" lIns="92253" tIns="46128" rIns="92253" bIns="46128" anchor="ctr"/>
            <a:lstStyle/>
            <a:p>
              <a:endParaRPr lang="en-US" sz="1212">
                <a:latin typeface="+mj-lt"/>
              </a:endParaRPr>
            </a:p>
          </p:txBody>
        </p:sp>
        <p:sp>
          <p:nvSpPr>
            <p:cNvPr id="131" name="Line 48">
              <a:extLst>
                <a:ext uri="{FF2B5EF4-FFF2-40B4-BE49-F238E27FC236}">
                  <a16:creationId xmlns:a16="http://schemas.microsoft.com/office/drawing/2014/main" id="{BA4A83D4-E04C-4D19-9899-5370C1B2C263}"/>
                </a:ext>
              </a:extLst>
            </p:cNvPr>
            <p:cNvSpPr>
              <a:spLocks noChangeShapeType="1"/>
            </p:cNvSpPr>
            <p:nvPr/>
          </p:nvSpPr>
          <p:spPr bwMode="gray">
            <a:xfrm rot="16200000" flipV="1">
              <a:off x="4920124" y="4315214"/>
              <a:ext cx="1158565" cy="0"/>
            </a:xfrm>
            <a:prstGeom prst="line">
              <a:avLst/>
            </a:prstGeom>
            <a:noFill/>
            <a:ln w="12700">
              <a:solidFill>
                <a:schemeClr val="tx1"/>
              </a:solidFill>
              <a:round/>
              <a:headEnd/>
              <a:tailEnd type="oval" w="med" len="med"/>
            </a:ln>
          </p:spPr>
          <p:txBody>
            <a:bodyPr wrap="none" anchor="ctr"/>
            <a:lstStyle/>
            <a:p>
              <a:endParaRPr lang="en-US" sz="1212">
                <a:latin typeface="+mj-lt"/>
              </a:endParaRPr>
            </a:p>
          </p:txBody>
        </p:sp>
        <p:pic>
          <p:nvPicPr>
            <p:cNvPr id="132" name="Picture 131" descr="Scales of justice">
              <a:extLst>
                <a:ext uri="{FF2B5EF4-FFF2-40B4-BE49-F238E27FC236}">
                  <a16:creationId xmlns:a16="http://schemas.microsoft.com/office/drawing/2014/main" id="{8800AED6-A558-4C18-8114-81C0971742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566694" y="3908898"/>
              <a:ext cx="807762" cy="807762"/>
            </a:xfrm>
            <a:prstGeom prst="rect">
              <a:avLst/>
            </a:prstGeom>
          </p:spPr>
        </p:pic>
        <p:pic>
          <p:nvPicPr>
            <p:cNvPr id="128" name="Picture 66" descr="Haken">
              <a:extLst>
                <a:ext uri="{FF2B5EF4-FFF2-40B4-BE49-F238E27FC236}">
                  <a16:creationId xmlns:a16="http://schemas.microsoft.com/office/drawing/2014/main" id="{C0F48675-D9C4-49A1-9F24-70A46109F3BE}"/>
                </a:ext>
              </a:extLst>
            </p:cNvPr>
            <p:cNvPicPr>
              <a:picLocks noChangeAspect="1" noChangeArrowheads="1"/>
            </p:cNvPicPr>
            <p:nvPr/>
          </p:nvPicPr>
          <p:blipFill>
            <a:blip r:embed="rId13">
              <a:lum bright="12000" contrast="-12000"/>
            </a:blip>
            <a:srcRect/>
            <a:stretch>
              <a:fillRect/>
            </a:stretch>
          </p:blipFill>
          <p:spPr bwMode="gray">
            <a:xfrm>
              <a:off x="3581360" y="4427293"/>
              <a:ext cx="643214" cy="510787"/>
            </a:xfrm>
            <a:prstGeom prst="rect">
              <a:avLst/>
            </a:prstGeom>
            <a:noFill/>
            <a:ln w="9525">
              <a:noFill/>
              <a:miter lim="800000"/>
              <a:headEnd/>
              <a:tailEnd/>
            </a:ln>
          </p:spPr>
        </p:pic>
      </p:grpSp>
      <p:pic>
        <p:nvPicPr>
          <p:cNvPr id="133" name="Picture 66" descr="Haken">
            <a:extLst>
              <a:ext uri="{FF2B5EF4-FFF2-40B4-BE49-F238E27FC236}">
                <a16:creationId xmlns:a16="http://schemas.microsoft.com/office/drawing/2014/main" id="{C0064CCB-A3C1-411D-AD63-28D74C6CF423}"/>
              </a:ext>
            </a:extLst>
          </p:cNvPr>
          <p:cNvPicPr>
            <a:picLocks noChangeAspect="1" noChangeArrowheads="1"/>
          </p:cNvPicPr>
          <p:nvPr/>
        </p:nvPicPr>
        <p:blipFill>
          <a:blip r:embed="rId13">
            <a:lum bright="12000" contrast="-12000"/>
          </a:blip>
          <a:srcRect/>
          <a:stretch>
            <a:fillRect/>
          </a:stretch>
        </p:blipFill>
        <p:spPr bwMode="gray">
          <a:xfrm>
            <a:off x="4893908" y="2039965"/>
            <a:ext cx="643214" cy="510787"/>
          </a:xfrm>
          <a:prstGeom prst="rect">
            <a:avLst/>
          </a:prstGeom>
          <a:noFill/>
          <a:ln w="9525">
            <a:noFill/>
            <a:miter lim="800000"/>
            <a:headEnd/>
            <a:tailEnd/>
          </a:ln>
        </p:spPr>
      </p:pic>
    </p:spTree>
    <p:extLst>
      <p:ext uri="{BB962C8B-B14F-4D97-AF65-F5344CB8AC3E}">
        <p14:creationId xmlns:p14="http://schemas.microsoft.com/office/powerpoint/2010/main" val="17674025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36418" y="1620982"/>
            <a:ext cx="10079182" cy="5008418"/>
          </a:xfrm>
        </p:spPr>
        <p:txBody>
          <a:bodyPr>
            <a:normAutofit fontScale="70000" lnSpcReduction="20000"/>
          </a:bodyPr>
          <a:lstStyle/>
          <a:p>
            <a:pPr lvl="0"/>
            <a:r>
              <a:rPr lang="en-US" dirty="0"/>
              <a:t>Completed Tourism Development Act Incentives Application Form</a:t>
            </a:r>
            <a:endParaRPr lang="en-US" sz="2400" dirty="0"/>
          </a:p>
          <a:p>
            <a:pPr lvl="0"/>
            <a:r>
              <a:rPr lang="en-US" dirty="0"/>
              <a:t>Land Register</a:t>
            </a:r>
            <a:endParaRPr lang="en-US" sz="2400" dirty="0"/>
          </a:p>
          <a:p>
            <a:pPr lvl="0"/>
            <a:r>
              <a:rPr lang="en-US" dirty="0"/>
              <a:t>Lease Agreement – </a:t>
            </a:r>
            <a:endParaRPr lang="en-US" sz="2400" dirty="0"/>
          </a:p>
          <a:p>
            <a:pPr lvl="1"/>
            <a:r>
              <a:rPr lang="en-US" dirty="0"/>
              <a:t>For at least three (3) years if the value of the tourism investment is up to EC$750k; and</a:t>
            </a:r>
            <a:endParaRPr lang="en-US" sz="2000" dirty="0"/>
          </a:p>
          <a:p>
            <a:pPr lvl="1"/>
            <a:r>
              <a:rPr lang="en-US" dirty="0"/>
              <a:t>For at least ten (10) years if the value of the tourism investment is above EC$750k.</a:t>
            </a:r>
            <a:endParaRPr lang="en-US" sz="2000" dirty="0"/>
          </a:p>
          <a:p>
            <a:pPr lvl="0"/>
            <a:r>
              <a:rPr lang="en-US" dirty="0"/>
              <a:t>Proof of financing for the project</a:t>
            </a:r>
            <a:endParaRPr lang="en-US" sz="2400" dirty="0"/>
          </a:p>
          <a:p>
            <a:pPr lvl="0"/>
            <a:r>
              <a:rPr lang="en-US" dirty="0"/>
              <a:t>In the case of a tourism investment with a value of more than a EC$1M, financial projections for the project</a:t>
            </a:r>
            <a:endParaRPr lang="en-US" sz="2400" dirty="0"/>
          </a:p>
          <a:p>
            <a:pPr lvl="0"/>
            <a:r>
              <a:rPr lang="en-US" dirty="0"/>
              <a:t>Development Control Authority (DCA) approval (at least in principle) </a:t>
            </a:r>
            <a:endParaRPr lang="en-US" sz="2400" dirty="0"/>
          </a:p>
          <a:p>
            <a:pPr lvl="0"/>
            <a:r>
              <a:rPr lang="en-US" dirty="0"/>
              <a:t>Bill of Quantities/ List of Materials and Equipment</a:t>
            </a:r>
            <a:endParaRPr lang="en-US" sz="2400" dirty="0"/>
          </a:p>
          <a:p>
            <a:pPr lvl="0"/>
            <a:r>
              <a:rPr lang="en-US" dirty="0"/>
              <a:t>Business plan with information relating to the investment time frame</a:t>
            </a:r>
            <a:endParaRPr lang="en-US" sz="2400" dirty="0"/>
          </a:p>
          <a:p>
            <a:pPr lvl="0"/>
            <a:r>
              <a:rPr lang="en-US" dirty="0"/>
              <a:t>Letter of Compliance from the Inland Revenue Department</a:t>
            </a:r>
            <a:endParaRPr lang="en-US" sz="2400" dirty="0"/>
          </a:p>
          <a:p>
            <a:pPr lvl="0"/>
            <a:r>
              <a:rPr lang="en-US" dirty="0"/>
              <a:t>Letter of Compliance from the National Insurance Corporation</a:t>
            </a:r>
            <a:endParaRPr lang="en-US" sz="2400" dirty="0"/>
          </a:p>
          <a:p>
            <a:pPr lvl="0"/>
            <a:r>
              <a:rPr lang="en-US" dirty="0"/>
              <a:t>Certificate of Character (first time applicants); in the case of a company, a Certificate of Character must be provided for each direct of the company</a:t>
            </a:r>
            <a:endParaRPr lang="en-US" sz="2400" dirty="0"/>
          </a:p>
          <a:p>
            <a:pPr lvl="0"/>
            <a:r>
              <a:rPr lang="en-US" dirty="0"/>
              <a:t>Letter of Compliance form the Saint Lucia Tourism Authority (where applicable)</a:t>
            </a:r>
            <a:endParaRPr lang="en-US" sz="2400" dirty="0"/>
          </a:p>
          <a:p>
            <a:pPr marL="0" lvl="0" indent="0">
              <a:buNone/>
            </a:pPr>
            <a:endParaRPr lang="en-US" sz="2400" dirty="0"/>
          </a:p>
        </p:txBody>
      </p:sp>
      <p:sp>
        <p:nvSpPr>
          <p:cNvPr id="4" name="TextBox 3"/>
          <p:cNvSpPr txBox="1"/>
          <p:nvPr/>
        </p:nvSpPr>
        <p:spPr>
          <a:xfrm>
            <a:off x="0" y="332509"/>
            <a:ext cx="11305308" cy="707886"/>
          </a:xfrm>
          <a:prstGeom prst="rect">
            <a:avLst/>
          </a:prstGeom>
          <a:noFill/>
        </p:spPr>
        <p:txBody>
          <a:bodyPr wrap="square" rtlCol="0">
            <a:spAutoFit/>
          </a:bodyPr>
          <a:lstStyle/>
          <a:p>
            <a:pPr algn="ctr"/>
            <a:r>
              <a:rPr lang="en-US" sz="4000" b="1" dirty="0">
                <a:solidFill>
                  <a:schemeClr val="tx2"/>
                </a:solidFill>
                <a:latin typeface="Poppins" pitchFamily="2" charset="77"/>
                <a:ea typeface="+mj-ea"/>
              </a:rPr>
              <a:t>DOCUMENTS REQUIRED</a:t>
            </a:r>
          </a:p>
        </p:txBody>
      </p:sp>
    </p:spTree>
    <p:extLst>
      <p:ext uri="{BB962C8B-B14F-4D97-AF65-F5344CB8AC3E}">
        <p14:creationId xmlns:p14="http://schemas.microsoft.com/office/powerpoint/2010/main" val="3888282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p:cNvGraphicFramePr>
            <a:graphicFrameLocks/>
          </p:cNvGraphicFramePr>
          <p:nvPr/>
        </p:nvGraphicFramePr>
        <p:xfrm>
          <a:off x="990600" y="1642348"/>
          <a:ext cx="10515600" cy="4687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Content Placeholder 2"/>
          <p:cNvSpPr txBox="1">
            <a:spLocks/>
          </p:cNvSpPr>
          <p:nvPr/>
        </p:nvSpPr>
        <p:spPr>
          <a:xfrm>
            <a:off x="838200" y="1825625"/>
            <a:ext cx="10515600"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dirty="0"/>
          </a:p>
        </p:txBody>
      </p:sp>
      <p:sp>
        <p:nvSpPr>
          <p:cNvPr id="3" name="TextBox 2"/>
          <p:cNvSpPr txBox="1"/>
          <p:nvPr/>
        </p:nvSpPr>
        <p:spPr>
          <a:xfrm>
            <a:off x="2335530" y="96874"/>
            <a:ext cx="7520940" cy="1200329"/>
          </a:xfrm>
          <a:prstGeom prst="rect">
            <a:avLst/>
          </a:prstGeom>
          <a:noFill/>
        </p:spPr>
        <p:txBody>
          <a:bodyPr wrap="square" rtlCol="0">
            <a:spAutoFit/>
          </a:bodyPr>
          <a:lstStyle/>
          <a:p>
            <a:pPr algn="ctr"/>
            <a:r>
              <a:rPr lang="en-US" sz="3600" b="1" dirty="0">
                <a:solidFill>
                  <a:schemeClr val="tx2"/>
                </a:solidFill>
                <a:latin typeface="Poppins" pitchFamily="2" charset="77"/>
                <a:ea typeface="+mj-ea"/>
                <a:cs typeface="+mj-cs"/>
              </a:rPr>
              <a:t>REFERRAL OF INCENTIVES APPLICATIONS</a:t>
            </a:r>
          </a:p>
        </p:txBody>
      </p:sp>
      <p:sp>
        <p:nvSpPr>
          <p:cNvPr id="7" name="TextBox 6"/>
          <p:cNvSpPr txBox="1"/>
          <p:nvPr/>
        </p:nvSpPr>
        <p:spPr>
          <a:xfrm>
            <a:off x="3030279" y="4846320"/>
            <a:ext cx="2423160" cy="369332"/>
          </a:xfrm>
          <a:prstGeom prst="rect">
            <a:avLst/>
          </a:prstGeom>
          <a:noFill/>
        </p:spPr>
        <p:txBody>
          <a:bodyPr wrap="square" rtlCol="0">
            <a:spAutoFit/>
          </a:bodyPr>
          <a:lstStyle/>
          <a:p>
            <a:pPr algn="ctr"/>
            <a:r>
              <a:rPr lang="en-US" b="1" dirty="0"/>
              <a:t>&lt; EC$1 Million</a:t>
            </a:r>
          </a:p>
        </p:txBody>
      </p:sp>
      <p:sp>
        <p:nvSpPr>
          <p:cNvPr id="8" name="TextBox 7"/>
          <p:cNvSpPr txBox="1"/>
          <p:nvPr/>
        </p:nvSpPr>
        <p:spPr>
          <a:xfrm>
            <a:off x="7018020" y="4846320"/>
            <a:ext cx="2423160" cy="369332"/>
          </a:xfrm>
          <a:prstGeom prst="rect">
            <a:avLst/>
          </a:prstGeom>
          <a:noFill/>
        </p:spPr>
        <p:txBody>
          <a:bodyPr wrap="square" rtlCol="0">
            <a:spAutoFit/>
          </a:bodyPr>
          <a:lstStyle/>
          <a:p>
            <a:pPr algn="ctr"/>
            <a:r>
              <a:rPr lang="en-US" b="1" dirty="0"/>
              <a:t>&gt; EC$1 Million</a:t>
            </a:r>
          </a:p>
        </p:txBody>
      </p:sp>
      <p:pic>
        <p:nvPicPr>
          <p:cNvPr id="5" name="Graphic 4" descr="Money with solid fill">
            <a:extLst>
              <a:ext uri="{FF2B5EF4-FFF2-40B4-BE49-F238E27FC236}">
                <a16:creationId xmlns:a16="http://schemas.microsoft.com/office/drawing/2014/main" id="{4B59F879-6AB4-E47B-88DF-EF7F853C28D8}"/>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7871637" y="4001294"/>
            <a:ext cx="914400" cy="914400"/>
          </a:xfrm>
          <a:prstGeom prst="rect">
            <a:avLst/>
          </a:prstGeom>
        </p:spPr>
      </p:pic>
      <p:pic>
        <p:nvPicPr>
          <p:cNvPr id="12" name="Graphic 11" descr="Piggy Bank with solid fill">
            <a:extLst>
              <a:ext uri="{FF2B5EF4-FFF2-40B4-BE49-F238E27FC236}">
                <a16:creationId xmlns:a16="http://schemas.microsoft.com/office/drawing/2014/main" id="{DB709476-C6BE-904D-DC68-F3EAC8796825}"/>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3784659" y="4116586"/>
            <a:ext cx="914400" cy="914400"/>
          </a:xfrm>
          <a:prstGeom prst="rect">
            <a:avLst/>
          </a:prstGeom>
        </p:spPr>
      </p:pic>
      <p:pic>
        <p:nvPicPr>
          <p:cNvPr id="14" name="Graphic 13" descr="Document outline">
            <a:extLst>
              <a:ext uri="{FF2B5EF4-FFF2-40B4-BE49-F238E27FC236}">
                <a16:creationId xmlns:a16="http://schemas.microsoft.com/office/drawing/2014/main" id="{6D58F528-A200-5D0A-40FA-DD41A425F471}"/>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5775350" y="2971800"/>
            <a:ext cx="914400" cy="914400"/>
          </a:xfrm>
          <a:prstGeom prst="rect">
            <a:avLst/>
          </a:prstGeom>
        </p:spPr>
      </p:pic>
    </p:spTree>
    <p:extLst>
      <p:ext uri="{BB962C8B-B14F-4D97-AF65-F5344CB8AC3E}">
        <p14:creationId xmlns:p14="http://schemas.microsoft.com/office/powerpoint/2010/main" val="8395734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A9A75888-22E3-1D43-9112-DA02186070B5}"/>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tretch>
            <a:fillRect/>
          </a:stretch>
        </p:blipFill>
        <p:spPr>
          <a:xfrm>
            <a:off x="6272462" y="1572126"/>
            <a:ext cx="5919537" cy="5285874"/>
          </a:xfrm>
        </p:spPr>
      </p:pic>
      <p:sp>
        <p:nvSpPr>
          <p:cNvPr id="2" name="Title 1">
            <a:extLst>
              <a:ext uri="{FF2B5EF4-FFF2-40B4-BE49-F238E27FC236}">
                <a16:creationId xmlns:a16="http://schemas.microsoft.com/office/drawing/2014/main" id="{3560F281-4FF6-4617-A809-AC9C15ECF18A}"/>
              </a:ext>
            </a:extLst>
          </p:cNvPr>
          <p:cNvSpPr>
            <a:spLocks noGrp="1"/>
          </p:cNvSpPr>
          <p:nvPr>
            <p:ph type="title" idx="4294967295"/>
          </p:nvPr>
        </p:nvSpPr>
        <p:spPr>
          <a:xfrm>
            <a:off x="1989221" y="417430"/>
            <a:ext cx="7876673" cy="609265"/>
          </a:xfrm>
        </p:spPr>
        <p:txBody>
          <a:bodyPr>
            <a:noAutofit/>
          </a:bodyPr>
          <a:lstStyle/>
          <a:p>
            <a:pPr algn="ctr"/>
            <a:r>
              <a:rPr lang="en-US" sz="4000" b="1" dirty="0">
                <a:solidFill>
                  <a:schemeClr val="tx2"/>
                </a:solidFill>
                <a:latin typeface="Poppins" pitchFamily="2" charset="77"/>
              </a:rPr>
              <a:t>COMPOSITION OF  THE COMMITTEE</a:t>
            </a:r>
          </a:p>
        </p:txBody>
      </p:sp>
      <p:sp>
        <p:nvSpPr>
          <p:cNvPr id="12" name="Text Placeholder 3">
            <a:extLst>
              <a:ext uri="{FF2B5EF4-FFF2-40B4-BE49-F238E27FC236}">
                <a16:creationId xmlns:a16="http://schemas.microsoft.com/office/drawing/2014/main" id="{ABF31BEF-66A1-4828-97DC-1B7C5558684E}"/>
              </a:ext>
            </a:extLst>
          </p:cNvPr>
          <p:cNvSpPr txBox="1">
            <a:spLocks/>
          </p:cNvSpPr>
          <p:nvPr/>
        </p:nvSpPr>
        <p:spPr>
          <a:xfrm>
            <a:off x="0" y="1572126"/>
            <a:ext cx="6481481" cy="5285874"/>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t>The Tourism Investment Committee shall comprise no less than three or no more than five persons.</a:t>
            </a:r>
          </a:p>
          <a:p>
            <a:pPr marL="0" indent="0">
              <a:buNone/>
            </a:pPr>
            <a:r>
              <a:rPr lang="en-US" sz="2400" b="1" dirty="0"/>
              <a:t>The members are as follows:</a:t>
            </a:r>
          </a:p>
          <a:p>
            <a:pPr marL="342900" lvl="0" indent="-342900">
              <a:buFont typeface="+mj-lt"/>
              <a:buAutoNum type="arabicPeriod"/>
            </a:pPr>
            <a:r>
              <a:rPr lang="en-US" sz="2400" dirty="0"/>
              <a:t>The Permanent Secretary, and in his or her absence, the Deputy Permanent Secretary of the Ministry, who is the Chairperson;</a:t>
            </a:r>
          </a:p>
          <a:p>
            <a:pPr marL="342900" lvl="0" indent="-342900">
              <a:buFont typeface="+mj-lt"/>
              <a:buAutoNum type="arabicPeriod"/>
            </a:pPr>
            <a:r>
              <a:rPr lang="en-US" sz="2400" dirty="0"/>
              <a:t>a representative of the Department of Finance;</a:t>
            </a:r>
          </a:p>
          <a:p>
            <a:pPr marL="342900" lvl="0" indent="-342900">
              <a:buFont typeface="+mj-lt"/>
              <a:buAutoNum type="arabicPeriod"/>
            </a:pPr>
            <a:r>
              <a:rPr lang="en-US" sz="2400" dirty="0"/>
              <a:t>the Chief Tourism Officer;</a:t>
            </a:r>
          </a:p>
          <a:p>
            <a:pPr marL="342900" lvl="0" indent="-342900">
              <a:buFont typeface="+mj-lt"/>
              <a:buAutoNum type="arabicPeriod"/>
            </a:pPr>
            <a:r>
              <a:rPr lang="en-US" sz="2400" dirty="0"/>
              <a:t>a representative of the Inland Revenue Department;</a:t>
            </a:r>
          </a:p>
          <a:p>
            <a:pPr marL="342900" lvl="0" indent="-342900">
              <a:buFont typeface="+mj-lt"/>
              <a:buAutoNum type="arabicPeriod"/>
            </a:pPr>
            <a:r>
              <a:rPr lang="en-US" sz="2400" dirty="0"/>
              <a:t>a representative of Invest Saint Lucia; and </a:t>
            </a:r>
          </a:p>
          <a:p>
            <a:pPr marL="342900" lvl="0" indent="-342900">
              <a:buFont typeface="+mj-lt"/>
              <a:buAutoNum type="arabicPeriod"/>
            </a:pPr>
            <a:r>
              <a:rPr lang="en-US" sz="2400" dirty="0"/>
              <a:t>an attorney-at-law, who is an ex officio officer with no voting rights.</a:t>
            </a:r>
          </a:p>
          <a:p>
            <a:pPr marL="0" indent="0" algn="just">
              <a:buClr>
                <a:schemeClr val="bg2">
                  <a:lumMod val="50000"/>
                </a:schemeClr>
              </a:buClr>
              <a:buNone/>
            </a:pPr>
            <a:endParaRPr lang="en-US" sz="2800" b="1" dirty="0">
              <a:solidFill>
                <a:schemeClr val="tx1"/>
              </a:solidFill>
            </a:endParaRPr>
          </a:p>
          <a:p>
            <a:pPr marL="38100" indent="0">
              <a:buNone/>
            </a:pPr>
            <a:endParaRPr lang="en-US" sz="2000" b="1" u="sng" dirty="0"/>
          </a:p>
        </p:txBody>
      </p:sp>
    </p:spTree>
    <p:extLst>
      <p:ext uri="{BB962C8B-B14F-4D97-AF65-F5344CB8AC3E}">
        <p14:creationId xmlns:p14="http://schemas.microsoft.com/office/powerpoint/2010/main" val="5325356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FC8FA-3D30-4A9D-8FD5-687E36923E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9027" y="0"/>
            <a:ext cx="11900452" cy="6857999"/>
          </a:xfrm>
          <a:prstGeom prst="rect">
            <a:avLst/>
          </a:prstGeom>
        </p:spPr>
      </p:pic>
    </p:spTree>
    <p:extLst>
      <p:ext uri="{BB962C8B-B14F-4D97-AF65-F5344CB8AC3E}">
        <p14:creationId xmlns:p14="http://schemas.microsoft.com/office/powerpoint/2010/main" val="19014481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DBC6A9C-DAC7-4A9B-84D0-F76322B7AA7B}"/>
              </a:ext>
            </a:extLst>
          </p:cNvPr>
          <p:cNvSpPr txBox="1"/>
          <p:nvPr/>
        </p:nvSpPr>
        <p:spPr>
          <a:xfrm>
            <a:off x="0" y="-38100"/>
            <a:ext cx="10058400" cy="1323439"/>
          </a:xfrm>
          <a:prstGeom prst="rect">
            <a:avLst/>
          </a:prstGeom>
          <a:noFill/>
        </p:spPr>
        <p:txBody>
          <a:bodyPr wrap="square" rtlCol="0">
            <a:spAutoFit/>
          </a:bodyPr>
          <a:lstStyle/>
          <a:p>
            <a:r>
              <a:rPr lang="en-US" sz="4000" b="1" dirty="0">
                <a:latin typeface="Poppins"/>
              </a:rPr>
              <a:t>Incentives and Certification Applications Can Be Uploaded on the Ministry’s Website </a:t>
            </a:r>
          </a:p>
        </p:txBody>
      </p:sp>
      <p:pic>
        <p:nvPicPr>
          <p:cNvPr id="3" name="Picture 2">
            <a:extLst>
              <a:ext uri="{FF2B5EF4-FFF2-40B4-BE49-F238E27FC236}">
                <a16:creationId xmlns:a16="http://schemas.microsoft.com/office/drawing/2014/main" id="{5EBEE700-6A54-4007-B977-38CE60D01A64}"/>
              </a:ext>
            </a:extLst>
          </p:cNvPr>
          <p:cNvPicPr>
            <a:picLocks noChangeAspect="1"/>
          </p:cNvPicPr>
          <p:nvPr/>
        </p:nvPicPr>
        <p:blipFill>
          <a:blip r:embed="rId2"/>
          <a:stretch>
            <a:fillRect/>
          </a:stretch>
        </p:blipFill>
        <p:spPr>
          <a:xfrm>
            <a:off x="416735" y="1676400"/>
            <a:ext cx="10499128" cy="4746724"/>
          </a:xfrm>
          <a:prstGeom prst="rect">
            <a:avLst/>
          </a:prstGeom>
        </p:spPr>
      </p:pic>
    </p:spTree>
    <p:extLst>
      <p:ext uri="{BB962C8B-B14F-4D97-AF65-F5344CB8AC3E}">
        <p14:creationId xmlns:p14="http://schemas.microsoft.com/office/powerpoint/2010/main" val="699044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59527" y="410392"/>
            <a:ext cx="8343900" cy="646331"/>
          </a:xfrm>
          <a:prstGeom prst="rect">
            <a:avLst/>
          </a:prstGeom>
          <a:noFill/>
        </p:spPr>
        <p:txBody>
          <a:bodyPr wrap="square" rtlCol="0">
            <a:spAutoFit/>
          </a:bodyPr>
          <a:lstStyle/>
          <a:p>
            <a:pPr algn="ctr">
              <a:lnSpc>
                <a:spcPct val="90000"/>
              </a:lnSpc>
              <a:spcBef>
                <a:spcPct val="0"/>
              </a:spcBef>
            </a:pPr>
            <a:r>
              <a:rPr lang="en-US" sz="4000" b="1" dirty="0">
                <a:solidFill>
                  <a:schemeClr val="tx2"/>
                </a:solidFill>
                <a:latin typeface="Poppins" pitchFamily="2" charset="77"/>
                <a:ea typeface="+mj-ea"/>
              </a:rPr>
              <a:t>REDRESS UNDER THE ACT</a:t>
            </a:r>
          </a:p>
        </p:txBody>
      </p:sp>
      <p:sp>
        <p:nvSpPr>
          <p:cNvPr id="3" name="TextBox 2"/>
          <p:cNvSpPr txBox="1"/>
          <p:nvPr/>
        </p:nvSpPr>
        <p:spPr>
          <a:xfrm>
            <a:off x="777240" y="1920240"/>
            <a:ext cx="10108474" cy="4524315"/>
          </a:xfrm>
          <a:prstGeom prst="rect">
            <a:avLst/>
          </a:prstGeom>
          <a:noFill/>
        </p:spPr>
        <p:txBody>
          <a:bodyPr wrap="square" rtlCol="0">
            <a:spAutoFit/>
          </a:bodyPr>
          <a:lstStyle/>
          <a:p>
            <a:pPr algn="just"/>
            <a:r>
              <a:rPr lang="en-US" sz="2800" b="1" dirty="0"/>
              <a:t>Request for review of a refused application for incentives</a:t>
            </a:r>
          </a:p>
          <a:p>
            <a:pPr algn="just"/>
            <a:r>
              <a:rPr lang="en-US" sz="2800" dirty="0"/>
              <a:t> 85.—(1) Where an application for incentives is refused under section 84, the person making the application for incentives may make a request in writing to the Minister for a review of the application.</a:t>
            </a:r>
          </a:p>
          <a:p>
            <a:pPr algn="just"/>
            <a:endParaRPr lang="en-US" sz="2800" dirty="0"/>
          </a:p>
          <a:p>
            <a:pPr algn="just"/>
            <a:r>
              <a:rPr lang="en-US" sz="2800" dirty="0"/>
              <a:t> (2) Where a request is made to the Minister under subsection (1), </a:t>
            </a:r>
          </a:p>
          <a:p>
            <a:pPr algn="just"/>
            <a:r>
              <a:rPr lang="en-US" sz="2800" dirty="0"/>
              <a:t>the Minister shall refer the application for incentives to the Review </a:t>
            </a:r>
          </a:p>
          <a:p>
            <a:pPr algn="just"/>
            <a:r>
              <a:rPr lang="en-US" sz="2800" dirty="0"/>
              <a:t>Committee.</a:t>
            </a:r>
          </a:p>
          <a:p>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138612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68880" y="366848"/>
            <a:ext cx="6652260" cy="707886"/>
          </a:xfrm>
          <a:prstGeom prst="rect">
            <a:avLst/>
          </a:prstGeom>
          <a:noFill/>
        </p:spPr>
        <p:txBody>
          <a:bodyPr wrap="square" rtlCol="0">
            <a:spAutoFit/>
          </a:bodyPr>
          <a:lstStyle/>
          <a:p>
            <a:pPr algn="ctr"/>
            <a:r>
              <a:rPr lang="en-US" sz="4000" b="1" dirty="0"/>
              <a:t> </a:t>
            </a:r>
            <a:r>
              <a:rPr lang="en-US" sz="4000" b="1" dirty="0">
                <a:solidFill>
                  <a:schemeClr val="tx2"/>
                </a:solidFill>
                <a:latin typeface="Poppins" pitchFamily="2" charset="77"/>
                <a:ea typeface="+mj-ea"/>
              </a:rPr>
              <a:t>REVIEW COMMITTEE</a:t>
            </a:r>
          </a:p>
        </p:txBody>
      </p:sp>
      <p:sp>
        <p:nvSpPr>
          <p:cNvPr id="3" name="TextBox 2"/>
          <p:cNvSpPr txBox="1"/>
          <p:nvPr/>
        </p:nvSpPr>
        <p:spPr>
          <a:xfrm>
            <a:off x="777240" y="1810464"/>
            <a:ext cx="9144000" cy="4708981"/>
          </a:xfrm>
          <a:prstGeom prst="rect">
            <a:avLst/>
          </a:prstGeom>
          <a:noFill/>
        </p:spPr>
        <p:txBody>
          <a:bodyPr wrap="square" rtlCol="0">
            <a:spAutoFit/>
          </a:bodyPr>
          <a:lstStyle/>
          <a:p>
            <a:r>
              <a:rPr lang="en-US" sz="2200" b="1" dirty="0"/>
              <a:t>Appointment of the Review Committee</a:t>
            </a:r>
            <a:endParaRPr lang="en-US" sz="2200" dirty="0"/>
          </a:p>
          <a:p>
            <a:pPr marL="285750" indent="-285750">
              <a:buFont typeface="Arial" panose="020B0604020202020204" pitchFamily="34" charset="0"/>
              <a:buChar char="•"/>
            </a:pPr>
            <a:r>
              <a:rPr lang="en-US" sz="2200" dirty="0"/>
              <a:t>The Review Committee is appointed by the Minister to review applications for a tourism certificate or incentives refused by the Committee or Cabinet.</a:t>
            </a:r>
          </a:p>
          <a:p>
            <a:pPr marL="285750" indent="-285750">
              <a:buFont typeface="Arial" panose="020B0604020202020204" pitchFamily="34" charset="0"/>
              <a:buChar char="•"/>
            </a:pPr>
            <a:endParaRPr lang="en-US" sz="2200" dirty="0"/>
          </a:p>
          <a:p>
            <a:r>
              <a:rPr lang="en-US" sz="2200" b="1" dirty="0"/>
              <a:t>Composition of the Review Committee</a:t>
            </a:r>
          </a:p>
          <a:p>
            <a:pPr marL="285750" indent="-285750">
              <a:buFont typeface="Arial" panose="020B0604020202020204" pitchFamily="34" charset="0"/>
              <a:buChar char="•"/>
            </a:pPr>
            <a:r>
              <a:rPr lang="en-US" sz="2200" dirty="0"/>
              <a:t>The committee will comprise of five (5) persons appointed by the Minister, including an attorney-at-law, of at least fifteen (15) years’ experience</a:t>
            </a:r>
          </a:p>
          <a:p>
            <a:endParaRPr lang="en-US" sz="2200" b="1" dirty="0"/>
          </a:p>
          <a:p>
            <a:r>
              <a:rPr lang="en-US" sz="2200" b="1" dirty="0"/>
              <a:t>Functions of Review Committee</a:t>
            </a:r>
          </a:p>
          <a:p>
            <a:pPr marL="285750" indent="-285750">
              <a:buFont typeface="Arial" panose="020B0604020202020204" pitchFamily="34" charset="0"/>
              <a:buChar char="•"/>
            </a:pPr>
            <a:r>
              <a:rPr lang="en-US" sz="2200" dirty="0"/>
              <a:t>Review applications for tourism incentives/certification that have been refused</a:t>
            </a:r>
          </a:p>
          <a:p>
            <a:pPr marL="285750" indent="-285750">
              <a:buFont typeface="Arial" panose="020B0604020202020204" pitchFamily="34" charset="0"/>
              <a:buChar char="•"/>
            </a:pPr>
            <a:r>
              <a:rPr lang="en-US" sz="2200" dirty="0"/>
              <a:t>Make a recommendation to the minister after the review is conduct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684246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C1C347-9DF6-FEFB-8028-F38DA0EA25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2926" y="1574800"/>
            <a:ext cx="4069131" cy="5283200"/>
          </a:xfrm>
          <a:prstGeom prst="rect">
            <a:avLst/>
          </a:prstGeom>
        </p:spPr>
      </p:pic>
      <p:sp>
        <p:nvSpPr>
          <p:cNvPr id="3" name="TextBox 2">
            <a:extLst>
              <a:ext uri="{FF2B5EF4-FFF2-40B4-BE49-F238E27FC236}">
                <a16:creationId xmlns:a16="http://schemas.microsoft.com/office/drawing/2014/main" id="{2571374A-5D50-23A4-D827-3747C4E975BF}"/>
              </a:ext>
            </a:extLst>
          </p:cNvPr>
          <p:cNvSpPr txBox="1"/>
          <p:nvPr/>
        </p:nvSpPr>
        <p:spPr>
          <a:xfrm>
            <a:off x="1847528" y="453025"/>
            <a:ext cx="8496944" cy="646331"/>
          </a:xfrm>
          <a:prstGeom prst="rect">
            <a:avLst/>
          </a:prstGeom>
          <a:noFill/>
        </p:spPr>
        <p:txBody>
          <a:bodyPr wrap="square" rtlCol="0" anchor="ctr">
            <a:spAutoFit/>
          </a:bodyPr>
          <a:lstStyle/>
          <a:p>
            <a:pPr algn="ctr"/>
            <a:r>
              <a:rPr lang="en-US" sz="3600" b="1" dirty="0">
                <a:solidFill>
                  <a:schemeClr val="tx2"/>
                </a:solidFill>
                <a:latin typeface="Poppins" pitchFamily="2" charset="77"/>
                <a:ea typeface="+mj-ea"/>
              </a:rPr>
              <a:t>TYPES OF INCENTIVES</a:t>
            </a:r>
          </a:p>
        </p:txBody>
      </p:sp>
      <p:pic>
        <p:nvPicPr>
          <p:cNvPr id="6" name="Picture 5">
            <a:extLst>
              <a:ext uri="{FF2B5EF4-FFF2-40B4-BE49-F238E27FC236}">
                <a16:creationId xmlns:a16="http://schemas.microsoft.com/office/drawing/2014/main" id="{BA377DA9-B956-62D3-F02F-9003221BD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666240"/>
            <a:ext cx="4348480" cy="5100320"/>
          </a:xfrm>
          <a:prstGeom prst="rect">
            <a:avLst/>
          </a:prstGeom>
        </p:spPr>
      </p:pic>
      <p:pic>
        <p:nvPicPr>
          <p:cNvPr id="7" name="Picture 6">
            <a:extLst>
              <a:ext uri="{FF2B5EF4-FFF2-40B4-BE49-F238E27FC236}">
                <a16:creationId xmlns:a16="http://schemas.microsoft.com/office/drawing/2014/main" id="{51C08F02-D070-4B66-A402-40157DAF0B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12057" y="1636372"/>
            <a:ext cx="3779943" cy="5221628"/>
          </a:xfrm>
          <a:prstGeom prst="rect">
            <a:avLst/>
          </a:prstGeom>
        </p:spPr>
      </p:pic>
    </p:spTree>
    <p:extLst>
      <p:ext uri="{BB962C8B-B14F-4D97-AF65-F5344CB8AC3E}">
        <p14:creationId xmlns:p14="http://schemas.microsoft.com/office/powerpoint/2010/main" val="31001016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41879E6-E29E-77AA-4E77-4754898C211A}"/>
              </a:ext>
            </a:extLst>
          </p:cNvPr>
          <p:cNvSpPr txBox="1"/>
          <p:nvPr/>
        </p:nvSpPr>
        <p:spPr>
          <a:xfrm>
            <a:off x="1847528" y="453025"/>
            <a:ext cx="8496944" cy="646331"/>
          </a:xfrm>
          <a:prstGeom prst="rect">
            <a:avLst/>
          </a:prstGeom>
          <a:noFill/>
        </p:spPr>
        <p:txBody>
          <a:bodyPr wrap="square" rtlCol="0" anchor="ctr">
            <a:spAutoFit/>
          </a:bodyPr>
          <a:lstStyle/>
          <a:p>
            <a:pPr algn="ctr"/>
            <a:r>
              <a:rPr lang="en-US" sz="3600" b="1" dirty="0">
                <a:solidFill>
                  <a:schemeClr val="tx2"/>
                </a:solidFill>
                <a:latin typeface="Poppins" pitchFamily="2" charset="77"/>
                <a:ea typeface="+mj-ea"/>
              </a:rPr>
              <a:t>TOURISM INCENTIVES TABLE</a:t>
            </a:r>
          </a:p>
        </p:txBody>
      </p:sp>
      <p:pic>
        <p:nvPicPr>
          <p:cNvPr id="3" name="Picture 2">
            <a:extLst>
              <a:ext uri="{FF2B5EF4-FFF2-40B4-BE49-F238E27FC236}">
                <a16:creationId xmlns:a16="http://schemas.microsoft.com/office/drawing/2014/main" id="{F0A75026-B6D1-1E0E-57B8-92F46D255C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54480"/>
            <a:ext cx="12191999" cy="5299571"/>
          </a:xfrm>
          <a:prstGeom prst="rect">
            <a:avLst/>
          </a:prstGeom>
        </p:spPr>
      </p:pic>
    </p:spTree>
    <p:extLst>
      <p:ext uri="{BB962C8B-B14F-4D97-AF65-F5344CB8AC3E}">
        <p14:creationId xmlns:p14="http://schemas.microsoft.com/office/powerpoint/2010/main" val="1843274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C1C347-9DF6-FEFB-8028-F38DA0EA25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04480" y="1574800"/>
            <a:ext cx="4287520" cy="5283200"/>
          </a:xfrm>
          <a:prstGeom prst="rect">
            <a:avLst/>
          </a:prstGeom>
        </p:spPr>
      </p:pic>
      <p:sp>
        <p:nvSpPr>
          <p:cNvPr id="3" name="TextBox 2">
            <a:extLst>
              <a:ext uri="{FF2B5EF4-FFF2-40B4-BE49-F238E27FC236}">
                <a16:creationId xmlns:a16="http://schemas.microsoft.com/office/drawing/2014/main" id="{2571374A-5D50-23A4-D827-3747C4E975BF}"/>
              </a:ext>
            </a:extLst>
          </p:cNvPr>
          <p:cNvSpPr txBox="1"/>
          <p:nvPr/>
        </p:nvSpPr>
        <p:spPr>
          <a:xfrm>
            <a:off x="1847528" y="453025"/>
            <a:ext cx="8496944" cy="646331"/>
          </a:xfrm>
          <a:prstGeom prst="rect">
            <a:avLst/>
          </a:prstGeom>
          <a:noFill/>
        </p:spPr>
        <p:txBody>
          <a:bodyPr wrap="square" rtlCol="0" anchor="ctr">
            <a:spAutoFit/>
          </a:bodyPr>
          <a:lstStyle/>
          <a:p>
            <a:pPr algn="ctr"/>
            <a:r>
              <a:rPr lang="en-US" sz="3600" b="1" dirty="0">
                <a:solidFill>
                  <a:schemeClr val="tx2"/>
                </a:solidFill>
                <a:latin typeface="Poppins" pitchFamily="2" charset="77"/>
                <a:ea typeface="+mj-ea"/>
              </a:rPr>
              <a:t>ADDITIONAL INCENTIVES</a:t>
            </a:r>
          </a:p>
        </p:txBody>
      </p:sp>
      <p:pic>
        <p:nvPicPr>
          <p:cNvPr id="6" name="Picture 5">
            <a:extLst>
              <a:ext uri="{FF2B5EF4-FFF2-40B4-BE49-F238E27FC236}">
                <a16:creationId xmlns:a16="http://schemas.microsoft.com/office/drawing/2014/main" id="{BA377DA9-B956-62D3-F02F-9003221BD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0400" y="1757680"/>
            <a:ext cx="4797522" cy="5100320"/>
          </a:xfrm>
          <a:prstGeom prst="rect">
            <a:avLst/>
          </a:prstGeom>
        </p:spPr>
      </p:pic>
      <p:pic>
        <p:nvPicPr>
          <p:cNvPr id="8" name="Picture 7">
            <a:extLst>
              <a:ext uri="{FF2B5EF4-FFF2-40B4-BE49-F238E27FC236}">
                <a16:creationId xmlns:a16="http://schemas.microsoft.com/office/drawing/2014/main" id="{E8B6099F-DB5E-D39D-3A1E-3ABB043D24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569720"/>
            <a:ext cx="3200400" cy="5288280"/>
          </a:xfrm>
          <a:prstGeom prst="rect">
            <a:avLst/>
          </a:prstGeom>
        </p:spPr>
      </p:pic>
    </p:spTree>
    <p:extLst>
      <p:ext uri="{BB962C8B-B14F-4D97-AF65-F5344CB8AC3E}">
        <p14:creationId xmlns:p14="http://schemas.microsoft.com/office/powerpoint/2010/main" val="2321901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51CD3-6F5A-40DF-8BEF-E5B08E5F0203}"/>
              </a:ext>
            </a:extLst>
          </p:cNvPr>
          <p:cNvSpPr>
            <a:spLocks noGrp="1"/>
          </p:cNvSpPr>
          <p:nvPr>
            <p:ph type="title"/>
          </p:nvPr>
        </p:nvSpPr>
        <p:spPr/>
        <p:txBody>
          <a:bodyPr/>
          <a:lstStyle/>
          <a:p>
            <a:r>
              <a:rPr lang="en-US" b="1" dirty="0">
                <a:latin typeface="Open sans"/>
              </a:rPr>
              <a:t>TOURISM DEVELOPMENT ACT</a:t>
            </a:r>
          </a:p>
        </p:txBody>
      </p:sp>
      <p:sp>
        <p:nvSpPr>
          <p:cNvPr id="3" name="Text Placeholder 2">
            <a:extLst>
              <a:ext uri="{FF2B5EF4-FFF2-40B4-BE49-F238E27FC236}">
                <a16:creationId xmlns:a16="http://schemas.microsoft.com/office/drawing/2014/main" id="{05FB8FA5-71A3-43B4-9F8B-0BE70A7F6E28}"/>
              </a:ext>
            </a:extLst>
          </p:cNvPr>
          <p:cNvSpPr>
            <a:spLocks noGrp="1"/>
          </p:cNvSpPr>
          <p:nvPr>
            <p:ph type="body" sz="quarter" idx="28"/>
          </p:nvPr>
        </p:nvSpPr>
        <p:spPr/>
        <p:txBody>
          <a:bodyPr/>
          <a:lstStyle/>
          <a:p>
            <a:r>
              <a:rPr lang="en-US" b="1" dirty="0" err="1">
                <a:solidFill>
                  <a:srgbClr val="00B0F0"/>
                </a:solidFill>
              </a:rPr>
              <a:t>Adiva</a:t>
            </a:r>
            <a:r>
              <a:rPr lang="en-US" b="1" dirty="0">
                <a:solidFill>
                  <a:srgbClr val="00B0F0"/>
                </a:solidFill>
              </a:rPr>
              <a:t> John</a:t>
            </a:r>
          </a:p>
        </p:txBody>
      </p:sp>
      <p:pic>
        <p:nvPicPr>
          <p:cNvPr id="6" name="Picture Placeholder 5">
            <a:extLst>
              <a:ext uri="{FF2B5EF4-FFF2-40B4-BE49-F238E27FC236}">
                <a16:creationId xmlns:a16="http://schemas.microsoft.com/office/drawing/2014/main" id="{99B35883-1BDE-4557-A740-5412AB135FE1}"/>
              </a:ext>
            </a:extLst>
          </p:cNvPr>
          <p:cNvPicPr>
            <a:picLocks noGrp="1" noChangeAspect="1"/>
          </p:cNvPicPr>
          <p:nvPr>
            <p:ph type="pic" sz="quarter" idx="47"/>
          </p:nvPr>
        </p:nvPicPr>
        <p:blipFill>
          <a:blip r:embed="rId2">
            <a:extLst>
              <a:ext uri="{28A0092B-C50C-407E-A947-70E740481C1C}">
                <a14:useLocalDpi xmlns:a14="http://schemas.microsoft.com/office/drawing/2010/main" val="0"/>
              </a:ext>
            </a:extLst>
          </a:blip>
          <a:srcRect t="2639" b="2639"/>
          <a:stretch>
            <a:fillRect/>
          </a:stretch>
        </p:blipFill>
        <p:spPr/>
      </p:pic>
    </p:spTree>
    <p:extLst>
      <p:ext uri="{BB962C8B-B14F-4D97-AF65-F5344CB8AC3E}">
        <p14:creationId xmlns:p14="http://schemas.microsoft.com/office/powerpoint/2010/main" val="7116880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4C7C4-1B9F-425A-A6F2-5FEC8FBC33AB}"/>
              </a:ext>
            </a:extLst>
          </p:cNvPr>
          <p:cNvSpPr>
            <a:spLocks noGrp="1"/>
          </p:cNvSpPr>
          <p:nvPr>
            <p:ph type="title"/>
          </p:nvPr>
        </p:nvSpPr>
        <p:spPr>
          <a:xfrm>
            <a:off x="127591" y="1095154"/>
            <a:ext cx="6614967" cy="2949214"/>
          </a:xfrm>
        </p:spPr>
        <p:txBody>
          <a:bodyPr/>
          <a:lstStyle/>
          <a:p>
            <a:pPr algn="ctr"/>
            <a:r>
              <a:rPr lang="en-US" b="1" dirty="0">
                <a:latin typeface="Open Sans" panose="020B0606030504020204"/>
              </a:rPr>
              <a:t>GOVERNMENT’S INVESTMENT IN TOURISM DEVELOPMENT</a:t>
            </a:r>
          </a:p>
        </p:txBody>
      </p:sp>
      <p:sp>
        <p:nvSpPr>
          <p:cNvPr id="3" name="Text Placeholder 2">
            <a:extLst>
              <a:ext uri="{FF2B5EF4-FFF2-40B4-BE49-F238E27FC236}">
                <a16:creationId xmlns:a16="http://schemas.microsoft.com/office/drawing/2014/main" id="{B4093111-D50B-4BC5-A992-5DFD44F8DE9E}"/>
              </a:ext>
            </a:extLst>
          </p:cNvPr>
          <p:cNvSpPr>
            <a:spLocks noGrp="1"/>
          </p:cNvSpPr>
          <p:nvPr>
            <p:ph type="body" sz="quarter" idx="28"/>
          </p:nvPr>
        </p:nvSpPr>
        <p:spPr/>
        <p:txBody>
          <a:bodyPr/>
          <a:lstStyle/>
          <a:p>
            <a:r>
              <a:rPr lang="en-US" b="1" dirty="0">
                <a:solidFill>
                  <a:srgbClr val="00B0F0"/>
                </a:solidFill>
              </a:rPr>
              <a:t>Darnica </a:t>
            </a:r>
            <a:r>
              <a:rPr lang="en-US" b="1" dirty="0" err="1">
                <a:solidFill>
                  <a:srgbClr val="00B0F0"/>
                </a:solidFill>
              </a:rPr>
              <a:t>Jn.Charles</a:t>
            </a:r>
            <a:endParaRPr lang="en-US" b="1" dirty="0">
              <a:solidFill>
                <a:srgbClr val="00B0F0"/>
              </a:solidFill>
            </a:endParaRPr>
          </a:p>
        </p:txBody>
      </p:sp>
      <p:pic>
        <p:nvPicPr>
          <p:cNvPr id="10" name="Picture Placeholder 9">
            <a:extLst>
              <a:ext uri="{FF2B5EF4-FFF2-40B4-BE49-F238E27FC236}">
                <a16:creationId xmlns:a16="http://schemas.microsoft.com/office/drawing/2014/main" id="{06686FEB-EC25-4B60-A940-150D779D853A}"/>
              </a:ext>
            </a:extLst>
          </p:cNvPr>
          <p:cNvPicPr>
            <a:picLocks noGrp="1" noChangeAspect="1"/>
          </p:cNvPicPr>
          <p:nvPr>
            <p:ph type="pic" sz="quarter" idx="47"/>
          </p:nvPr>
        </p:nvPicPr>
        <p:blipFill>
          <a:blip r:embed="rId2">
            <a:extLst>
              <a:ext uri="{28A0092B-C50C-407E-A947-70E740481C1C}">
                <a14:useLocalDpi xmlns:a14="http://schemas.microsoft.com/office/drawing/2010/main" val="0"/>
              </a:ext>
            </a:extLst>
          </a:blip>
          <a:srcRect l="26198" r="26198"/>
          <a:stretch>
            <a:fillRect/>
          </a:stretch>
        </p:blipFill>
        <p:spPr/>
      </p:pic>
    </p:spTree>
    <p:extLst>
      <p:ext uri="{BB962C8B-B14F-4D97-AF65-F5344CB8AC3E}">
        <p14:creationId xmlns:p14="http://schemas.microsoft.com/office/powerpoint/2010/main" val="3281631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8832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Tourism Developments</a:t>
            </a:r>
          </a:p>
        </p:txBody>
      </p:sp>
      <p:cxnSp>
        <p:nvCxnSpPr>
          <p:cNvPr id="9" name="Straight Connector 8"/>
          <p:cNvCxnSpPr/>
          <p:nvPr/>
        </p:nvCxnSpPr>
        <p:spPr>
          <a:xfrm flipV="1">
            <a:off x="1056912" y="1100856"/>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grpSp>
        <p:nvGrpSpPr>
          <p:cNvPr id="8" name="Group 7">
            <a:extLst>
              <a:ext uri="{FF2B5EF4-FFF2-40B4-BE49-F238E27FC236}">
                <a16:creationId xmlns:a16="http://schemas.microsoft.com/office/drawing/2014/main" id="{9C0152A9-2653-4E8B-A7A0-0A5E2388B1B1}"/>
              </a:ext>
            </a:extLst>
          </p:cNvPr>
          <p:cNvGrpSpPr/>
          <p:nvPr/>
        </p:nvGrpSpPr>
        <p:grpSpPr>
          <a:xfrm>
            <a:off x="798334" y="1415270"/>
            <a:ext cx="2454641" cy="4678004"/>
            <a:chOff x="1013525" y="569085"/>
            <a:chExt cx="3677496" cy="6392558"/>
          </a:xfrm>
        </p:grpSpPr>
        <p:sp>
          <p:nvSpPr>
            <p:cNvPr id="10" name="Freeform 30">
              <a:extLst>
                <a:ext uri="{FF2B5EF4-FFF2-40B4-BE49-F238E27FC236}">
                  <a16:creationId xmlns:a16="http://schemas.microsoft.com/office/drawing/2014/main" id="{3A2BBE39-36CF-46DD-A520-DED9BC542C2F}"/>
                </a:ext>
              </a:extLst>
            </p:cNvPr>
            <p:cNvSpPr>
              <a:spLocks/>
            </p:cNvSpPr>
            <p:nvPr/>
          </p:nvSpPr>
          <p:spPr bwMode="auto">
            <a:xfrm>
              <a:off x="2708591" y="569085"/>
              <a:ext cx="1221374" cy="1542916"/>
            </a:xfrm>
            <a:custGeom>
              <a:avLst/>
              <a:gdLst>
                <a:gd name="T0" fmla="*/ 418 w 2681"/>
                <a:gd name="T1" fmla="*/ 3117 h 3863"/>
                <a:gd name="T2" fmla="*/ 591 w 2681"/>
                <a:gd name="T3" fmla="*/ 3448 h 3863"/>
                <a:gd name="T4" fmla="*/ 799 w 2681"/>
                <a:gd name="T5" fmla="*/ 3756 h 3863"/>
                <a:gd name="T6" fmla="*/ 1137 w 2681"/>
                <a:gd name="T7" fmla="*/ 3863 h 3863"/>
                <a:gd name="T8" fmla="*/ 1366 w 2681"/>
                <a:gd name="T9" fmla="*/ 3808 h 3863"/>
                <a:gd name="T10" fmla="*/ 1532 w 2681"/>
                <a:gd name="T11" fmla="*/ 3581 h 3863"/>
                <a:gd name="T12" fmla="*/ 1601 w 2681"/>
                <a:gd name="T13" fmla="*/ 3300 h 3863"/>
                <a:gd name="T14" fmla="*/ 1635 w 2681"/>
                <a:gd name="T15" fmla="*/ 2899 h 3863"/>
                <a:gd name="T16" fmla="*/ 1581 w 2681"/>
                <a:gd name="T17" fmla="*/ 2602 h 3863"/>
                <a:gd name="T18" fmla="*/ 1587 w 2681"/>
                <a:gd name="T19" fmla="*/ 2392 h 3863"/>
                <a:gd name="T20" fmla="*/ 1744 w 2681"/>
                <a:gd name="T21" fmla="*/ 2258 h 3863"/>
                <a:gd name="T22" fmla="*/ 2076 w 2681"/>
                <a:gd name="T23" fmla="*/ 2007 h 3863"/>
                <a:gd name="T24" fmla="*/ 2245 w 2681"/>
                <a:gd name="T25" fmla="*/ 2009 h 3863"/>
                <a:gd name="T26" fmla="*/ 2379 w 2681"/>
                <a:gd name="T27" fmla="*/ 2011 h 3863"/>
                <a:gd name="T28" fmla="*/ 2510 w 2681"/>
                <a:gd name="T29" fmla="*/ 1810 h 3863"/>
                <a:gd name="T30" fmla="*/ 2595 w 2681"/>
                <a:gd name="T31" fmla="*/ 1723 h 3863"/>
                <a:gd name="T32" fmla="*/ 2576 w 2681"/>
                <a:gd name="T33" fmla="*/ 1480 h 3863"/>
                <a:gd name="T34" fmla="*/ 2623 w 2681"/>
                <a:gd name="T35" fmla="*/ 1401 h 3863"/>
                <a:gd name="T36" fmla="*/ 2518 w 2681"/>
                <a:gd name="T37" fmla="*/ 1319 h 3863"/>
                <a:gd name="T38" fmla="*/ 2515 w 2681"/>
                <a:gd name="T39" fmla="*/ 1234 h 3863"/>
                <a:gd name="T40" fmla="*/ 2354 w 2681"/>
                <a:gd name="T41" fmla="*/ 1354 h 3863"/>
                <a:gd name="T42" fmla="*/ 2184 w 2681"/>
                <a:gd name="T43" fmla="*/ 1103 h 3863"/>
                <a:gd name="T44" fmla="*/ 1964 w 2681"/>
                <a:gd name="T45" fmla="*/ 989 h 3863"/>
                <a:gd name="T46" fmla="*/ 1949 w 2681"/>
                <a:gd name="T47" fmla="*/ 820 h 3863"/>
                <a:gd name="T48" fmla="*/ 2261 w 2681"/>
                <a:gd name="T49" fmla="*/ 766 h 3863"/>
                <a:gd name="T50" fmla="*/ 2333 w 2681"/>
                <a:gd name="T51" fmla="*/ 720 h 3863"/>
                <a:gd name="T52" fmla="*/ 2336 w 2681"/>
                <a:gd name="T53" fmla="*/ 639 h 3863"/>
                <a:gd name="T54" fmla="*/ 2326 w 2681"/>
                <a:gd name="T55" fmla="*/ 391 h 3863"/>
                <a:gd name="T56" fmla="*/ 2248 w 2681"/>
                <a:gd name="T57" fmla="*/ 277 h 3863"/>
                <a:gd name="T58" fmla="*/ 2124 w 2681"/>
                <a:gd name="T59" fmla="*/ 263 h 3863"/>
                <a:gd name="T60" fmla="*/ 1840 w 2681"/>
                <a:gd name="T61" fmla="*/ 246 h 3863"/>
                <a:gd name="T62" fmla="*/ 1733 w 2681"/>
                <a:gd name="T63" fmla="*/ 106 h 3863"/>
                <a:gd name="T64" fmla="*/ 1471 w 2681"/>
                <a:gd name="T65" fmla="*/ 90 h 3863"/>
                <a:gd name="T66" fmla="*/ 1279 w 2681"/>
                <a:gd name="T67" fmla="*/ 5 h 3863"/>
                <a:gd name="T68" fmla="*/ 1183 w 2681"/>
                <a:gd name="T69" fmla="*/ 95 h 3863"/>
                <a:gd name="T70" fmla="*/ 1147 w 2681"/>
                <a:gd name="T71" fmla="*/ 190 h 3863"/>
                <a:gd name="T72" fmla="*/ 1053 w 2681"/>
                <a:gd name="T73" fmla="*/ 389 h 3863"/>
                <a:gd name="T74" fmla="*/ 1027 w 2681"/>
                <a:gd name="T75" fmla="*/ 541 h 3863"/>
                <a:gd name="T76" fmla="*/ 885 w 2681"/>
                <a:gd name="T77" fmla="*/ 576 h 3863"/>
                <a:gd name="T78" fmla="*/ 814 w 2681"/>
                <a:gd name="T79" fmla="*/ 727 h 3863"/>
                <a:gd name="T80" fmla="*/ 619 w 2681"/>
                <a:gd name="T81" fmla="*/ 768 h 3863"/>
                <a:gd name="T82" fmla="*/ 803 w 2681"/>
                <a:gd name="T83" fmla="*/ 1001 h 3863"/>
                <a:gd name="T84" fmla="*/ 938 w 2681"/>
                <a:gd name="T85" fmla="*/ 1288 h 3863"/>
                <a:gd name="T86" fmla="*/ 1118 w 2681"/>
                <a:gd name="T87" fmla="*/ 1409 h 3863"/>
                <a:gd name="T88" fmla="*/ 1143 w 2681"/>
                <a:gd name="T89" fmla="*/ 1551 h 3863"/>
                <a:gd name="T90" fmla="*/ 1017 w 2681"/>
                <a:gd name="T91" fmla="*/ 1546 h 3863"/>
                <a:gd name="T92" fmla="*/ 926 w 2681"/>
                <a:gd name="T93" fmla="*/ 1582 h 3863"/>
                <a:gd name="T94" fmla="*/ 941 w 2681"/>
                <a:gd name="T95" fmla="*/ 1537 h 3863"/>
                <a:gd name="T96" fmla="*/ 994 w 2681"/>
                <a:gd name="T97" fmla="*/ 1352 h 3863"/>
                <a:gd name="T98" fmla="*/ 852 w 2681"/>
                <a:gd name="T99" fmla="*/ 1436 h 3863"/>
                <a:gd name="T100" fmla="*/ 679 w 2681"/>
                <a:gd name="T101" fmla="*/ 1586 h 3863"/>
                <a:gd name="T102" fmla="*/ 423 w 2681"/>
                <a:gd name="T103" fmla="*/ 1666 h 3863"/>
                <a:gd name="T104" fmla="*/ 341 w 2681"/>
                <a:gd name="T105" fmla="*/ 1727 h 3863"/>
                <a:gd name="T106" fmla="*/ 187 w 2681"/>
                <a:gd name="T107" fmla="*/ 1782 h 3863"/>
                <a:gd name="T108" fmla="*/ 52 w 2681"/>
                <a:gd name="T109" fmla="*/ 1765 h 3863"/>
                <a:gd name="T110" fmla="*/ 130 w 2681"/>
                <a:gd name="T111" fmla="*/ 1940 h 3863"/>
                <a:gd name="T112" fmla="*/ 32 w 2681"/>
                <a:gd name="T113" fmla="*/ 2105 h 3863"/>
                <a:gd name="T114" fmla="*/ 0 w 2681"/>
                <a:gd name="T115" fmla="*/ 2099 h 3863"/>
                <a:gd name="T116" fmla="*/ 109 w 2681"/>
                <a:gd name="T117" fmla="*/ 2137 h 3863"/>
                <a:gd name="T118" fmla="*/ 76 w 2681"/>
                <a:gd name="T119" fmla="*/ 2351 h 3863"/>
                <a:gd name="T120" fmla="*/ 166 w 2681"/>
                <a:gd name="T121" fmla="*/ 2650 h 3863"/>
                <a:gd name="T122" fmla="*/ 195 w 2681"/>
                <a:gd name="T123" fmla="*/ 2864 h 3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1" h="3863">
                  <a:moveTo>
                    <a:pt x="195" y="2864"/>
                  </a:moveTo>
                  <a:lnTo>
                    <a:pt x="252" y="2947"/>
                  </a:lnTo>
                  <a:lnTo>
                    <a:pt x="257" y="2960"/>
                  </a:lnTo>
                  <a:lnTo>
                    <a:pt x="264" y="2971"/>
                  </a:lnTo>
                  <a:lnTo>
                    <a:pt x="273" y="2980"/>
                  </a:lnTo>
                  <a:lnTo>
                    <a:pt x="281" y="2988"/>
                  </a:lnTo>
                  <a:lnTo>
                    <a:pt x="292" y="2996"/>
                  </a:lnTo>
                  <a:lnTo>
                    <a:pt x="302" y="3002"/>
                  </a:lnTo>
                  <a:lnTo>
                    <a:pt x="314" y="3008"/>
                  </a:lnTo>
                  <a:lnTo>
                    <a:pt x="324" y="3013"/>
                  </a:lnTo>
                  <a:lnTo>
                    <a:pt x="345" y="3024"/>
                  </a:lnTo>
                  <a:lnTo>
                    <a:pt x="364" y="3035"/>
                  </a:lnTo>
                  <a:lnTo>
                    <a:pt x="372" y="3041"/>
                  </a:lnTo>
                  <a:lnTo>
                    <a:pt x="378" y="3048"/>
                  </a:lnTo>
                  <a:lnTo>
                    <a:pt x="384" y="3056"/>
                  </a:lnTo>
                  <a:lnTo>
                    <a:pt x="387" y="3065"/>
                  </a:lnTo>
                  <a:lnTo>
                    <a:pt x="391" y="3078"/>
                  </a:lnTo>
                  <a:lnTo>
                    <a:pt x="397" y="3090"/>
                  </a:lnTo>
                  <a:lnTo>
                    <a:pt x="403" y="3101"/>
                  </a:lnTo>
                  <a:lnTo>
                    <a:pt x="411" y="3109"/>
                  </a:lnTo>
                  <a:lnTo>
                    <a:pt x="418" y="3117"/>
                  </a:lnTo>
                  <a:lnTo>
                    <a:pt x="427" y="3123"/>
                  </a:lnTo>
                  <a:lnTo>
                    <a:pt x="436" y="3130"/>
                  </a:lnTo>
                  <a:lnTo>
                    <a:pt x="445" y="3135"/>
                  </a:lnTo>
                  <a:lnTo>
                    <a:pt x="465" y="3146"/>
                  </a:lnTo>
                  <a:lnTo>
                    <a:pt x="484" y="3157"/>
                  </a:lnTo>
                  <a:lnTo>
                    <a:pt x="493" y="3163"/>
                  </a:lnTo>
                  <a:lnTo>
                    <a:pt x="503" y="3170"/>
                  </a:lnTo>
                  <a:lnTo>
                    <a:pt x="510" y="3178"/>
                  </a:lnTo>
                  <a:lnTo>
                    <a:pt x="518" y="3187"/>
                  </a:lnTo>
                  <a:lnTo>
                    <a:pt x="523" y="3195"/>
                  </a:lnTo>
                  <a:lnTo>
                    <a:pt x="529" y="3203"/>
                  </a:lnTo>
                  <a:lnTo>
                    <a:pt x="533" y="3212"/>
                  </a:lnTo>
                  <a:lnTo>
                    <a:pt x="537" y="3220"/>
                  </a:lnTo>
                  <a:lnTo>
                    <a:pt x="545" y="3241"/>
                  </a:lnTo>
                  <a:lnTo>
                    <a:pt x="551" y="3262"/>
                  </a:lnTo>
                  <a:lnTo>
                    <a:pt x="557" y="3283"/>
                  </a:lnTo>
                  <a:lnTo>
                    <a:pt x="562" y="3306"/>
                  </a:lnTo>
                  <a:lnTo>
                    <a:pt x="566" y="3330"/>
                  </a:lnTo>
                  <a:lnTo>
                    <a:pt x="571" y="3353"/>
                  </a:lnTo>
                  <a:lnTo>
                    <a:pt x="579" y="3401"/>
                  </a:lnTo>
                  <a:lnTo>
                    <a:pt x="591" y="3448"/>
                  </a:lnTo>
                  <a:lnTo>
                    <a:pt x="598" y="3471"/>
                  </a:lnTo>
                  <a:lnTo>
                    <a:pt x="605" y="3493"/>
                  </a:lnTo>
                  <a:lnTo>
                    <a:pt x="614" y="3514"/>
                  </a:lnTo>
                  <a:lnTo>
                    <a:pt x="625" y="3534"/>
                  </a:lnTo>
                  <a:lnTo>
                    <a:pt x="633" y="3548"/>
                  </a:lnTo>
                  <a:lnTo>
                    <a:pt x="640" y="3563"/>
                  </a:lnTo>
                  <a:lnTo>
                    <a:pt x="646" y="3577"/>
                  </a:lnTo>
                  <a:lnTo>
                    <a:pt x="653" y="3592"/>
                  </a:lnTo>
                  <a:lnTo>
                    <a:pt x="664" y="3622"/>
                  </a:lnTo>
                  <a:lnTo>
                    <a:pt x="674" y="3651"/>
                  </a:lnTo>
                  <a:lnTo>
                    <a:pt x="681" y="3665"/>
                  </a:lnTo>
                  <a:lnTo>
                    <a:pt x="687" y="3679"/>
                  </a:lnTo>
                  <a:lnTo>
                    <a:pt x="696" y="3692"/>
                  </a:lnTo>
                  <a:lnTo>
                    <a:pt x="705" y="3704"/>
                  </a:lnTo>
                  <a:lnTo>
                    <a:pt x="715" y="3715"/>
                  </a:lnTo>
                  <a:lnTo>
                    <a:pt x="727" y="3726"/>
                  </a:lnTo>
                  <a:lnTo>
                    <a:pt x="741" y="3735"/>
                  </a:lnTo>
                  <a:lnTo>
                    <a:pt x="757" y="3743"/>
                  </a:lnTo>
                  <a:lnTo>
                    <a:pt x="772" y="3749"/>
                  </a:lnTo>
                  <a:lnTo>
                    <a:pt x="785" y="3753"/>
                  </a:lnTo>
                  <a:lnTo>
                    <a:pt x="799" y="3756"/>
                  </a:lnTo>
                  <a:lnTo>
                    <a:pt x="813" y="3758"/>
                  </a:lnTo>
                  <a:lnTo>
                    <a:pt x="839" y="3763"/>
                  </a:lnTo>
                  <a:lnTo>
                    <a:pt x="866" y="3766"/>
                  </a:lnTo>
                  <a:lnTo>
                    <a:pt x="879" y="3767"/>
                  </a:lnTo>
                  <a:lnTo>
                    <a:pt x="892" y="3769"/>
                  </a:lnTo>
                  <a:lnTo>
                    <a:pt x="905" y="3772"/>
                  </a:lnTo>
                  <a:lnTo>
                    <a:pt x="917" y="3776"/>
                  </a:lnTo>
                  <a:lnTo>
                    <a:pt x="930" y="3781"/>
                  </a:lnTo>
                  <a:lnTo>
                    <a:pt x="943" y="3786"/>
                  </a:lnTo>
                  <a:lnTo>
                    <a:pt x="957" y="3794"/>
                  </a:lnTo>
                  <a:lnTo>
                    <a:pt x="970" y="3803"/>
                  </a:lnTo>
                  <a:lnTo>
                    <a:pt x="990" y="3816"/>
                  </a:lnTo>
                  <a:lnTo>
                    <a:pt x="1007" y="3826"/>
                  </a:lnTo>
                  <a:lnTo>
                    <a:pt x="1024" y="3835"/>
                  </a:lnTo>
                  <a:lnTo>
                    <a:pt x="1042" y="3843"/>
                  </a:lnTo>
                  <a:lnTo>
                    <a:pt x="1059" y="3849"/>
                  </a:lnTo>
                  <a:lnTo>
                    <a:pt x="1077" y="3853"/>
                  </a:lnTo>
                  <a:lnTo>
                    <a:pt x="1098" y="3858"/>
                  </a:lnTo>
                  <a:lnTo>
                    <a:pt x="1121" y="3862"/>
                  </a:lnTo>
                  <a:lnTo>
                    <a:pt x="1129" y="3863"/>
                  </a:lnTo>
                  <a:lnTo>
                    <a:pt x="1137" y="3863"/>
                  </a:lnTo>
                  <a:lnTo>
                    <a:pt x="1144" y="3862"/>
                  </a:lnTo>
                  <a:lnTo>
                    <a:pt x="1153" y="3861"/>
                  </a:lnTo>
                  <a:lnTo>
                    <a:pt x="1168" y="3858"/>
                  </a:lnTo>
                  <a:lnTo>
                    <a:pt x="1183" y="3852"/>
                  </a:lnTo>
                  <a:lnTo>
                    <a:pt x="1197" y="3846"/>
                  </a:lnTo>
                  <a:lnTo>
                    <a:pt x="1212" y="3837"/>
                  </a:lnTo>
                  <a:lnTo>
                    <a:pt x="1226" y="3830"/>
                  </a:lnTo>
                  <a:lnTo>
                    <a:pt x="1241" y="3821"/>
                  </a:lnTo>
                  <a:lnTo>
                    <a:pt x="1255" y="3813"/>
                  </a:lnTo>
                  <a:lnTo>
                    <a:pt x="1268" y="3806"/>
                  </a:lnTo>
                  <a:lnTo>
                    <a:pt x="1282" y="3799"/>
                  </a:lnTo>
                  <a:lnTo>
                    <a:pt x="1295" y="3795"/>
                  </a:lnTo>
                  <a:lnTo>
                    <a:pt x="1302" y="3793"/>
                  </a:lnTo>
                  <a:lnTo>
                    <a:pt x="1309" y="3792"/>
                  </a:lnTo>
                  <a:lnTo>
                    <a:pt x="1315" y="3792"/>
                  </a:lnTo>
                  <a:lnTo>
                    <a:pt x="1322" y="3792"/>
                  </a:lnTo>
                  <a:lnTo>
                    <a:pt x="1328" y="3792"/>
                  </a:lnTo>
                  <a:lnTo>
                    <a:pt x="1334" y="3794"/>
                  </a:lnTo>
                  <a:lnTo>
                    <a:pt x="1341" y="3796"/>
                  </a:lnTo>
                  <a:lnTo>
                    <a:pt x="1347" y="3799"/>
                  </a:lnTo>
                  <a:lnTo>
                    <a:pt x="1366" y="3808"/>
                  </a:lnTo>
                  <a:lnTo>
                    <a:pt x="1387" y="3816"/>
                  </a:lnTo>
                  <a:lnTo>
                    <a:pt x="1398" y="3819"/>
                  </a:lnTo>
                  <a:lnTo>
                    <a:pt x="1410" y="3821"/>
                  </a:lnTo>
                  <a:lnTo>
                    <a:pt x="1423" y="3823"/>
                  </a:lnTo>
                  <a:lnTo>
                    <a:pt x="1435" y="3824"/>
                  </a:lnTo>
                  <a:lnTo>
                    <a:pt x="1447" y="3824"/>
                  </a:lnTo>
                  <a:lnTo>
                    <a:pt x="1459" y="3823"/>
                  </a:lnTo>
                  <a:lnTo>
                    <a:pt x="1470" y="3822"/>
                  </a:lnTo>
                  <a:lnTo>
                    <a:pt x="1480" y="3818"/>
                  </a:lnTo>
                  <a:lnTo>
                    <a:pt x="1490" y="3813"/>
                  </a:lnTo>
                  <a:lnTo>
                    <a:pt x="1500" y="3807"/>
                  </a:lnTo>
                  <a:lnTo>
                    <a:pt x="1507" y="3798"/>
                  </a:lnTo>
                  <a:lnTo>
                    <a:pt x="1514" y="3789"/>
                  </a:lnTo>
                  <a:lnTo>
                    <a:pt x="1514" y="3789"/>
                  </a:lnTo>
                  <a:lnTo>
                    <a:pt x="1527" y="3657"/>
                  </a:lnTo>
                  <a:lnTo>
                    <a:pt x="1529" y="3644"/>
                  </a:lnTo>
                  <a:lnTo>
                    <a:pt x="1530" y="3632"/>
                  </a:lnTo>
                  <a:lnTo>
                    <a:pt x="1530" y="3619"/>
                  </a:lnTo>
                  <a:lnTo>
                    <a:pt x="1530" y="3607"/>
                  </a:lnTo>
                  <a:lnTo>
                    <a:pt x="1531" y="3594"/>
                  </a:lnTo>
                  <a:lnTo>
                    <a:pt x="1532" y="3581"/>
                  </a:lnTo>
                  <a:lnTo>
                    <a:pt x="1535" y="3568"/>
                  </a:lnTo>
                  <a:lnTo>
                    <a:pt x="1540" y="3555"/>
                  </a:lnTo>
                  <a:lnTo>
                    <a:pt x="1544" y="3544"/>
                  </a:lnTo>
                  <a:lnTo>
                    <a:pt x="1551" y="3534"/>
                  </a:lnTo>
                  <a:lnTo>
                    <a:pt x="1557" y="3524"/>
                  </a:lnTo>
                  <a:lnTo>
                    <a:pt x="1564" y="3513"/>
                  </a:lnTo>
                  <a:lnTo>
                    <a:pt x="1579" y="3495"/>
                  </a:lnTo>
                  <a:lnTo>
                    <a:pt x="1594" y="3476"/>
                  </a:lnTo>
                  <a:lnTo>
                    <a:pt x="1605" y="3462"/>
                  </a:lnTo>
                  <a:lnTo>
                    <a:pt x="1613" y="3449"/>
                  </a:lnTo>
                  <a:lnTo>
                    <a:pt x="1619" y="3436"/>
                  </a:lnTo>
                  <a:lnTo>
                    <a:pt x="1622" y="3426"/>
                  </a:lnTo>
                  <a:lnTo>
                    <a:pt x="1623" y="3414"/>
                  </a:lnTo>
                  <a:lnTo>
                    <a:pt x="1623" y="3403"/>
                  </a:lnTo>
                  <a:lnTo>
                    <a:pt x="1622" y="3392"/>
                  </a:lnTo>
                  <a:lnTo>
                    <a:pt x="1620" y="3381"/>
                  </a:lnTo>
                  <a:lnTo>
                    <a:pt x="1613" y="3360"/>
                  </a:lnTo>
                  <a:lnTo>
                    <a:pt x="1607" y="3338"/>
                  </a:lnTo>
                  <a:lnTo>
                    <a:pt x="1605" y="3326"/>
                  </a:lnTo>
                  <a:lnTo>
                    <a:pt x="1602" y="3313"/>
                  </a:lnTo>
                  <a:lnTo>
                    <a:pt x="1601" y="3300"/>
                  </a:lnTo>
                  <a:lnTo>
                    <a:pt x="1602" y="3287"/>
                  </a:lnTo>
                  <a:lnTo>
                    <a:pt x="1606" y="3270"/>
                  </a:lnTo>
                  <a:lnTo>
                    <a:pt x="1610" y="3256"/>
                  </a:lnTo>
                  <a:lnTo>
                    <a:pt x="1615" y="3244"/>
                  </a:lnTo>
                  <a:lnTo>
                    <a:pt x="1622" y="3233"/>
                  </a:lnTo>
                  <a:lnTo>
                    <a:pt x="1639" y="3215"/>
                  </a:lnTo>
                  <a:lnTo>
                    <a:pt x="1661" y="3192"/>
                  </a:lnTo>
                  <a:lnTo>
                    <a:pt x="1667" y="3185"/>
                  </a:lnTo>
                  <a:lnTo>
                    <a:pt x="1672" y="3177"/>
                  </a:lnTo>
                  <a:lnTo>
                    <a:pt x="1676" y="3169"/>
                  </a:lnTo>
                  <a:lnTo>
                    <a:pt x="1678" y="3159"/>
                  </a:lnTo>
                  <a:lnTo>
                    <a:pt x="1681" y="3141"/>
                  </a:lnTo>
                  <a:lnTo>
                    <a:pt x="1685" y="3122"/>
                  </a:lnTo>
                  <a:lnTo>
                    <a:pt x="1682" y="3098"/>
                  </a:lnTo>
                  <a:lnTo>
                    <a:pt x="1679" y="3076"/>
                  </a:lnTo>
                  <a:lnTo>
                    <a:pt x="1675" y="3053"/>
                  </a:lnTo>
                  <a:lnTo>
                    <a:pt x="1669" y="3030"/>
                  </a:lnTo>
                  <a:lnTo>
                    <a:pt x="1657" y="2986"/>
                  </a:lnTo>
                  <a:lnTo>
                    <a:pt x="1646" y="2943"/>
                  </a:lnTo>
                  <a:lnTo>
                    <a:pt x="1640" y="2921"/>
                  </a:lnTo>
                  <a:lnTo>
                    <a:pt x="1635" y="2899"/>
                  </a:lnTo>
                  <a:lnTo>
                    <a:pt x="1630" y="2877"/>
                  </a:lnTo>
                  <a:lnTo>
                    <a:pt x="1626" y="2854"/>
                  </a:lnTo>
                  <a:lnTo>
                    <a:pt x="1624" y="2832"/>
                  </a:lnTo>
                  <a:lnTo>
                    <a:pt x="1624" y="2809"/>
                  </a:lnTo>
                  <a:lnTo>
                    <a:pt x="1625" y="2785"/>
                  </a:lnTo>
                  <a:lnTo>
                    <a:pt x="1627" y="2761"/>
                  </a:lnTo>
                  <a:lnTo>
                    <a:pt x="1633" y="2737"/>
                  </a:lnTo>
                  <a:lnTo>
                    <a:pt x="1638" y="2707"/>
                  </a:lnTo>
                  <a:lnTo>
                    <a:pt x="1640" y="2693"/>
                  </a:lnTo>
                  <a:lnTo>
                    <a:pt x="1641" y="2679"/>
                  </a:lnTo>
                  <a:lnTo>
                    <a:pt x="1641" y="2673"/>
                  </a:lnTo>
                  <a:lnTo>
                    <a:pt x="1641" y="2666"/>
                  </a:lnTo>
                  <a:lnTo>
                    <a:pt x="1640" y="2661"/>
                  </a:lnTo>
                  <a:lnTo>
                    <a:pt x="1638" y="2656"/>
                  </a:lnTo>
                  <a:lnTo>
                    <a:pt x="1635" y="2648"/>
                  </a:lnTo>
                  <a:lnTo>
                    <a:pt x="1629" y="2642"/>
                  </a:lnTo>
                  <a:lnTo>
                    <a:pt x="1624" y="2635"/>
                  </a:lnTo>
                  <a:lnTo>
                    <a:pt x="1618" y="2630"/>
                  </a:lnTo>
                  <a:lnTo>
                    <a:pt x="1603" y="2618"/>
                  </a:lnTo>
                  <a:lnTo>
                    <a:pt x="1588" y="2607"/>
                  </a:lnTo>
                  <a:lnTo>
                    <a:pt x="1581" y="2602"/>
                  </a:lnTo>
                  <a:lnTo>
                    <a:pt x="1573" y="2595"/>
                  </a:lnTo>
                  <a:lnTo>
                    <a:pt x="1566" y="2589"/>
                  </a:lnTo>
                  <a:lnTo>
                    <a:pt x="1559" y="2582"/>
                  </a:lnTo>
                  <a:lnTo>
                    <a:pt x="1554" y="2575"/>
                  </a:lnTo>
                  <a:lnTo>
                    <a:pt x="1548" y="2566"/>
                  </a:lnTo>
                  <a:lnTo>
                    <a:pt x="1544" y="2556"/>
                  </a:lnTo>
                  <a:lnTo>
                    <a:pt x="1542" y="2547"/>
                  </a:lnTo>
                  <a:lnTo>
                    <a:pt x="1537" y="2521"/>
                  </a:lnTo>
                  <a:lnTo>
                    <a:pt x="1534" y="2499"/>
                  </a:lnTo>
                  <a:lnTo>
                    <a:pt x="1534" y="2489"/>
                  </a:lnTo>
                  <a:lnTo>
                    <a:pt x="1534" y="2480"/>
                  </a:lnTo>
                  <a:lnTo>
                    <a:pt x="1535" y="2471"/>
                  </a:lnTo>
                  <a:lnTo>
                    <a:pt x="1538" y="2462"/>
                  </a:lnTo>
                  <a:lnTo>
                    <a:pt x="1540" y="2454"/>
                  </a:lnTo>
                  <a:lnTo>
                    <a:pt x="1544" y="2445"/>
                  </a:lnTo>
                  <a:lnTo>
                    <a:pt x="1548" y="2436"/>
                  </a:lnTo>
                  <a:lnTo>
                    <a:pt x="1554" y="2429"/>
                  </a:lnTo>
                  <a:lnTo>
                    <a:pt x="1560" y="2420"/>
                  </a:lnTo>
                  <a:lnTo>
                    <a:pt x="1568" y="2410"/>
                  </a:lnTo>
                  <a:lnTo>
                    <a:pt x="1576" y="2402"/>
                  </a:lnTo>
                  <a:lnTo>
                    <a:pt x="1587" y="2392"/>
                  </a:lnTo>
                  <a:lnTo>
                    <a:pt x="1595" y="2386"/>
                  </a:lnTo>
                  <a:lnTo>
                    <a:pt x="1603" y="2380"/>
                  </a:lnTo>
                  <a:lnTo>
                    <a:pt x="1613" y="2377"/>
                  </a:lnTo>
                  <a:lnTo>
                    <a:pt x="1623" y="2374"/>
                  </a:lnTo>
                  <a:lnTo>
                    <a:pt x="1642" y="2371"/>
                  </a:lnTo>
                  <a:lnTo>
                    <a:pt x="1662" y="2367"/>
                  </a:lnTo>
                  <a:lnTo>
                    <a:pt x="1672" y="2365"/>
                  </a:lnTo>
                  <a:lnTo>
                    <a:pt x="1680" y="2363"/>
                  </a:lnTo>
                  <a:lnTo>
                    <a:pt x="1688" y="2359"/>
                  </a:lnTo>
                  <a:lnTo>
                    <a:pt x="1695" y="2354"/>
                  </a:lnTo>
                  <a:lnTo>
                    <a:pt x="1701" y="2348"/>
                  </a:lnTo>
                  <a:lnTo>
                    <a:pt x="1706" y="2339"/>
                  </a:lnTo>
                  <a:lnTo>
                    <a:pt x="1709" y="2328"/>
                  </a:lnTo>
                  <a:lnTo>
                    <a:pt x="1710" y="2315"/>
                  </a:lnTo>
                  <a:lnTo>
                    <a:pt x="1712" y="2308"/>
                  </a:lnTo>
                  <a:lnTo>
                    <a:pt x="1715" y="2300"/>
                  </a:lnTo>
                  <a:lnTo>
                    <a:pt x="1718" y="2292"/>
                  </a:lnTo>
                  <a:lnTo>
                    <a:pt x="1723" y="2284"/>
                  </a:lnTo>
                  <a:lnTo>
                    <a:pt x="1729" y="2275"/>
                  </a:lnTo>
                  <a:lnTo>
                    <a:pt x="1735" y="2267"/>
                  </a:lnTo>
                  <a:lnTo>
                    <a:pt x="1744" y="2258"/>
                  </a:lnTo>
                  <a:lnTo>
                    <a:pt x="1753" y="2250"/>
                  </a:lnTo>
                  <a:lnTo>
                    <a:pt x="1772" y="2231"/>
                  </a:lnTo>
                  <a:lnTo>
                    <a:pt x="1794" y="2213"/>
                  </a:lnTo>
                  <a:lnTo>
                    <a:pt x="1817" y="2194"/>
                  </a:lnTo>
                  <a:lnTo>
                    <a:pt x="1842" y="2176"/>
                  </a:lnTo>
                  <a:lnTo>
                    <a:pt x="1893" y="2139"/>
                  </a:lnTo>
                  <a:lnTo>
                    <a:pt x="1942" y="2104"/>
                  </a:lnTo>
                  <a:lnTo>
                    <a:pt x="1963" y="2088"/>
                  </a:lnTo>
                  <a:lnTo>
                    <a:pt x="1983" y="2071"/>
                  </a:lnTo>
                  <a:lnTo>
                    <a:pt x="1999" y="2057"/>
                  </a:lnTo>
                  <a:lnTo>
                    <a:pt x="2012" y="2043"/>
                  </a:lnTo>
                  <a:lnTo>
                    <a:pt x="2018" y="2035"/>
                  </a:lnTo>
                  <a:lnTo>
                    <a:pt x="2026" y="2027"/>
                  </a:lnTo>
                  <a:lnTo>
                    <a:pt x="2032" y="2022"/>
                  </a:lnTo>
                  <a:lnTo>
                    <a:pt x="2039" y="2016"/>
                  </a:lnTo>
                  <a:lnTo>
                    <a:pt x="2045" y="2013"/>
                  </a:lnTo>
                  <a:lnTo>
                    <a:pt x="2052" y="2010"/>
                  </a:lnTo>
                  <a:lnTo>
                    <a:pt x="2057" y="2008"/>
                  </a:lnTo>
                  <a:lnTo>
                    <a:pt x="2064" y="2007"/>
                  </a:lnTo>
                  <a:lnTo>
                    <a:pt x="2069" y="2007"/>
                  </a:lnTo>
                  <a:lnTo>
                    <a:pt x="2076" y="2007"/>
                  </a:lnTo>
                  <a:lnTo>
                    <a:pt x="2081" y="2008"/>
                  </a:lnTo>
                  <a:lnTo>
                    <a:pt x="2086" y="2009"/>
                  </a:lnTo>
                  <a:lnTo>
                    <a:pt x="2098" y="2013"/>
                  </a:lnTo>
                  <a:lnTo>
                    <a:pt x="2109" y="2018"/>
                  </a:lnTo>
                  <a:lnTo>
                    <a:pt x="2121" y="2024"/>
                  </a:lnTo>
                  <a:lnTo>
                    <a:pt x="2133" y="2030"/>
                  </a:lnTo>
                  <a:lnTo>
                    <a:pt x="2145" y="2036"/>
                  </a:lnTo>
                  <a:lnTo>
                    <a:pt x="2157" y="2041"/>
                  </a:lnTo>
                  <a:lnTo>
                    <a:pt x="2163" y="2042"/>
                  </a:lnTo>
                  <a:lnTo>
                    <a:pt x="2170" y="2043"/>
                  </a:lnTo>
                  <a:lnTo>
                    <a:pt x="2177" y="2044"/>
                  </a:lnTo>
                  <a:lnTo>
                    <a:pt x="2184" y="2044"/>
                  </a:lnTo>
                  <a:lnTo>
                    <a:pt x="2191" y="2044"/>
                  </a:lnTo>
                  <a:lnTo>
                    <a:pt x="2199" y="2043"/>
                  </a:lnTo>
                  <a:lnTo>
                    <a:pt x="2206" y="2041"/>
                  </a:lnTo>
                  <a:lnTo>
                    <a:pt x="2214" y="2038"/>
                  </a:lnTo>
                  <a:lnTo>
                    <a:pt x="2219" y="2035"/>
                  </a:lnTo>
                  <a:lnTo>
                    <a:pt x="2225" y="2030"/>
                  </a:lnTo>
                  <a:lnTo>
                    <a:pt x="2230" y="2026"/>
                  </a:lnTo>
                  <a:lnTo>
                    <a:pt x="2235" y="2021"/>
                  </a:lnTo>
                  <a:lnTo>
                    <a:pt x="2245" y="2009"/>
                  </a:lnTo>
                  <a:lnTo>
                    <a:pt x="2254" y="1997"/>
                  </a:lnTo>
                  <a:lnTo>
                    <a:pt x="2259" y="1993"/>
                  </a:lnTo>
                  <a:lnTo>
                    <a:pt x="2264" y="1988"/>
                  </a:lnTo>
                  <a:lnTo>
                    <a:pt x="2269" y="1985"/>
                  </a:lnTo>
                  <a:lnTo>
                    <a:pt x="2274" y="1982"/>
                  </a:lnTo>
                  <a:lnTo>
                    <a:pt x="2280" y="1982"/>
                  </a:lnTo>
                  <a:lnTo>
                    <a:pt x="2286" y="1982"/>
                  </a:lnTo>
                  <a:lnTo>
                    <a:pt x="2292" y="1985"/>
                  </a:lnTo>
                  <a:lnTo>
                    <a:pt x="2299" y="1989"/>
                  </a:lnTo>
                  <a:lnTo>
                    <a:pt x="2312" y="2001"/>
                  </a:lnTo>
                  <a:lnTo>
                    <a:pt x="2323" y="2011"/>
                  </a:lnTo>
                  <a:lnTo>
                    <a:pt x="2328" y="2015"/>
                  </a:lnTo>
                  <a:lnTo>
                    <a:pt x="2333" y="2018"/>
                  </a:lnTo>
                  <a:lnTo>
                    <a:pt x="2338" y="2022"/>
                  </a:lnTo>
                  <a:lnTo>
                    <a:pt x="2343" y="2024"/>
                  </a:lnTo>
                  <a:lnTo>
                    <a:pt x="2348" y="2025"/>
                  </a:lnTo>
                  <a:lnTo>
                    <a:pt x="2353" y="2025"/>
                  </a:lnTo>
                  <a:lnTo>
                    <a:pt x="2360" y="2023"/>
                  </a:lnTo>
                  <a:lnTo>
                    <a:pt x="2365" y="2021"/>
                  </a:lnTo>
                  <a:lnTo>
                    <a:pt x="2372" y="2016"/>
                  </a:lnTo>
                  <a:lnTo>
                    <a:pt x="2379" y="2011"/>
                  </a:lnTo>
                  <a:lnTo>
                    <a:pt x="2387" y="2003"/>
                  </a:lnTo>
                  <a:lnTo>
                    <a:pt x="2395" y="1994"/>
                  </a:lnTo>
                  <a:lnTo>
                    <a:pt x="2525" y="1975"/>
                  </a:lnTo>
                  <a:lnTo>
                    <a:pt x="2525" y="1975"/>
                  </a:lnTo>
                  <a:lnTo>
                    <a:pt x="2527" y="1957"/>
                  </a:lnTo>
                  <a:lnTo>
                    <a:pt x="2530" y="1939"/>
                  </a:lnTo>
                  <a:lnTo>
                    <a:pt x="2535" y="1920"/>
                  </a:lnTo>
                  <a:lnTo>
                    <a:pt x="2542" y="1899"/>
                  </a:lnTo>
                  <a:lnTo>
                    <a:pt x="2544" y="1892"/>
                  </a:lnTo>
                  <a:lnTo>
                    <a:pt x="2545" y="1886"/>
                  </a:lnTo>
                  <a:lnTo>
                    <a:pt x="2547" y="1880"/>
                  </a:lnTo>
                  <a:lnTo>
                    <a:pt x="2547" y="1875"/>
                  </a:lnTo>
                  <a:lnTo>
                    <a:pt x="2544" y="1864"/>
                  </a:lnTo>
                  <a:lnTo>
                    <a:pt x="2541" y="1854"/>
                  </a:lnTo>
                  <a:lnTo>
                    <a:pt x="2536" y="1846"/>
                  </a:lnTo>
                  <a:lnTo>
                    <a:pt x="2530" y="1837"/>
                  </a:lnTo>
                  <a:lnTo>
                    <a:pt x="2524" y="1831"/>
                  </a:lnTo>
                  <a:lnTo>
                    <a:pt x="2518" y="1824"/>
                  </a:lnTo>
                  <a:lnTo>
                    <a:pt x="2514" y="1818"/>
                  </a:lnTo>
                  <a:lnTo>
                    <a:pt x="2511" y="1812"/>
                  </a:lnTo>
                  <a:lnTo>
                    <a:pt x="2510" y="1810"/>
                  </a:lnTo>
                  <a:lnTo>
                    <a:pt x="2510" y="1808"/>
                  </a:lnTo>
                  <a:lnTo>
                    <a:pt x="2510" y="1805"/>
                  </a:lnTo>
                  <a:lnTo>
                    <a:pt x="2510" y="1802"/>
                  </a:lnTo>
                  <a:lnTo>
                    <a:pt x="2512" y="1800"/>
                  </a:lnTo>
                  <a:lnTo>
                    <a:pt x="2514" y="1798"/>
                  </a:lnTo>
                  <a:lnTo>
                    <a:pt x="2517" y="1797"/>
                  </a:lnTo>
                  <a:lnTo>
                    <a:pt x="2522" y="1795"/>
                  </a:lnTo>
                  <a:lnTo>
                    <a:pt x="2533" y="1791"/>
                  </a:lnTo>
                  <a:lnTo>
                    <a:pt x="2549" y="1786"/>
                  </a:lnTo>
                  <a:lnTo>
                    <a:pt x="2556" y="1784"/>
                  </a:lnTo>
                  <a:lnTo>
                    <a:pt x="2562" y="1782"/>
                  </a:lnTo>
                  <a:lnTo>
                    <a:pt x="2567" y="1779"/>
                  </a:lnTo>
                  <a:lnTo>
                    <a:pt x="2571" y="1774"/>
                  </a:lnTo>
                  <a:lnTo>
                    <a:pt x="2575" y="1770"/>
                  </a:lnTo>
                  <a:lnTo>
                    <a:pt x="2577" y="1766"/>
                  </a:lnTo>
                  <a:lnTo>
                    <a:pt x="2580" y="1760"/>
                  </a:lnTo>
                  <a:lnTo>
                    <a:pt x="2581" y="1755"/>
                  </a:lnTo>
                  <a:lnTo>
                    <a:pt x="2585" y="1744"/>
                  </a:lnTo>
                  <a:lnTo>
                    <a:pt x="2590" y="1733"/>
                  </a:lnTo>
                  <a:lnTo>
                    <a:pt x="2592" y="1728"/>
                  </a:lnTo>
                  <a:lnTo>
                    <a:pt x="2595" y="1723"/>
                  </a:lnTo>
                  <a:lnTo>
                    <a:pt x="2600" y="1718"/>
                  </a:lnTo>
                  <a:lnTo>
                    <a:pt x="2605" y="1714"/>
                  </a:lnTo>
                  <a:lnTo>
                    <a:pt x="2607" y="1711"/>
                  </a:lnTo>
                  <a:lnTo>
                    <a:pt x="2607" y="1706"/>
                  </a:lnTo>
                  <a:lnTo>
                    <a:pt x="2606" y="1700"/>
                  </a:lnTo>
                  <a:lnTo>
                    <a:pt x="2604" y="1692"/>
                  </a:lnTo>
                  <a:lnTo>
                    <a:pt x="2597" y="1676"/>
                  </a:lnTo>
                  <a:lnTo>
                    <a:pt x="2587" y="1656"/>
                  </a:lnTo>
                  <a:lnTo>
                    <a:pt x="2576" y="1635"/>
                  </a:lnTo>
                  <a:lnTo>
                    <a:pt x="2565" y="1616"/>
                  </a:lnTo>
                  <a:lnTo>
                    <a:pt x="2556" y="1598"/>
                  </a:lnTo>
                  <a:lnTo>
                    <a:pt x="2550" y="1583"/>
                  </a:lnTo>
                  <a:lnTo>
                    <a:pt x="2550" y="1566"/>
                  </a:lnTo>
                  <a:lnTo>
                    <a:pt x="2550" y="1550"/>
                  </a:lnTo>
                  <a:lnTo>
                    <a:pt x="2550" y="1536"/>
                  </a:lnTo>
                  <a:lnTo>
                    <a:pt x="2552" y="1523"/>
                  </a:lnTo>
                  <a:lnTo>
                    <a:pt x="2554" y="1512"/>
                  </a:lnTo>
                  <a:lnTo>
                    <a:pt x="2558" y="1502"/>
                  </a:lnTo>
                  <a:lnTo>
                    <a:pt x="2563" y="1494"/>
                  </a:lnTo>
                  <a:lnTo>
                    <a:pt x="2568" y="1486"/>
                  </a:lnTo>
                  <a:lnTo>
                    <a:pt x="2576" y="1480"/>
                  </a:lnTo>
                  <a:lnTo>
                    <a:pt x="2584" y="1474"/>
                  </a:lnTo>
                  <a:lnTo>
                    <a:pt x="2593" y="1470"/>
                  </a:lnTo>
                  <a:lnTo>
                    <a:pt x="2605" y="1467"/>
                  </a:lnTo>
                  <a:lnTo>
                    <a:pt x="2617" y="1463"/>
                  </a:lnTo>
                  <a:lnTo>
                    <a:pt x="2631" y="1460"/>
                  </a:lnTo>
                  <a:lnTo>
                    <a:pt x="2647" y="1458"/>
                  </a:lnTo>
                  <a:lnTo>
                    <a:pt x="2664" y="1456"/>
                  </a:lnTo>
                  <a:lnTo>
                    <a:pt x="2673" y="1454"/>
                  </a:lnTo>
                  <a:lnTo>
                    <a:pt x="2678" y="1451"/>
                  </a:lnTo>
                  <a:lnTo>
                    <a:pt x="2679" y="1449"/>
                  </a:lnTo>
                  <a:lnTo>
                    <a:pt x="2681" y="1447"/>
                  </a:lnTo>
                  <a:lnTo>
                    <a:pt x="2681" y="1445"/>
                  </a:lnTo>
                  <a:lnTo>
                    <a:pt x="2681" y="1443"/>
                  </a:lnTo>
                  <a:lnTo>
                    <a:pt x="2678" y="1437"/>
                  </a:lnTo>
                  <a:lnTo>
                    <a:pt x="2674" y="1432"/>
                  </a:lnTo>
                  <a:lnTo>
                    <a:pt x="2668" y="1427"/>
                  </a:lnTo>
                  <a:lnTo>
                    <a:pt x="2660" y="1421"/>
                  </a:lnTo>
                  <a:lnTo>
                    <a:pt x="2652" y="1416"/>
                  </a:lnTo>
                  <a:lnTo>
                    <a:pt x="2643" y="1410"/>
                  </a:lnTo>
                  <a:lnTo>
                    <a:pt x="2633" y="1405"/>
                  </a:lnTo>
                  <a:lnTo>
                    <a:pt x="2623" y="1401"/>
                  </a:lnTo>
                  <a:lnTo>
                    <a:pt x="2615" y="1397"/>
                  </a:lnTo>
                  <a:lnTo>
                    <a:pt x="2606" y="1395"/>
                  </a:lnTo>
                  <a:lnTo>
                    <a:pt x="2597" y="1394"/>
                  </a:lnTo>
                  <a:lnTo>
                    <a:pt x="2591" y="1394"/>
                  </a:lnTo>
                  <a:lnTo>
                    <a:pt x="2570" y="1397"/>
                  </a:lnTo>
                  <a:lnTo>
                    <a:pt x="2553" y="1402"/>
                  </a:lnTo>
                  <a:lnTo>
                    <a:pt x="2544" y="1403"/>
                  </a:lnTo>
                  <a:lnTo>
                    <a:pt x="2537" y="1404"/>
                  </a:lnTo>
                  <a:lnTo>
                    <a:pt x="2530" y="1404"/>
                  </a:lnTo>
                  <a:lnTo>
                    <a:pt x="2525" y="1403"/>
                  </a:lnTo>
                  <a:lnTo>
                    <a:pt x="2520" y="1401"/>
                  </a:lnTo>
                  <a:lnTo>
                    <a:pt x="2515" y="1399"/>
                  </a:lnTo>
                  <a:lnTo>
                    <a:pt x="2512" y="1393"/>
                  </a:lnTo>
                  <a:lnTo>
                    <a:pt x="2510" y="1388"/>
                  </a:lnTo>
                  <a:lnTo>
                    <a:pt x="2508" y="1379"/>
                  </a:lnTo>
                  <a:lnTo>
                    <a:pt x="2507" y="1369"/>
                  </a:lnTo>
                  <a:lnTo>
                    <a:pt x="2507" y="1357"/>
                  </a:lnTo>
                  <a:lnTo>
                    <a:pt x="2508" y="1343"/>
                  </a:lnTo>
                  <a:lnTo>
                    <a:pt x="2510" y="1334"/>
                  </a:lnTo>
                  <a:lnTo>
                    <a:pt x="2513" y="1325"/>
                  </a:lnTo>
                  <a:lnTo>
                    <a:pt x="2518" y="1319"/>
                  </a:lnTo>
                  <a:lnTo>
                    <a:pt x="2524" y="1313"/>
                  </a:lnTo>
                  <a:lnTo>
                    <a:pt x="2530" y="1309"/>
                  </a:lnTo>
                  <a:lnTo>
                    <a:pt x="2538" y="1306"/>
                  </a:lnTo>
                  <a:lnTo>
                    <a:pt x="2544" y="1302"/>
                  </a:lnTo>
                  <a:lnTo>
                    <a:pt x="2552" y="1300"/>
                  </a:lnTo>
                  <a:lnTo>
                    <a:pt x="2560" y="1297"/>
                  </a:lnTo>
                  <a:lnTo>
                    <a:pt x="2566" y="1294"/>
                  </a:lnTo>
                  <a:lnTo>
                    <a:pt x="2571" y="1289"/>
                  </a:lnTo>
                  <a:lnTo>
                    <a:pt x="2577" y="1285"/>
                  </a:lnTo>
                  <a:lnTo>
                    <a:pt x="2580" y="1279"/>
                  </a:lnTo>
                  <a:lnTo>
                    <a:pt x="2582" y="1271"/>
                  </a:lnTo>
                  <a:lnTo>
                    <a:pt x="2582" y="1260"/>
                  </a:lnTo>
                  <a:lnTo>
                    <a:pt x="2581" y="1248"/>
                  </a:lnTo>
                  <a:lnTo>
                    <a:pt x="2578" y="1240"/>
                  </a:lnTo>
                  <a:lnTo>
                    <a:pt x="2575" y="1234"/>
                  </a:lnTo>
                  <a:lnTo>
                    <a:pt x="2570" y="1231"/>
                  </a:lnTo>
                  <a:lnTo>
                    <a:pt x="2564" y="1230"/>
                  </a:lnTo>
                  <a:lnTo>
                    <a:pt x="2551" y="1231"/>
                  </a:lnTo>
                  <a:lnTo>
                    <a:pt x="2534" y="1232"/>
                  </a:lnTo>
                  <a:lnTo>
                    <a:pt x="2525" y="1232"/>
                  </a:lnTo>
                  <a:lnTo>
                    <a:pt x="2515" y="1234"/>
                  </a:lnTo>
                  <a:lnTo>
                    <a:pt x="2508" y="1237"/>
                  </a:lnTo>
                  <a:lnTo>
                    <a:pt x="2500" y="1240"/>
                  </a:lnTo>
                  <a:lnTo>
                    <a:pt x="2493" y="1243"/>
                  </a:lnTo>
                  <a:lnTo>
                    <a:pt x="2486" y="1247"/>
                  </a:lnTo>
                  <a:lnTo>
                    <a:pt x="2481" y="1253"/>
                  </a:lnTo>
                  <a:lnTo>
                    <a:pt x="2474" y="1258"/>
                  </a:lnTo>
                  <a:lnTo>
                    <a:pt x="2464" y="1270"/>
                  </a:lnTo>
                  <a:lnTo>
                    <a:pt x="2455" y="1283"/>
                  </a:lnTo>
                  <a:lnTo>
                    <a:pt x="2445" y="1296"/>
                  </a:lnTo>
                  <a:lnTo>
                    <a:pt x="2436" y="1309"/>
                  </a:lnTo>
                  <a:lnTo>
                    <a:pt x="2428" y="1322"/>
                  </a:lnTo>
                  <a:lnTo>
                    <a:pt x="2417" y="1334"/>
                  </a:lnTo>
                  <a:lnTo>
                    <a:pt x="2413" y="1338"/>
                  </a:lnTo>
                  <a:lnTo>
                    <a:pt x="2406" y="1343"/>
                  </a:lnTo>
                  <a:lnTo>
                    <a:pt x="2401" y="1347"/>
                  </a:lnTo>
                  <a:lnTo>
                    <a:pt x="2394" y="1350"/>
                  </a:lnTo>
                  <a:lnTo>
                    <a:pt x="2387" y="1353"/>
                  </a:lnTo>
                  <a:lnTo>
                    <a:pt x="2380" y="1354"/>
                  </a:lnTo>
                  <a:lnTo>
                    <a:pt x="2372" y="1355"/>
                  </a:lnTo>
                  <a:lnTo>
                    <a:pt x="2363" y="1355"/>
                  </a:lnTo>
                  <a:lnTo>
                    <a:pt x="2354" y="1354"/>
                  </a:lnTo>
                  <a:lnTo>
                    <a:pt x="2343" y="1352"/>
                  </a:lnTo>
                  <a:lnTo>
                    <a:pt x="2334" y="1349"/>
                  </a:lnTo>
                  <a:lnTo>
                    <a:pt x="2322" y="1343"/>
                  </a:lnTo>
                  <a:lnTo>
                    <a:pt x="2315" y="1340"/>
                  </a:lnTo>
                  <a:lnTo>
                    <a:pt x="2308" y="1335"/>
                  </a:lnTo>
                  <a:lnTo>
                    <a:pt x="2300" y="1328"/>
                  </a:lnTo>
                  <a:lnTo>
                    <a:pt x="2292" y="1321"/>
                  </a:lnTo>
                  <a:lnTo>
                    <a:pt x="2273" y="1302"/>
                  </a:lnTo>
                  <a:lnTo>
                    <a:pt x="2256" y="1281"/>
                  </a:lnTo>
                  <a:lnTo>
                    <a:pt x="2239" y="1258"/>
                  </a:lnTo>
                  <a:lnTo>
                    <a:pt x="2226" y="1237"/>
                  </a:lnTo>
                  <a:lnTo>
                    <a:pt x="2220" y="1227"/>
                  </a:lnTo>
                  <a:lnTo>
                    <a:pt x="2216" y="1217"/>
                  </a:lnTo>
                  <a:lnTo>
                    <a:pt x="2214" y="1210"/>
                  </a:lnTo>
                  <a:lnTo>
                    <a:pt x="2213" y="1202"/>
                  </a:lnTo>
                  <a:lnTo>
                    <a:pt x="2212" y="1189"/>
                  </a:lnTo>
                  <a:lnTo>
                    <a:pt x="2210" y="1176"/>
                  </a:lnTo>
                  <a:lnTo>
                    <a:pt x="2207" y="1163"/>
                  </a:lnTo>
                  <a:lnTo>
                    <a:pt x="2203" y="1151"/>
                  </a:lnTo>
                  <a:lnTo>
                    <a:pt x="2194" y="1126"/>
                  </a:lnTo>
                  <a:lnTo>
                    <a:pt x="2184" y="1103"/>
                  </a:lnTo>
                  <a:lnTo>
                    <a:pt x="2172" y="1079"/>
                  </a:lnTo>
                  <a:lnTo>
                    <a:pt x="2160" y="1054"/>
                  </a:lnTo>
                  <a:lnTo>
                    <a:pt x="2156" y="1042"/>
                  </a:lnTo>
                  <a:lnTo>
                    <a:pt x="2150" y="1030"/>
                  </a:lnTo>
                  <a:lnTo>
                    <a:pt x="2146" y="1017"/>
                  </a:lnTo>
                  <a:lnTo>
                    <a:pt x="2143" y="1004"/>
                  </a:lnTo>
                  <a:lnTo>
                    <a:pt x="2140" y="1000"/>
                  </a:lnTo>
                  <a:lnTo>
                    <a:pt x="2137" y="997"/>
                  </a:lnTo>
                  <a:lnTo>
                    <a:pt x="2135" y="992"/>
                  </a:lnTo>
                  <a:lnTo>
                    <a:pt x="2132" y="990"/>
                  </a:lnTo>
                  <a:lnTo>
                    <a:pt x="2123" y="985"/>
                  </a:lnTo>
                  <a:lnTo>
                    <a:pt x="2113" y="982"/>
                  </a:lnTo>
                  <a:lnTo>
                    <a:pt x="2103" y="979"/>
                  </a:lnTo>
                  <a:lnTo>
                    <a:pt x="2092" y="978"/>
                  </a:lnTo>
                  <a:lnTo>
                    <a:pt x="2079" y="977"/>
                  </a:lnTo>
                  <a:lnTo>
                    <a:pt x="2066" y="978"/>
                  </a:lnTo>
                  <a:lnTo>
                    <a:pt x="2039" y="981"/>
                  </a:lnTo>
                  <a:lnTo>
                    <a:pt x="2013" y="985"/>
                  </a:lnTo>
                  <a:lnTo>
                    <a:pt x="1989" y="988"/>
                  </a:lnTo>
                  <a:lnTo>
                    <a:pt x="1970" y="989"/>
                  </a:lnTo>
                  <a:lnTo>
                    <a:pt x="1964" y="989"/>
                  </a:lnTo>
                  <a:lnTo>
                    <a:pt x="1959" y="988"/>
                  </a:lnTo>
                  <a:lnTo>
                    <a:pt x="1955" y="987"/>
                  </a:lnTo>
                  <a:lnTo>
                    <a:pt x="1950" y="985"/>
                  </a:lnTo>
                  <a:lnTo>
                    <a:pt x="1946" y="983"/>
                  </a:lnTo>
                  <a:lnTo>
                    <a:pt x="1943" y="979"/>
                  </a:lnTo>
                  <a:lnTo>
                    <a:pt x="1939" y="977"/>
                  </a:lnTo>
                  <a:lnTo>
                    <a:pt x="1936" y="973"/>
                  </a:lnTo>
                  <a:lnTo>
                    <a:pt x="1932" y="965"/>
                  </a:lnTo>
                  <a:lnTo>
                    <a:pt x="1929" y="957"/>
                  </a:lnTo>
                  <a:lnTo>
                    <a:pt x="1925" y="947"/>
                  </a:lnTo>
                  <a:lnTo>
                    <a:pt x="1924" y="936"/>
                  </a:lnTo>
                  <a:lnTo>
                    <a:pt x="1924" y="924"/>
                  </a:lnTo>
                  <a:lnTo>
                    <a:pt x="1924" y="914"/>
                  </a:lnTo>
                  <a:lnTo>
                    <a:pt x="1925" y="902"/>
                  </a:lnTo>
                  <a:lnTo>
                    <a:pt x="1926" y="891"/>
                  </a:lnTo>
                  <a:lnTo>
                    <a:pt x="1930" y="869"/>
                  </a:lnTo>
                  <a:lnTo>
                    <a:pt x="1933" y="851"/>
                  </a:lnTo>
                  <a:lnTo>
                    <a:pt x="1935" y="842"/>
                  </a:lnTo>
                  <a:lnTo>
                    <a:pt x="1938" y="834"/>
                  </a:lnTo>
                  <a:lnTo>
                    <a:pt x="1943" y="826"/>
                  </a:lnTo>
                  <a:lnTo>
                    <a:pt x="1949" y="820"/>
                  </a:lnTo>
                  <a:lnTo>
                    <a:pt x="1955" y="813"/>
                  </a:lnTo>
                  <a:lnTo>
                    <a:pt x="1962" y="808"/>
                  </a:lnTo>
                  <a:lnTo>
                    <a:pt x="1971" y="803"/>
                  </a:lnTo>
                  <a:lnTo>
                    <a:pt x="1979" y="799"/>
                  </a:lnTo>
                  <a:lnTo>
                    <a:pt x="1988" y="795"/>
                  </a:lnTo>
                  <a:lnTo>
                    <a:pt x="1998" y="792"/>
                  </a:lnTo>
                  <a:lnTo>
                    <a:pt x="2009" y="789"/>
                  </a:lnTo>
                  <a:lnTo>
                    <a:pt x="2019" y="786"/>
                  </a:lnTo>
                  <a:lnTo>
                    <a:pt x="2042" y="783"/>
                  </a:lnTo>
                  <a:lnTo>
                    <a:pt x="2067" y="780"/>
                  </a:lnTo>
                  <a:lnTo>
                    <a:pt x="2116" y="776"/>
                  </a:lnTo>
                  <a:lnTo>
                    <a:pt x="2163" y="775"/>
                  </a:lnTo>
                  <a:lnTo>
                    <a:pt x="2185" y="774"/>
                  </a:lnTo>
                  <a:lnTo>
                    <a:pt x="2204" y="772"/>
                  </a:lnTo>
                  <a:lnTo>
                    <a:pt x="2221" y="769"/>
                  </a:lnTo>
                  <a:lnTo>
                    <a:pt x="2235" y="766"/>
                  </a:lnTo>
                  <a:lnTo>
                    <a:pt x="2242" y="763"/>
                  </a:lnTo>
                  <a:lnTo>
                    <a:pt x="2247" y="762"/>
                  </a:lnTo>
                  <a:lnTo>
                    <a:pt x="2252" y="762"/>
                  </a:lnTo>
                  <a:lnTo>
                    <a:pt x="2255" y="763"/>
                  </a:lnTo>
                  <a:lnTo>
                    <a:pt x="2261" y="766"/>
                  </a:lnTo>
                  <a:lnTo>
                    <a:pt x="2266" y="770"/>
                  </a:lnTo>
                  <a:lnTo>
                    <a:pt x="2270" y="775"/>
                  </a:lnTo>
                  <a:lnTo>
                    <a:pt x="2275" y="780"/>
                  </a:lnTo>
                  <a:lnTo>
                    <a:pt x="2279" y="782"/>
                  </a:lnTo>
                  <a:lnTo>
                    <a:pt x="2283" y="783"/>
                  </a:lnTo>
                  <a:lnTo>
                    <a:pt x="2288" y="784"/>
                  </a:lnTo>
                  <a:lnTo>
                    <a:pt x="2294" y="784"/>
                  </a:lnTo>
                  <a:lnTo>
                    <a:pt x="2300" y="783"/>
                  </a:lnTo>
                  <a:lnTo>
                    <a:pt x="2305" y="782"/>
                  </a:lnTo>
                  <a:lnTo>
                    <a:pt x="2309" y="779"/>
                  </a:lnTo>
                  <a:lnTo>
                    <a:pt x="2312" y="775"/>
                  </a:lnTo>
                  <a:lnTo>
                    <a:pt x="2314" y="771"/>
                  </a:lnTo>
                  <a:lnTo>
                    <a:pt x="2316" y="767"/>
                  </a:lnTo>
                  <a:lnTo>
                    <a:pt x="2318" y="761"/>
                  </a:lnTo>
                  <a:lnTo>
                    <a:pt x="2319" y="757"/>
                  </a:lnTo>
                  <a:lnTo>
                    <a:pt x="2320" y="746"/>
                  </a:lnTo>
                  <a:lnTo>
                    <a:pt x="2322" y="735"/>
                  </a:lnTo>
                  <a:lnTo>
                    <a:pt x="2324" y="731"/>
                  </a:lnTo>
                  <a:lnTo>
                    <a:pt x="2326" y="727"/>
                  </a:lnTo>
                  <a:lnTo>
                    <a:pt x="2328" y="724"/>
                  </a:lnTo>
                  <a:lnTo>
                    <a:pt x="2333" y="720"/>
                  </a:lnTo>
                  <a:lnTo>
                    <a:pt x="2342" y="718"/>
                  </a:lnTo>
                  <a:lnTo>
                    <a:pt x="2353" y="717"/>
                  </a:lnTo>
                  <a:lnTo>
                    <a:pt x="2358" y="717"/>
                  </a:lnTo>
                  <a:lnTo>
                    <a:pt x="2361" y="715"/>
                  </a:lnTo>
                  <a:lnTo>
                    <a:pt x="2362" y="713"/>
                  </a:lnTo>
                  <a:lnTo>
                    <a:pt x="2362" y="712"/>
                  </a:lnTo>
                  <a:lnTo>
                    <a:pt x="2362" y="708"/>
                  </a:lnTo>
                  <a:lnTo>
                    <a:pt x="2361" y="706"/>
                  </a:lnTo>
                  <a:lnTo>
                    <a:pt x="2355" y="698"/>
                  </a:lnTo>
                  <a:lnTo>
                    <a:pt x="2349" y="690"/>
                  </a:lnTo>
                  <a:lnTo>
                    <a:pt x="2347" y="686"/>
                  </a:lnTo>
                  <a:lnTo>
                    <a:pt x="2345" y="681"/>
                  </a:lnTo>
                  <a:lnTo>
                    <a:pt x="2343" y="676"/>
                  </a:lnTo>
                  <a:lnTo>
                    <a:pt x="2343" y="671"/>
                  </a:lnTo>
                  <a:lnTo>
                    <a:pt x="2346" y="663"/>
                  </a:lnTo>
                  <a:lnTo>
                    <a:pt x="2346" y="658"/>
                  </a:lnTo>
                  <a:lnTo>
                    <a:pt x="2347" y="653"/>
                  </a:lnTo>
                  <a:lnTo>
                    <a:pt x="2346" y="649"/>
                  </a:lnTo>
                  <a:lnTo>
                    <a:pt x="2343" y="646"/>
                  </a:lnTo>
                  <a:lnTo>
                    <a:pt x="2340" y="643"/>
                  </a:lnTo>
                  <a:lnTo>
                    <a:pt x="2336" y="639"/>
                  </a:lnTo>
                  <a:lnTo>
                    <a:pt x="2329" y="636"/>
                  </a:lnTo>
                  <a:lnTo>
                    <a:pt x="2321" y="632"/>
                  </a:lnTo>
                  <a:lnTo>
                    <a:pt x="2313" y="627"/>
                  </a:lnTo>
                  <a:lnTo>
                    <a:pt x="2308" y="623"/>
                  </a:lnTo>
                  <a:lnTo>
                    <a:pt x="2304" y="618"/>
                  </a:lnTo>
                  <a:lnTo>
                    <a:pt x="2300" y="613"/>
                  </a:lnTo>
                  <a:lnTo>
                    <a:pt x="2298" y="609"/>
                  </a:lnTo>
                  <a:lnTo>
                    <a:pt x="2296" y="605"/>
                  </a:lnTo>
                  <a:lnTo>
                    <a:pt x="2295" y="599"/>
                  </a:lnTo>
                  <a:lnTo>
                    <a:pt x="2296" y="578"/>
                  </a:lnTo>
                  <a:lnTo>
                    <a:pt x="2299" y="547"/>
                  </a:lnTo>
                  <a:lnTo>
                    <a:pt x="2297" y="532"/>
                  </a:lnTo>
                  <a:lnTo>
                    <a:pt x="2293" y="514"/>
                  </a:lnTo>
                  <a:lnTo>
                    <a:pt x="2287" y="493"/>
                  </a:lnTo>
                  <a:lnTo>
                    <a:pt x="2284" y="475"/>
                  </a:lnTo>
                  <a:lnTo>
                    <a:pt x="2295" y="455"/>
                  </a:lnTo>
                  <a:lnTo>
                    <a:pt x="2311" y="427"/>
                  </a:lnTo>
                  <a:lnTo>
                    <a:pt x="2319" y="414"/>
                  </a:lnTo>
                  <a:lnTo>
                    <a:pt x="2324" y="401"/>
                  </a:lnTo>
                  <a:lnTo>
                    <a:pt x="2325" y="396"/>
                  </a:lnTo>
                  <a:lnTo>
                    <a:pt x="2326" y="391"/>
                  </a:lnTo>
                  <a:lnTo>
                    <a:pt x="2325" y="388"/>
                  </a:lnTo>
                  <a:lnTo>
                    <a:pt x="2323" y="385"/>
                  </a:lnTo>
                  <a:lnTo>
                    <a:pt x="2298" y="373"/>
                  </a:lnTo>
                  <a:lnTo>
                    <a:pt x="2276" y="364"/>
                  </a:lnTo>
                  <a:lnTo>
                    <a:pt x="2272" y="361"/>
                  </a:lnTo>
                  <a:lnTo>
                    <a:pt x="2268" y="357"/>
                  </a:lnTo>
                  <a:lnTo>
                    <a:pt x="2265" y="354"/>
                  </a:lnTo>
                  <a:lnTo>
                    <a:pt x="2261" y="349"/>
                  </a:lnTo>
                  <a:lnTo>
                    <a:pt x="2259" y="343"/>
                  </a:lnTo>
                  <a:lnTo>
                    <a:pt x="2257" y="337"/>
                  </a:lnTo>
                  <a:lnTo>
                    <a:pt x="2256" y="328"/>
                  </a:lnTo>
                  <a:lnTo>
                    <a:pt x="2255" y="320"/>
                  </a:lnTo>
                  <a:lnTo>
                    <a:pt x="2257" y="309"/>
                  </a:lnTo>
                  <a:lnTo>
                    <a:pt x="2262" y="295"/>
                  </a:lnTo>
                  <a:lnTo>
                    <a:pt x="2264" y="289"/>
                  </a:lnTo>
                  <a:lnTo>
                    <a:pt x="2265" y="284"/>
                  </a:lnTo>
                  <a:lnTo>
                    <a:pt x="2265" y="282"/>
                  </a:lnTo>
                  <a:lnTo>
                    <a:pt x="2264" y="280"/>
                  </a:lnTo>
                  <a:lnTo>
                    <a:pt x="2261" y="279"/>
                  </a:lnTo>
                  <a:lnTo>
                    <a:pt x="2259" y="279"/>
                  </a:lnTo>
                  <a:lnTo>
                    <a:pt x="2248" y="277"/>
                  </a:lnTo>
                  <a:lnTo>
                    <a:pt x="2241" y="275"/>
                  </a:lnTo>
                  <a:lnTo>
                    <a:pt x="2234" y="273"/>
                  </a:lnTo>
                  <a:lnTo>
                    <a:pt x="2230" y="271"/>
                  </a:lnTo>
                  <a:lnTo>
                    <a:pt x="2226" y="271"/>
                  </a:lnTo>
                  <a:lnTo>
                    <a:pt x="2220" y="272"/>
                  </a:lnTo>
                  <a:lnTo>
                    <a:pt x="2214" y="275"/>
                  </a:lnTo>
                  <a:lnTo>
                    <a:pt x="2204" y="282"/>
                  </a:lnTo>
                  <a:lnTo>
                    <a:pt x="2199" y="286"/>
                  </a:lnTo>
                  <a:lnTo>
                    <a:pt x="2191" y="290"/>
                  </a:lnTo>
                  <a:lnTo>
                    <a:pt x="2185" y="293"/>
                  </a:lnTo>
                  <a:lnTo>
                    <a:pt x="2177" y="294"/>
                  </a:lnTo>
                  <a:lnTo>
                    <a:pt x="2170" y="295"/>
                  </a:lnTo>
                  <a:lnTo>
                    <a:pt x="2163" y="295"/>
                  </a:lnTo>
                  <a:lnTo>
                    <a:pt x="2156" y="294"/>
                  </a:lnTo>
                  <a:lnTo>
                    <a:pt x="2149" y="293"/>
                  </a:lnTo>
                  <a:lnTo>
                    <a:pt x="2143" y="289"/>
                  </a:lnTo>
                  <a:lnTo>
                    <a:pt x="2137" y="286"/>
                  </a:lnTo>
                  <a:lnTo>
                    <a:pt x="2133" y="282"/>
                  </a:lnTo>
                  <a:lnTo>
                    <a:pt x="2128" y="276"/>
                  </a:lnTo>
                  <a:lnTo>
                    <a:pt x="2126" y="271"/>
                  </a:lnTo>
                  <a:lnTo>
                    <a:pt x="2124" y="263"/>
                  </a:lnTo>
                  <a:lnTo>
                    <a:pt x="2124" y="256"/>
                  </a:lnTo>
                  <a:lnTo>
                    <a:pt x="2125" y="247"/>
                  </a:lnTo>
                  <a:lnTo>
                    <a:pt x="2125" y="244"/>
                  </a:lnTo>
                  <a:lnTo>
                    <a:pt x="2122" y="240"/>
                  </a:lnTo>
                  <a:lnTo>
                    <a:pt x="2117" y="234"/>
                  </a:lnTo>
                  <a:lnTo>
                    <a:pt x="2109" y="228"/>
                  </a:lnTo>
                  <a:lnTo>
                    <a:pt x="2091" y="215"/>
                  </a:lnTo>
                  <a:lnTo>
                    <a:pt x="2069" y="201"/>
                  </a:lnTo>
                  <a:lnTo>
                    <a:pt x="2047" y="188"/>
                  </a:lnTo>
                  <a:lnTo>
                    <a:pt x="2028" y="177"/>
                  </a:lnTo>
                  <a:lnTo>
                    <a:pt x="2013" y="169"/>
                  </a:lnTo>
                  <a:lnTo>
                    <a:pt x="2005" y="167"/>
                  </a:lnTo>
                  <a:lnTo>
                    <a:pt x="1986" y="178"/>
                  </a:lnTo>
                  <a:lnTo>
                    <a:pt x="1957" y="195"/>
                  </a:lnTo>
                  <a:lnTo>
                    <a:pt x="1939" y="205"/>
                  </a:lnTo>
                  <a:lnTo>
                    <a:pt x="1921" y="215"/>
                  </a:lnTo>
                  <a:lnTo>
                    <a:pt x="1902" y="225"/>
                  </a:lnTo>
                  <a:lnTo>
                    <a:pt x="1883" y="233"/>
                  </a:lnTo>
                  <a:lnTo>
                    <a:pt x="1865" y="241"/>
                  </a:lnTo>
                  <a:lnTo>
                    <a:pt x="1848" y="245"/>
                  </a:lnTo>
                  <a:lnTo>
                    <a:pt x="1840" y="246"/>
                  </a:lnTo>
                  <a:lnTo>
                    <a:pt x="1833" y="247"/>
                  </a:lnTo>
                  <a:lnTo>
                    <a:pt x="1826" y="246"/>
                  </a:lnTo>
                  <a:lnTo>
                    <a:pt x="1821" y="245"/>
                  </a:lnTo>
                  <a:lnTo>
                    <a:pt x="1815" y="243"/>
                  </a:lnTo>
                  <a:lnTo>
                    <a:pt x="1810" y="240"/>
                  </a:lnTo>
                  <a:lnTo>
                    <a:pt x="1807" y="235"/>
                  </a:lnTo>
                  <a:lnTo>
                    <a:pt x="1804" y="230"/>
                  </a:lnTo>
                  <a:lnTo>
                    <a:pt x="1802" y="222"/>
                  </a:lnTo>
                  <a:lnTo>
                    <a:pt x="1801" y="214"/>
                  </a:lnTo>
                  <a:lnTo>
                    <a:pt x="1802" y="204"/>
                  </a:lnTo>
                  <a:lnTo>
                    <a:pt x="1803" y="193"/>
                  </a:lnTo>
                  <a:lnTo>
                    <a:pt x="1808" y="184"/>
                  </a:lnTo>
                  <a:lnTo>
                    <a:pt x="1814" y="171"/>
                  </a:lnTo>
                  <a:lnTo>
                    <a:pt x="1816" y="164"/>
                  </a:lnTo>
                  <a:lnTo>
                    <a:pt x="1818" y="159"/>
                  </a:lnTo>
                  <a:lnTo>
                    <a:pt x="1820" y="154"/>
                  </a:lnTo>
                  <a:lnTo>
                    <a:pt x="1820" y="152"/>
                  </a:lnTo>
                  <a:lnTo>
                    <a:pt x="1794" y="137"/>
                  </a:lnTo>
                  <a:lnTo>
                    <a:pt x="1763" y="120"/>
                  </a:lnTo>
                  <a:lnTo>
                    <a:pt x="1748" y="112"/>
                  </a:lnTo>
                  <a:lnTo>
                    <a:pt x="1733" y="106"/>
                  </a:lnTo>
                  <a:lnTo>
                    <a:pt x="1718" y="99"/>
                  </a:lnTo>
                  <a:lnTo>
                    <a:pt x="1705" y="95"/>
                  </a:lnTo>
                  <a:lnTo>
                    <a:pt x="1700" y="92"/>
                  </a:lnTo>
                  <a:lnTo>
                    <a:pt x="1693" y="90"/>
                  </a:lnTo>
                  <a:lnTo>
                    <a:pt x="1686" y="88"/>
                  </a:lnTo>
                  <a:lnTo>
                    <a:pt x="1678" y="87"/>
                  </a:lnTo>
                  <a:lnTo>
                    <a:pt x="1660" y="87"/>
                  </a:lnTo>
                  <a:lnTo>
                    <a:pt x="1640" y="88"/>
                  </a:lnTo>
                  <a:lnTo>
                    <a:pt x="1602" y="93"/>
                  </a:lnTo>
                  <a:lnTo>
                    <a:pt x="1573" y="97"/>
                  </a:lnTo>
                  <a:lnTo>
                    <a:pt x="1566" y="98"/>
                  </a:lnTo>
                  <a:lnTo>
                    <a:pt x="1558" y="97"/>
                  </a:lnTo>
                  <a:lnTo>
                    <a:pt x="1551" y="97"/>
                  </a:lnTo>
                  <a:lnTo>
                    <a:pt x="1544" y="95"/>
                  </a:lnTo>
                  <a:lnTo>
                    <a:pt x="1531" y="92"/>
                  </a:lnTo>
                  <a:lnTo>
                    <a:pt x="1518" y="87"/>
                  </a:lnTo>
                  <a:lnTo>
                    <a:pt x="1505" y="85"/>
                  </a:lnTo>
                  <a:lnTo>
                    <a:pt x="1492" y="84"/>
                  </a:lnTo>
                  <a:lnTo>
                    <a:pt x="1485" y="85"/>
                  </a:lnTo>
                  <a:lnTo>
                    <a:pt x="1478" y="86"/>
                  </a:lnTo>
                  <a:lnTo>
                    <a:pt x="1471" y="90"/>
                  </a:lnTo>
                  <a:lnTo>
                    <a:pt x="1464" y="94"/>
                  </a:lnTo>
                  <a:lnTo>
                    <a:pt x="1447" y="105"/>
                  </a:lnTo>
                  <a:lnTo>
                    <a:pt x="1430" y="115"/>
                  </a:lnTo>
                  <a:lnTo>
                    <a:pt x="1421" y="120"/>
                  </a:lnTo>
                  <a:lnTo>
                    <a:pt x="1411" y="123"/>
                  </a:lnTo>
                  <a:lnTo>
                    <a:pt x="1401" y="125"/>
                  </a:lnTo>
                  <a:lnTo>
                    <a:pt x="1392" y="125"/>
                  </a:lnTo>
                  <a:lnTo>
                    <a:pt x="1380" y="123"/>
                  </a:lnTo>
                  <a:lnTo>
                    <a:pt x="1368" y="120"/>
                  </a:lnTo>
                  <a:lnTo>
                    <a:pt x="1357" y="114"/>
                  </a:lnTo>
                  <a:lnTo>
                    <a:pt x="1347" y="108"/>
                  </a:lnTo>
                  <a:lnTo>
                    <a:pt x="1338" y="100"/>
                  </a:lnTo>
                  <a:lnTo>
                    <a:pt x="1329" y="92"/>
                  </a:lnTo>
                  <a:lnTo>
                    <a:pt x="1320" y="82"/>
                  </a:lnTo>
                  <a:lnTo>
                    <a:pt x="1314" y="72"/>
                  </a:lnTo>
                  <a:lnTo>
                    <a:pt x="1304" y="58"/>
                  </a:lnTo>
                  <a:lnTo>
                    <a:pt x="1298" y="42"/>
                  </a:lnTo>
                  <a:lnTo>
                    <a:pt x="1292" y="28"/>
                  </a:lnTo>
                  <a:lnTo>
                    <a:pt x="1287" y="15"/>
                  </a:lnTo>
                  <a:lnTo>
                    <a:pt x="1284" y="10"/>
                  </a:lnTo>
                  <a:lnTo>
                    <a:pt x="1279" y="5"/>
                  </a:lnTo>
                  <a:lnTo>
                    <a:pt x="1276" y="2"/>
                  </a:lnTo>
                  <a:lnTo>
                    <a:pt x="1271" y="0"/>
                  </a:lnTo>
                  <a:lnTo>
                    <a:pt x="1265" y="0"/>
                  </a:lnTo>
                  <a:lnTo>
                    <a:pt x="1259" y="1"/>
                  </a:lnTo>
                  <a:lnTo>
                    <a:pt x="1251" y="3"/>
                  </a:lnTo>
                  <a:lnTo>
                    <a:pt x="1243" y="9"/>
                  </a:lnTo>
                  <a:lnTo>
                    <a:pt x="1237" y="13"/>
                  </a:lnTo>
                  <a:lnTo>
                    <a:pt x="1233" y="18"/>
                  </a:lnTo>
                  <a:lnTo>
                    <a:pt x="1230" y="26"/>
                  </a:lnTo>
                  <a:lnTo>
                    <a:pt x="1228" y="33"/>
                  </a:lnTo>
                  <a:lnTo>
                    <a:pt x="1224" y="51"/>
                  </a:lnTo>
                  <a:lnTo>
                    <a:pt x="1221" y="68"/>
                  </a:lnTo>
                  <a:lnTo>
                    <a:pt x="1219" y="76"/>
                  </a:lnTo>
                  <a:lnTo>
                    <a:pt x="1217" y="82"/>
                  </a:lnTo>
                  <a:lnTo>
                    <a:pt x="1212" y="88"/>
                  </a:lnTo>
                  <a:lnTo>
                    <a:pt x="1208" y="93"/>
                  </a:lnTo>
                  <a:lnTo>
                    <a:pt x="1205" y="94"/>
                  </a:lnTo>
                  <a:lnTo>
                    <a:pt x="1202" y="95"/>
                  </a:lnTo>
                  <a:lnTo>
                    <a:pt x="1197" y="96"/>
                  </a:lnTo>
                  <a:lnTo>
                    <a:pt x="1193" y="96"/>
                  </a:lnTo>
                  <a:lnTo>
                    <a:pt x="1183" y="95"/>
                  </a:lnTo>
                  <a:lnTo>
                    <a:pt x="1171" y="91"/>
                  </a:lnTo>
                  <a:lnTo>
                    <a:pt x="1161" y="86"/>
                  </a:lnTo>
                  <a:lnTo>
                    <a:pt x="1152" y="84"/>
                  </a:lnTo>
                  <a:lnTo>
                    <a:pt x="1144" y="82"/>
                  </a:lnTo>
                  <a:lnTo>
                    <a:pt x="1139" y="82"/>
                  </a:lnTo>
                  <a:lnTo>
                    <a:pt x="1134" y="82"/>
                  </a:lnTo>
                  <a:lnTo>
                    <a:pt x="1129" y="83"/>
                  </a:lnTo>
                  <a:lnTo>
                    <a:pt x="1126" y="85"/>
                  </a:lnTo>
                  <a:lnTo>
                    <a:pt x="1124" y="88"/>
                  </a:lnTo>
                  <a:lnTo>
                    <a:pt x="1122" y="92"/>
                  </a:lnTo>
                  <a:lnTo>
                    <a:pt x="1122" y="96"/>
                  </a:lnTo>
                  <a:lnTo>
                    <a:pt x="1121" y="100"/>
                  </a:lnTo>
                  <a:lnTo>
                    <a:pt x="1121" y="106"/>
                  </a:lnTo>
                  <a:lnTo>
                    <a:pt x="1122" y="119"/>
                  </a:lnTo>
                  <a:lnTo>
                    <a:pt x="1124" y="132"/>
                  </a:lnTo>
                  <a:lnTo>
                    <a:pt x="1127" y="137"/>
                  </a:lnTo>
                  <a:lnTo>
                    <a:pt x="1130" y="142"/>
                  </a:lnTo>
                  <a:lnTo>
                    <a:pt x="1134" y="149"/>
                  </a:lnTo>
                  <a:lnTo>
                    <a:pt x="1137" y="157"/>
                  </a:lnTo>
                  <a:lnTo>
                    <a:pt x="1142" y="173"/>
                  </a:lnTo>
                  <a:lnTo>
                    <a:pt x="1147" y="190"/>
                  </a:lnTo>
                  <a:lnTo>
                    <a:pt x="1150" y="208"/>
                  </a:lnTo>
                  <a:lnTo>
                    <a:pt x="1152" y="226"/>
                  </a:lnTo>
                  <a:lnTo>
                    <a:pt x="1152" y="234"/>
                  </a:lnTo>
                  <a:lnTo>
                    <a:pt x="1151" y="241"/>
                  </a:lnTo>
                  <a:lnTo>
                    <a:pt x="1151" y="248"/>
                  </a:lnTo>
                  <a:lnTo>
                    <a:pt x="1149" y="254"/>
                  </a:lnTo>
                  <a:lnTo>
                    <a:pt x="1147" y="261"/>
                  </a:lnTo>
                  <a:lnTo>
                    <a:pt x="1142" y="269"/>
                  </a:lnTo>
                  <a:lnTo>
                    <a:pt x="1138" y="275"/>
                  </a:lnTo>
                  <a:lnTo>
                    <a:pt x="1132" y="282"/>
                  </a:lnTo>
                  <a:lnTo>
                    <a:pt x="1121" y="294"/>
                  </a:lnTo>
                  <a:lnTo>
                    <a:pt x="1108" y="306"/>
                  </a:lnTo>
                  <a:lnTo>
                    <a:pt x="1095" y="317"/>
                  </a:lnTo>
                  <a:lnTo>
                    <a:pt x="1083" y="329"/>
                  </a:lnTo>
                  <a:lnTo>
                    <a:pt x="1077" y="336"/>
                  </a:lnTo>
                  <a:lnTo>
                    <a:pt x="1073" y="342"/>
                  </a:lnTo>
                  <a:lnTo>
                    <a:pt x="1069" y="349"/>
                  </a:lnTo>
                  <a:lnTo>
                    <a:pt x="1065" y="356"/>
                  </a:lnTo>
                  <a:lnTo>
                    <a:pt x="1061" y="370"/>
                  </a:lnTo>
                  <a:lnTo>
                    <a:pt x="1057" y="381"/>
                  </a:lnTo>
                  <a:lnTo>
                    <a:pt x="1053" y="389"/>
                  </a:lnTo>
                  <a:lnTo>
                    <a:pt x="1047" y="394"/>
                  </a:lnTo>
                  <a:lnTo>
                    <a:pt x="1041" y="398"/>
                  </a:lnTo>
                  <a:lnTo>
                    <a:pt x="1032" y="400"/>
                  </a:lnTo>
                  <a:lnTo>
                    <a:pt x="1020" y="401"/>
                  </a:lnTo>
                  <a:lnTo>
                    <a:pt x="1006" y="402"/>
                  </a:lnTo>
                  <a:lnTo>
                    <a:pt x="999" y="402"/>
                  </a:lnTo>
                  <a:lnTo>
                    <a:pt x="993" y="404"/>
                  </a:lnTo>
                  <a:lnTo>
                    <a:pt x="989" y="406"/>
                  </a:lnTo>
                  <a:lnTo>
                    <a:pt x="984" y="410"/>
                  </a:lnTo>
                  <a:lnTo>
                    <a:pt x="982" y="415"/>
                  </a:lnTo>
                  <a:lnTo>
                    <a:pt x="980" y="420"/>
                  </a:lnTo>
                  <a:lnTo>
                    <a:pt x="979" y="425"/>
                  </a:lnTo>
                  <a:lnTo>
                    <a:pt x="979" y="432"/>
                  </a:lnTo>
                  <a:lnTo>
                    <a:pt x="979" y="445"/>
                  </a:lnTo>
                  <a:lnTo>
                    <a:pt x="982" y="458"/>
                  </a:lnTo>
                  <a:lnTo>
                    <a:pt x="986" y="471"/>
                  </a:lnTo>
                  <a:lnTo>
                    <a:pt x="991" y="483"/>
                  </a:lnTo>
                  <a:lnTo>
                    <a:pt x="1007" y="506"/>
                  </a:lnTo>
                  <a:lnTo>
                    <a:pt x="1024" y="530"/>
                  </a:lnTo>
                  <a:lnTo>
                    <a:pt x="1027" y="536"/>
                  </a:lnTo>
                  <a:lnTo>
                    <a:pt x="1027" y="541"/>
                  </a:lnTo>
                  <a:lnTo>
                    <a:pt x="1027" y="545"/>
                  </a:lnTo>
                  <a:lnTo>
                    <a:pt x="1023" y="550"/>
                  </a:lnTo>
                  <a:lnTo>
                    <a:pt x="1019" y="554"/>
                  </a:lnTo>
                  <a:lnTo>
                    <a:pt x="1011" y="556"/>
                  </a:lnTo>
                  <a:lnTo>
                    <a:pt x="1002" y="558"/>
                  </a:lnTo>
                  <a:lnTo>
                    <a:pt x="989" y="560"/>
                  </a:lnTo>
                  <a:lnTo>
                    <a:pt x="980" y="560"/>
                  </a:lnTo>
                  <a:lnTo>
                    <a:pt x="972" y="560"/>
                  </a:lnTo>
                  <a:lnTo>
                    <a:pt x="964" y="559"/>
                  </a:lnTo>
                  <a:lnTo>
                    <a:pt x="956" y="557"/>
                  </a:lnTo>
                  <a:lnTo>
                    <a:pt x="942" y="550"/>
                  </a:lnTo>
                  <a:lnTo>
                    <a:pt x="925" y="540"/>
                  </a:lnTo>
                  <a:lnTo>
                    <a:pt x="921" y="537"/>
                  </a:lnTo>
                  <a:lnTo>
                    <a:pt x="915" y="536"/>
                  </a:lnTo>
                  <a:lnTo>
                    <a:pt x="911" y="537"/>
                  </a:lnTo>
                  <a:lnTo>
                    <a:pt x="907" y="538"/>
                  </a:lnTo>
                  <a:lnTo>
                    <a:pt x="903" y="540"/>
                  </a:lnTo>
                  <a:lnTo>
                    <a:pt x="900" y="544"/>
                  </a:lnTo>
                  <a:lnTo>
                    <a:pt x="897" y="549"/>
                  </a:lnTo>
                  <a:lnTo>
                    <a:pt x="894" y="553"/>
                  </a:lnTo>
                  <a:lnTo>
                    <a:pt x="885" y="576"/>
                  </a:lnTo>
                  <a:lnTo>
                    <a:pt x="879" y="595"/>
                  </a:lnTo>
                  <a:lnTo>
                    <a:pt x="878" y="608"/>
                  </a:lnTo>
                  <a:lnTo>
                    <a:pt x="876" y="621"/>
                  </a:lnTo>
                  <a:lnTo>
                    <a:pt x="876" y="627"/>
                  </a:lnTo>
                  <a:lnTo>
                    <a:pt x="875" y="633"/>
                  </a:lnTo>
                  <a:lnTo>
                    <a:pt x="873" y="639"/>
                  </a:lnTo>
                  <a:lnTo>
                    <a:pt x="871" y="646"/>
                  </a:lnTo>
                  <a:lnTo>
                    <a:pt x="866" y="654"/>
                  </a:lnTo>
                  <a:lnTo>
                    <a:pt x="858" y="663"/>
                  </a:lnTo>
                  <a:lnTo>
                    <a:pt x="851" y="672"/>
                  </a:lnTo>
                  <a:lnTo>
                    <a:pt x="845" y="679"/>
                  </a:lnTo>
                  <a:lnTo>
                    <a:pt x="845" y="694"/>
                  </a:lnTo>
                  <a:lnTo>
                    <a:pt x="846" y="712"/>
                  </a:lnTo>
                  <a:lnTo>
                    <a:pt x="845" y="715"/>
                  </a:lnTo>
                  <a:lnTo>
                    <a:pt x="844" y="718"/>
                  </a:lnTo>
                  <a:lnTo>
                    <a:pt x="842" y="721"/>
                  </a:lnTo>
                  <a:lnTo>
                    <a:pt x="839" y="725"/>
                  </a:lnTo>
                  <a:lnTo>
                    <a:pt x="834" y="726"/>
                  </a:lnTo>
                  <a:lnTo>
                    <a:pt x="829" y="727"/>
                  </a:lnTo>
                  <a:lnTo>
                    <a:pt x="822" y="728"/>
                  </a:lnTo>
                  <a:lnTo>
                    <a:pt x="814" y="727"/>
                  </a:lnTo>
                  <a:lnTo>
                    <a:pt x="789" y="724"/>
                  </a:lnTo>
                  <a:lnTo>
                    <a:pt x="763" y="719"/>
                  </a:lnTo>
                  <a:lnTo>
                    <a:pt x="738" y="715"/>
                  </a:lnTo>
                  <a:lnTo>
                    <a:pt x="712" y="712"/>
                  </a:lnTo>
                  <a:lnTo>
                    <a:pt x="686" y="708"/>
                  </a:lnTo>
                  <a:lnTo>
                    <a:pt x="660" y="707"/>
                  </a:lnTo>
                  <a:lnTo>
                    <a:pt x="634" y="707"/>
                  </a:lnTo>
                  <a:lnTo>
                    <a:pt x="610" y="708"/>
                  </a:lnTo>
                  <a:lnTo>
                    <a:pt x="600" y="711"/>
                  </a:lnTo>
                  <a:lnTo>
                    <a:pt x="593" y="712"/>
                  </a:lnTo>
                  <a:lnTo>
                    <a:pt x="588" y="715"/>
                  </a:lnTo>
                  <a:lnTo>
                    <a:pt x="585" y="718"/>
                  </a:lnTo>
                  <a:lnTo>
                    <a:pt x="583" y="722"/>
                  </a:lnTo>
                  <a:lnTo>
                    <a:pt x="583" y="728"/>
                  </a:lnTo>
                  <a:lnTo>
                    <a:pt x="584" y="734"/>
                  </a:lnTo>
                  <a:lnTo>
                    <a:pt x="586" y="743"/>
                  </a:lnTo>
                  <a:lnTo>
                    <a:pt x="590" y="749"/>
                  </a:lnTo>
                  <a:lnTo>
                    <a:pt x="594" y="756"/>
                  </a:lnTo>
                  <a:lnTo>
                    <a:pt x="600" y="760"/>
                  </a:lnTo>
                  <a:lnTo>
                    <a:pt x="605" y="763"/>
                  </a:lnTo>
                  <a:lnTo>
                    <a:pt x="619" y="768"/>
                  </a:lnTo>
                  <a:lnTo>
                    <a:pt x="633" y="772"/>
                  </a:lnTo>
                  <a:lnTo>
                    <a:pt x="661" y="794"/>
                  </a:lnTo>
                  <a:lnTo>
                    <a:pt x="691" y="816"/>
                  </a:lnTo>
                  <a:lnTo>
                    <a:pt x="705" y="827"/>
                  </a:lnTo>
                  <a:lnTo>
                    <a:pt x="720" y="838"/>
                  </a:lnTo>
                  <a:lnTo>
                    <a:pt x="735" y="848"/>
                  </a:lnTo>
                  <a:lnTo>
                    <a:pt x="750" y="855"/>
                  </a:lnTo>
                  <a:lnTo>
                    <a:pt x="759" y="860"/>
                  </a:lnTo>
                  <a:lnTo>
                    <a:pt x="766" y="865"/>
                  </a:lnTo>
                  <a:lnTo>
                    <a:pt x="773" y="870"/>
                  </a:lnTo>
                  <a:lnTo>
                    <a:pt x="778" y="877"/>
                  </a:lnTo>
                  <a:lnTo>
                    <a:pt x="784" y="884"/>
                  </a:lnTo>
                  <a:lnTo>
                    <a:pt x="787" y="892"/>
                  </a:lnTo>
                  <a:lnTo>
                    <a:pt x="790" y="900"/>
                  </a:lnTo>
                  <a:lnTo>
                    <a:pt x="793" y="907"/>
                  </a:lnTo>
                  <a:lnTo>
                    <a:pt x="797" y="924"/>
                  </a:lnTo>
                  <a:lnTo>
                    <a:pt x="799" y="942"/>
                  </a:lnTo>
                  <a:lnTo>
                    <a:pt x="800" y="960"/>
                  </a:lnTo>
                  <a:lnTo>
                    <a:pt x="800" y="977"/>
                  </a:lnTo>
                  <a:lnTo>
                    <a:pt x="801" y="990"/>
                  </a:lnTo>
                  <a:lnTo>
                    <a:pt x="803" y="1001"/>
                  </a:lnTo>
                  <a:lnTo>
                    <a:pt x="807" y="1012"/>
                  </a:lnTo>
                  <a:lnTo>
                    <a:pt x="812" y="1022"/>
                  </a:lnTo>
                  <a:lnTo>
                    <a:pt x="824" y="1039"/>
                  </a:lnTo>
                  <a:lnTo>
                    <a:pt x="839" y="1058"/>
                  </a:lnTo>
                  <a:lnTo>
                    <a:pt x="848" y="1071"/>
                  </a:lnTo>
                  <a:lnTo>
                    <a:pt x="857" y="1084"/>
                  </a:lnTo>
                  <a:lnTo>
                    <a:pt x="865" y="1097"/>
                  </a:lnTo>
                  <a:lnTo>
                    <a:pt x="872" y="1111"/>
                  </a:lnTo>
                  <a:lnTo>
                    <a:pt x="878" y="1125"/>
                  </a:lnTo>
                  <a:lnTo>
                    <a:pt x="882" y="1140"/>
                  </a:lnTo>
                  <a:lnTo>
                    <a:pt x="885" y="1156"/>
                  </a:lnTo>
                  <a:lnTo>
                    <a:pt x="886" y="1173"/>
                  </a:lnTo>
                  <a:lnTo>
                    <a:pt x="884" y="1198"/>
                  </a:lnTo>
                  <a:lnTo>
                    <a:pt x="882" y="1229"/>
                  </a:lnTo>
                  <a:lnTo>
                    <a:pt x="882" y="1245"/>
                  </a:lnTo>
                  <a:lnTo>
                    <a:pt x="882" y="1260"/>
                  </a:lnTo>
                  <a:lnTo>
                    <a:pt x="883" y="1272"/>
                  </a:lnTo>
                  <a:lnTo>
                    <a:pt x="885" y="1283"/>
                  </a:lnTo>
                  <a:lnTo>
                    <a:pt x="902" y="1285"/>
                  </a:lnTo>
                  <a:lnTo>
                    <a:pt x="921" y="1287"/>
                  </a:lnTo>
                  <a:lnTo>
                    <a:pt x="938" y="1288"/>
                  </a:lnTo>
                  <a:lnTo>
                    <a:pt x="956" y="1293"/>
                  </a:lnTo>
                  <a:lnTo>
                    <a:pt x="980" y="1301"/>
                  </a:lnTo>
                  <a:lnTo>
                    <a:pt x="1000" y="1310"/>
                  </a:lnTo>
                  <a:lnTo>
                    <a:pt x="1009" y="1313"/>
                  </a:lnTo>
                  <a:lnTo>
                    <a:pt x="1020" y="1316"/>
                  </a:lnTo>
                  <a:lnTo>
                    <a:pt x="1033" y="1319"/>
                  </a:lnTo>
                  <a:lnTo>
                    <a:pt x="1048" y="1319"/>
                  </a:lnTo>
                  <a:lnTo>
                    <a:pt x="1061" y="1319"/>
                  </a:lnTo>
                  <a:lnTo>
                    <a:pt x="1081" y="1318"/>
                  </a:lnTo>
                  <a:lnTo>
                    <a:pt x="1090" y="1318"/>
                  </a:lnTo>
                  <a:lnTo>
                    <a:pt x="1099" y="1318"/>
                  </a:lnTo>
                  <a:lnTo>
                    <a:pt x="1105" y="1318"/>
                  </a:lnTo>
                  <a:lnTo>
                    <a:pt x="1108" y="1319"/>
                  </a:lnTo>
                  <a:lnTo>
                    <a:pt x="1110" y="1321"/>
                  </a:lnTo>
                  <a:lnTo>
                    <a:pt x="1112" y="1323"/>
                  </a:lnTo>
                  <a:lnTo>
                    <a:pt x="1114" y="1327"/>
                  </a:lnTo>
                  <a:lnTo>
                    <a:pt x="1115" y="1333"/>
                  </a:lnTo>
                  <a:lnTo>
                    <a:pt x="1117" y="1346"/>
                  </a:lnTo>
                  <a:lnTo>
                    <a:pt x="1118" y="1361"/>
                  </a:lnTo>
                  <a:lnTo>
                    <a:pt x="1120" y="1390"/>
                  </a:lnTo>
                  <a:lnTo>
                    <a:pt x="1118" y="1409"/>
                  </a:lnTo>
                  <a:lnTo>
                    <a:pt x="1113" y="1413"/>
                  </a:lnTo>
                  <a:lnTo>
                    <a:pt x="1110" y="1418"/>
                  </a:lnTo>
                  <a:lnTo>
                    <a:pt x="1108" y="1424"/>
                  </a:lnTo>
                  <a:lnTo>
                    <a:pt x="1107" y="1431"/>
                  </a:lnTo>
                  <a:lnTo>
                    <a:pt x="1108" y="1437"/>
                  </a:lnTo>
                  <a:lnTo>
                    <a:pt x="1110" y="1444"/>
                  </a:lnTo>
                  <a:lnTo>
                    <a:pt x="1113" y="1449"/>
                  </a:lnTo>
                  <a:lnTo>
                    <a:pt x="1117" y="1454"/>
                  </a:lnTo>
                  <a:lnTo>
                    <a:pt x="1125" y="1459"/>
                  </a:lnTo>
                  <a:lnTo>
                    <a:pt x="1129" y="1464"/>
                  </a:lnTo>
                  <a:lnTo>
                    <a:pt x="1131" y="1469"/>
                  </a:lnTo>
                  <a:lnTo>
                    <a:pt x="1131" y="1473"/>
                  </a:lnTo>
                  <a:lnTo>
                    <a:pt x="1129" y="1484"/>
                  </a:lnTo>
                  <a:lnTo>
                    <a:pt x="1127" y="1500"/>
                  </a:lnTo>
                  <a:lnTo>
                    <a:pt x="1128" y="1508"/>
                  </a:lnTo>
                  <a:lnTo>
                    <a:pt x="1128" y="1514"/>
                  </a:lnTo>
                  <a:lnTo>
                    <a:pt x="1129" y="1519"/>
                  </a:lnTo>
                  <a:lnTo>
                    <a:pt x="1131" y="1524"/>
                  </a:lnTo>
                  <a:lnTo>
                    <a:pt x="1136" y="1535"/>
                  </a:lnTo>
                  <a:lnTo>
                    <a:pt x="1141" y="1545"/>
                  </a:lnTo>
                  <a:lnTo>
                    <a:pt x="1143" y="1551"/>
                  </a:lnTo>
                  <a:lnTo>
                    <a:pt x="1144" y="1555"/>
                  </a:lnTo>
                  <a:lnTo>
                    <a:pt x="1145" y="1558"/>
                  </a:lnTo>
                  <a:lnTo>
                    <a:pt x="1144" y="1562"/>
                  </a:lnTo>
                  <a:lnTo>
                    <a:pt x="1143" y="1563"/>
                  </a:lnTo>
                  <a:lnTo>
                    <a:pt x="1141" y="1564"/>
                  </a:lnTo>
                  <a:lnTo>
                    <a:pt x="1138" y="1565"/>
                  </a:lnTo>
                  <a:lnTo>
                    <a:pt x="1135" y="1565"/>
                  </a:lnTo>
                  <a:lnTo>
                    <a:pt x="1126" y="1564"/>
                  </a:lnTo>
                  <a:lnTo>
                    <a:pt x="1115" y="1561"/>
                  </a:lnTo>
                  <a:lnTo>
                    <a:pt x="1104" y="1556"/>
                  </a:lnTo>
                  <a:lnTo>
                    <a:pt x="1091" y="1552"/>
                  </a:lnTo>
                  <a:lnTo>
                    <a:pt x="1078" y="1548"/>
                  </a:lnTo>
                  <a:lnTo>
                    <a:pt x="1065" y="1543"/>
                  </a:lnTo>
                  <a:lnTo>
                    <a:pt x="1054" y="1540"/>
                  </a:lnTo>
                  <a:lnTo>
                    <a:pt x="1042" y="1538"/>
                  </a:lnTo>
                  <a:lnTo>
                    <a:pt x="1036" y="1538"/>
                  </a:lnTo>
                  <a:lnTo>
                    <a:pt x="1031" y="1539"/>
                  </a:lnTo>
                  <a:lnTo>
                    <a:pt x="1027" y="1539"/>
                  </a:lnTo>
                  <a:lnTo>
                    <a:pt x="1023" y="1541"/>
                  </a:lnTo>
                  <a:lnTo>
                    <a:pt x="1020" y="1543"/>
                  </a:lnTo>
                  <a:lnTo>
                    <a:pt x="1017" y="1546"/>
                  </a:lnTo>
                  <a:lnTo>
                    <a:pt x="1015" y="1550"/>
                  </a:lnTo>
                  <a:lnTo>
                    <a:pt x="1014" y="1555"/>
                  </a:lnTo>
                  <a:lnTo>
                    <a:pt x="1011" y="1579"/>
                  </a:lnTo>
                  <a:lnTo>
                    <a:pt x="1008" y="1613"/>
                  </a:lnTo>
                  <a:lnTo>
                    <a:pt x="1005" y="1631"/>
                  </a:lnTo>
                  <a:lnTo>
                    <a:pt x="1002" y="1645"/>
                  </a:lnTo>
                  <a:lnTo>
                    <a:pt x="1000" y="1650"/>
                  </a:lnTo>
                  <a:lnTo>
                    <a:pt x="996" y="1654"/>
                  </a:lnTo>
                  <a:lnTo>
                    <a:pt x="993" y="1657"/>
                  </a:lnTo>
                  <a:lnTo>
                    <a:pt x="990" y="1658"/>
                  </a:lnTo>
                  <a:lnTo>
                    <a:pt x="979" y="1658"/>
                  </a:lnTo>
                  <a:lnTo>
                    <a:pt x="963" y="1658"/>
                  </a:lnTo>
                  <a:lnTo>
                    <a:pt x="948" y="1658"/>
                  </a:lnTo>
                  <a:lnTo>
                    <a:pt x="937" y="1656"/>
                  </a:lnTo>
                  <a:lnTo>
                    <a:pt x="935" y="1639"/>
                  </a:lnTo>
                  <a:lnTo>
                    <a:pt x="932" y="1623"/>
                  </a:lnTo>
                  <a:lnTo>
                    <a:pt x="930" y="1606"/>
                  </a:lnTo>
                  <a:lnTo>
                    <a:pt x="930" y="1591"/>
                  </a:lnTo>
                  <a:lnTo>
                    <a:pt x="929" y="1586"/>
                  </a:lnTo>
                  <a:lnTo>
                    <a:pt x="928" y="1584"/>
                  </a:lnTo>
                  <a:lnTo>
                    <a:pt x="926" y="1582"/>
                  </a:lnTo>
                  <a:lnTo>
                    <a:pt x="923" y="1580"/>
                  </a:lnTo>
                  <a:lnTo>
                    <a:pt x="915" y="1579"/>
                  </a:lnTo>
                  <a:lnTo>
                    <a:pt x="906" y="1580"/>
                  </a:lnTo>
                  <a:lnTo>
                    <a:pt x="896" y="1581"/>
                  </a:lnTo>
                  <a:lnTo>
                    <a:pt x="886" y="1581"/>
                  </a:lnTo>
                  <a:lnTo>
                    <a:pt x="882" y="1581"/>
                  </a:lnTo>
                  <a:lnTo>
                    <a:pt x="878" y="1581"/>
                  </a:lnTo>
                  <a:lnTo>
                    <a:pt x="874" y="1581"/>
                  </a:lnTo>
                  <a:lnTo>
                    <a:pt x="872" y="1579"/>
                  </a:lnTo>
                  <a:lnTo>
                    <a:pt x="868" y="1576"/>
                  </a:lnTo>
                  <a:lnTo>
                    <a:pt x="866" y="1571"/>
                  </a:lnTo>
                  <a:lnTo>
                    <a:pt x="865" y="1567"/>
                  </a:lnTo>
                  <a:lnTo>
                    <a:pt x="866" y="1563"/>
                  </a:lnTo>
                  <a:lnTo>
                    <a:pt x="867" y="1558"/>
                  </a:lnTo>
                  <a:lnTo>
                    <a:pt x="869" y="1554"/>
                  </a:lnTo>
                  <a:lnTo>
                    <a:pt x="873" y="1552"/>
                  </a:lnTo>
                  <a:lnTo>
                    <a:pt x="878" y="1551"/>
                  </a:lnTo>
                  <a:lnTo>
                    <a:pt x="895" y="1548"/>
                  </a:lnTo>
                  <a:lnTo>
                    <a:pt x="910" y="1545"/>
                  </a:lnTo>
                  <a:lnTo>
                    <a:pt x="925" y="1542"/>
                  </a:lnTo>
                  <a:lnTo>
                    <a:pt x="941" y="1537"/>
                  </a:lnTo>
                  <a:lnTo>
                    <a:pt x="961" y="1530"/>
                  </a:lnTo>
                  <a:lnTo>
                    <a:pt x="983" y="1524"/>
                  </a:lnTo>
                  <a:lnTo>
                    <a:pt x="994" y="1519"/>
                  </a:lnTo>
                  <a:lnTo>
                    <a:pt x="1004" y="1515"/>
                  </a:lnTo>
                  <a:lnTo>
                    <a:pt x="1014" y="1511"/>
                  </a:lnTo>
                  <a:lnTo>
                    <a:pt x="1021" y="1505"/>
                  </a:lnTo>
                  <a:lnTo>
                    <a:pt x="1026" y="1501"/>
                  </a:lnTo>
                  <a:lnTo>
                    <a:pt x="1030" y="1496"/>
                  </a:lnTo>
                  <a:lnTo>
                    <a:pt x="1032" y="1489"/>
                  </a:lnTo>
                  <a:lnTo>
                    <a:pt x="1034" y="1482"/>
                  </a:lnTo>
                  <a:lnTo>
                    <a:pt x="1035" y="1474"/>
                  </a:lnTo>
                  <a:lnTo>
                    <a:pt x="1035" y="1465"/>
                  </a:lnTo>
                  <a:lnTo>
                    <a:pt x="1034" y="1457"/>
                  </a:lnTo>
                  <a:lnTo>
                    <a:pt x="1033" y="1448"/>
                  </a:lnTo>
                  <a:lnTo>
                    <a:pt x="1027" y="1414"/>
                  </a:lnTo>
                  <a:lnTo>
                    <a:pt x="1020" y="1387"/>
                  </a:lnTo>
                  <a:lnTo>
                    <a:pt x="1018" y="1380"/>
                  </a:lnTo>
                  <a:lnTo>
                    <a:pt x="1015" y="1374"/>
                  </a:lnTo>
                  <a:lnTo>
                    <a:pt x="1009" y="1367"/>
                  </a:lnTo>
                  <a:lnTo>
                    <a:pt x="1002" y="1360"/>
                  </a:lnTo>
                  <a:lnTo>
                    <a:pt x="994" y="1352"/>
                  </a:lnTo>
                  <a:lnTo>
                    <a:pt x="986" y="1346"/>
                  </a:lnTo>
                  <a:lnTo>
                    <a:pt x="976" y="1338"/>
                  </a:lnTo>
                  <a:lnTo>
                    <a:pt x="965" y="1332"/>
                  </a:lnTo>
                  <a:lnTo>
                    <a:pt x="945" y="1320"/>
                  </a:lnTo>
                  <a:lnTo>
                    <a:pt x="924" y="1310"/>
                  </a:lnTo>
                  <a:lnTo>
                    <a:pt x="915" y="1307"/>
                  </a:lnTo>
                  <a:lnTo>
                    <a:pt x="907" y="1303"/>
                  </a:lnTo>
                  <a:lnTo>
                    <a:pt x="898" y="1302"/>
                  </a:lnTo>
                  <a:lnTo>
                    <a:pt x="892" y="1301"/>
                  </a:lnTo>
                  <a:lnTo>
                    <a:pt x="887" y="1309"/>
                  </a:lnTo>
                  <a:lnTo>
                    <a:pt x="883" y="1318"/>
                  </a:lnTo>
                  <a:lnTo>
                    <a:pt x="880" y="1327"/>
                  </a:lnTo>
                  <a:lnTo>
                    <a:pt x="878" y="1337"/>
                  </a:lnTo>
                  <a:lnTo>
                    <a:pt x="874" y="1356"/>
                  </a:lnTo>
                  <a:lnTo>
                    <a:pt x="871" y="1378"/>
                  </a:lnTo>
                  <a:lnTo>
                    <a:pt x="870" y="1388"/>
                  </a:lnTo>
                  <a:lnTo>
                    <a:pt x="868" y="1399"/>
                  </a:lnTo>
                  <a:lnTo>
                    <a:pt x="866" y="1408"/>
                  </a:lnTo>
                  <a:lnTo>
                    <a:pt x="861" y="1418"/>
                  </a:lnTo>
                  <a:lnTo>
                    <a:pt x="857" y="1428"/>
                  </a:lnTo>
                  <a:lnTo>
                    <a:pt x="852" y="1436"/>
                  </a:lnTo>
                  <a:lnTo>
                    <a:pt x="845" y="1444"/>
                  </a:lnTo>
                  <a:lnTo>
                    <a:pt x="838" y="1451"/>
                  </a:lnTo>
                  <a:lnTo>
                    <a:pt x="827" y="1469"/>
                  </a:lnTo>
                  <a:lnTo>
                    <a:pt x="819" y="1486"/>
                  </a:lnTo>
                  <a:lnTo>
                    <a:pt x="812" y="1504"/>
                  </a:lnTo>
                  <a:lnTo>
                    <a:pt x="803" y="1523"/>
                  </a:lnTo>
                  <a:lnTo>
                    <a:pt x="799" y="1531"/>
                  </a:lnTo>
                  <a:lnTo>
                    <a:pt x="794" y="1539"/>
                  </a:lnTo>
                  <a:lnTo>
                    <a:pt x="789" y="1548"/>
                  </a:lnTo>
                  <a:lnTo>
                    <a:pt x="784" y="1555"/>
                  </a:lnTo>
                  <a:lnTo>
                    <a:pt x="777" y="1563"/>
                  </a:lnTo>
                  <a:lnTo>
                    <a:pt x="769" y="1569"/>
                  </a:lnTo>
                  <a:lnTo>
                    <a:pt x="761" y="1576"/>
                  </a:lnTo>
                  <a:lnTo>
                    <a:pt x="751" y="1581"/>
                  </a:lnTo>
                  <a:lnTo>
                    <a:pt x="739" y="1586"/>
                  </a:lnTo>
                  <a:lnTo>
                    <a:pt x="728" y="1590"/>
                  </a:lnTo>
                  <a:lnTo>
                    <a:pt x="719" y="1592"/>
                  </a:lnTo>
                  <a:lnTo>
                    <a:pt x="708" y="1593"/>
                  </a:lnTo>
                  <a:lnTo>
                    <a:pt x="698" y="1592"/>
                  </a:lnTo>
                  <a:lnTo>
                    <a:pt x="688" y="1590"/>
                  </a:lnTo>
                  <a:lnTo>
                    <a:pt x="679" y="1586"/>
                  </a:lnTo>
                  <a:lnTo>
                    <a:pt x="669" y="1582"/>
                  </a:lnTo>
                  <a:lnTo>
                    <a:pt x="632" y="1562"/>
                  </a:lnTo>
                  <a:lnTo>
                    <a:pt x="596" y="1540"/>
                  </a:lnTo>
                  <a:lnTo>
                    <a:pt x="589" y="1538"/>
                  </a:lnTo>
                  <a:lnTo>
                    <a:pt x="582" y="1538"/>
                  </a:lnTo>
                  <a:lnTo>
                    <a:pt x="574" y="1538"/>
                  </a:lnTo>
                  <a:lnTo>
                    <a:pt x="566" y="1540"/>
                  </a:lnTo>
                  <a:lnTo>
                    <a:pt x="548" y="1546"/>
                  </a:lnTo>
                  <a:lnTo>
                    <a:pt x="530" y="1555"/>
                  </a:lnTo>
                  <a:lnTo>
                    <a:pt x="493" y="1577"/>
                  </a:lnTo>
                  <a:lnTo>
                    <a:pt x="465" y="1593"/>
                  </a:lnTo>
                  <a:lnTo>
                    <a:pt x="456" y="1599"/>
                  </a:lnTo>
                  <a:lnTo>
                    <a:pt x="448" y="1606"/>
                  </a:lnTo>
                  <a:lnTo>
                    <a:pt x="441" y="1612"/>
                  </a:lnTo>
                  <a:lnTo>
                    <a:pt x="436" y="1619"/>
                  </a:lnTo>
                  <a:lnTo>
                    <a:pt x="431" y="1626"/>
                  </a:lnTo>
                  <a:lnTo>
                    <a:pt x="427" y="1634"/>
                  </a:lnTo>
                  <a:lnTo>
                    <a:pt x="425" y="1642"/>
                  </a:lnTo>
                  <a:lnTo>
                    <a:pt x="424" y="1650"/>
                  </a:lnTo>
                  <a:lnTo>
                    <a:pt x="423" y="1658"/>
                  </a:lnTo>
                  <a:lnTo>
                    <a:pt x="423" y="1666"/>
                  </a:lnTo>
                  <a:lnTo>
                    <a:pt x="423" y="1676"/>
                  </a:lnTo>
                  <a:lnTo>
                    <a:pt x="424" y="1685"/>
                  </a:lnTo>
                  <a:lnTo>
                    <a:pt x="427" y="1704"/>
                  </a:lnTo>
                  <a:lnTo>
                    <a:pt x="430" y="1725"/>
                  </a:lnTo>
                  <a:lnTo>
                    <a:pt x="434" y="1742"/>
                  </a:lnTo>
                  <a:lnTo>
                    <a:pt x="435" y="1756"/>
                  </a:lnTo>
                  <a:lnTo>
                    <a:pt x="434" y="1766"/>
                  </a:lnTo>
                  <a:lnTo>
                    <a:pt x="431" y="1773"/>
                  </a:lnTo>
                  <a:lnTo>
                    <a:pt x="430" y="1777"/>
                  </a:lnTo>
                  <a:lnTo>
                    <a:pt x="428" y="1778"/>
                  </a:lnTo>
                  <a:lnTo>
                    <a:pt x="427" y="1780"/>
                  </a:lnTo>
                  <a:lnTo>
                    <a:pt x="424" y="1780"/>
                  </a:lnTo>
                  <a:lnTo>
                    <a:pt x="418" y="1780"/>
                  </a:lnTo>
                  <a:lnTo>
                    <a:pt x="413" y="1779"/>
                  </a:lnTo>
                  <a:lnTo>
                    <a:pt x="405" y="1775"/>
                  </a:lnTo>
                  <a:lnTo>
                    <a:pt x="398" y="1770"/>
                  </a:lnTo>
                  <a:lnTo>
                    <a:pt x="390" y="1765"/>
                  </a:lnTo>
                  <a:lnTo>
                    <a:pt x="382" y="1758"/>
                  </a:lnTo>
                  <a:lnTo>
                    <a:pt x="365" y="1745"/>
                  </a:lnTo>
                  <a:lnTo>
                    <a:pt x="349" y="1733"/>
                  </a:lnTo>
                  <a:lnTo>
                    <a:pt x="341" y="1727"/>
                  </a:lnTo>
                  <a:lnTo>
                    <a:pt x="331" y="1723"/>
                  </a:lnTo>
                  <a:lnTo>
                    <a:pt x="323" y="1718"/>
                  </a:lnTo>
                  <a:lnTo>
                    <a:pt x="315" y="1716"/>
                  </a:lnTo>
                  <a:lnTo>
                    <a:pt x="307" y="1715"/>
                  </a:lnTo>
                  <a:lnTo>
                    <a:pt x="301" y="1715"/>
                  </a:lnTo>
                  <a:lnTo>
                    <a:pt x="293" y="1715"/>
                  </a:lnTo>
                  <a:lnTo>
                    <a:pt x="287" y="1716"/>
                  </a:lnTo>
                  <a:lnTo>
                    <a:pt x="281" y="1718"/>
                  </a:lnTo>
                  <a:lnTo>
                    <a:pt x="275" y="1721"/>
                  </a:lnTo>
                  <a:lnTo>
                    <a:pt x="269" y="1725"/>
                  </a:lnTo>
                  <a:lnTo>
                    <a:pt x="264" y="1728"/>
                  </a:lnTo>
                  <a:lnTo>
                    <a:pt x="254" y="1737"/>
                  </a:lnTo>
                  <a:lnTo>
                    <a:pt x="244" y="1746"/>
                  </a:lnTo>
                  <a:lnTo>
                    <a:pt x="235" y="1756"/>
                  </a:lnTo>
                  <a:lnTo>
                    <a:pt x="226" y="1765"/>
                  </a:lnTo>
                  <a:lnTo>
                    <a:pt x="216" y="1772"/>
                  </a:lnTo>
                  <a:lnTo>
                    <a:pt x="208" y="1779"/>
                  </a:lnTo>
                  <a:lnTo>
                    <a:pt x="202" y="1781"/>
                  </a:lnTo>
                  <a:lnTo>
                    <a:pt x="198" y="1782"/>
                  </a:lnTo>
                  <a:lnTo>
                    <a:pt x="193" y="1782"/>
                  </a:lnTo>
                  <a:lnTo>
                    <a:pt x="187" y="1782"/>
                  </a:lnTo>
                  <a:lnTo>
                    <a:pt x="182" y="1780"/>
                  </a:lnTo>
                  <a:lnTo>
                    <a:pt x="175" y="1778"/>
                  </a:lnTo>
                  <a:lnTo>
                    <a:pt x="170" y="1773"/>
                  </a:lnTo>
                  <a:lnTo>
                    <a:pt x="163" y="1769"/>
                  </a:lnTo>
                  <a:lnTo>
                    <a:pt x="156" y="1761"/>
                  </a:lnTo>
                  <a:lnTo>
                    <a:pt x="143" y="1751"/>
                  </a:lnTo>
                  <a:lnTo>
                    <a:pt x="128" y="1739"/>
                  </a:lnTo>
                  <a:lnTo>
                    <a:pt x="111" y="1727"/>
                  </a:lnTo>
                  <a:lnTo>
                    <a:pt x="102" y="1723"/>
                  </a:lnTo>
                  <a:lnTo>
                    <a:pt x="93" y="1718"/>
                  </a:lnTo>
                  <a:lnTo>
                    <a:pt x="86" y="1716"/>
                  </a:lnTo>
                  <a:lnTo>
                    <a:pt x="78" y="1715"/>
                  </a:lnTo>
                  <a:lnTo>
                    <a:pt x="75" y="1716"/>
                  </a:lnTo>
                  <a:lnTo>
                    <a:pt x="72" y="1716"/>
                  </a:lnTo>
                  <a:lnTo>
                    <a:pt x="69" y="1718"/>
                  </a:lnTo>
                  <a:lnTo>
                    <a:pt x="66" y="1719"/>
                  </a:lnTo>
                  <a:lnTo>
                    <a:pt x="64" y="1723"/>
                  </a:lnTo>
                  <a:lnTo>
                    <a:pt x="62" y="1726"/>
                  </a:lnTo>
                  <a:lnTo>
                    <a:pt x="61" y="1729"/>
                  </a:lnTo>
                  <a:lnTo>
                    <a:pt x="60" y="1733"/>
                  </a:lnTo>
                  <a:lnTo>
                    <a:pt x="52" y="1765"/>
                  </a:lnTo>
                  <a:lnTo>
                    <a:pt x="45" y="1805"/>
                  </a:lnTo>
                  <a:lnTo>
                    <a:pt x="44" y="1815"/>
                  </a:lnTo>
                  <a:lnTo>
                    <a:pt x="42" y="1824"/>
                  </a:lnTo>
                  <a:lnTo>
                    <a:pt x="42" y="1834"/>
                  </a:lnTo>
                  <a:lnTo>
                    <a:pt x="44" y="1841"/>
                  </a:lnTo>
                  <a:lnTo>
                    <a:pt x="46" y="1849"/>
                  </a:lnTo>
                  <a:lnTo>
                    <a:pt x="49" y="1855"/>
                  </a:lnTo>
                  <a:lnTo>
                    <a:pt x="53" y="1861"/>
                  </a:lnTo>
                  <a:lnTo>
                    <a:pt x="59" y="1864"/>
                  </a:lnTo>
                  <a:lnTo>
                    <a:pt x="75" y="1872"/>
                  </a:lnTo>
                  <a:lnTo>
                    <a:pt x="92" y="1881"/>
                  </a:lnTo>
                  <a:lnTo>
                    <a:pt x="101" y="1887"/>
                  </a:lnTo>
                  <a:lnTo>
                    <a:pt x="108" y="1892"/>
                  </a:lnTo>
                  <a:lnTo>
                    <a:pt x="116" y="1897"/>
                  </a:lnTo>
                  <a:lnTo>
                    <a:pt x="122" y="1904"/>
                  </a:lnTo>
                  <a:lnTo>
                    <a:pt x="128" y="1910"/>
                  </a:lnTo>
                  <a:lnTo>
                    <a:pt x="131" y="1918"/>
                  </a:lnTo>
                  <a:lnTo>
                    <a:pt x="133" y="1924"/>
                  </a:lnTo>
                  <a:lnTo>
                    <a:pt x="133" y="1932"/>
                  </a:lnTo>
                  <a:lnTo>
                    <a:pt x="132" y="1936"/>
                  </a:lnTo>
                  <a:lnTo>
                    <a:pt x="130" y="1940"/>
                  </a:lnTo>
                  <a:lnTo>
                    <a:pt x="128" y="1944"/>
                  </a:lnTo>
                  <a:lnTo>
                    <a:pt x="126" y="1947"/>
                  </a:lnTo>
                  <a:lnTo>
                    <a:pt x="118" y="1955"/>
                  </a:lnTo>
                  <a:lnTo>
                    <a:pt x="107" y="1962"/>
                  </a:lnTo>
                  <a:lnTo>
                    <a:pt x="94" y="1980"/>
                  </a:lnTo>
                  <a:lnTo>
                    <a:pt x="82" y="1995"/>
                  </a:lnTo>
                  <a:lnTo>
                    <a:pt x="77" y="2002"/>
                  </a:lnTo>
                  <a:lnTo>
                    <a:pt x="72" y="2011"/>
                  </a:lnTo>
                  <a:lnTo>
                    <a:pt x="67" y="2020"/>
                  </a:lnTo>
                  <a:lnTo>
                    <a:pt x="63" y="2030"/>
                  </a:lnTo>
                  <a:lnTo>
                    <a:pt x="60" y="2042"/>
                  </a:lnTo>
                  <a:lnTo>
                    <a:pt x="58" y="2054"/>
                  </a:lnTo>
                  <a:lnTo>
                    <a:pt x="55" y="2066"/>
                  </a:lnTo>
                  <a:lnTo>
                    <a:pt x="52" y="2077"/>
                  </a:lnTo>
                  <a:lnTo>
                    <a:pt x="49" y="2084"/>
                  </a:lnTo>
                  <a:lnTo>
                    <a:pt x="46" y="2091"/>
                  </a:lnTo>
                  <a:lnTo>
                    <a:pt x="44" y="2095"/>
                  </a:lnTo>
                  <a:lnTo>
                    <a:pt x="40" y="2099"/>
                  </a:lnTo>
                  <a:lnTo>
                    <a:pt x="37" y="2103"/>
                  </a:lnTo>
                  <a:lnTo>
                    <a:pt x="34" y="2104"/>
                  </a:lnTo>
                  <a:lnTo>
                    <a:pt x="32" y="2105"/>
                  </a:lnTo>
                  <a:lnTo>
                    <a:pt x="28" y="2105"/>
                  </a:lnTo>
                  <a:lnTo>
                    <a:pt x="26" y="2104"/>
                  </a:lnTo>
                  <a:lnTo>
                    <a:pt x="24" y="2102"/>
                  </a:lnTo>
                  <a:lnTo>
                    <a:pt x="22" y="2098"/>
                  </a:lnTo>
                  <a:lnTo>
                    <a:pt x="21" y="2094"/>
                  </a:lnTo>
                  <a:lnTo>
                    <a:pt x="18" y="2084"/>
                  </a:lnTo>
                  <a:lnTo>
                    <a:pt x="17" y="2070"/>
                  </a:lnTo>
                  <a:lnTo>
                    <a:pt x="19" y="2057"/>
                  </a:lnTo>
                  <a:lnTo>
                    <a:pt x="21" y="2043"/>
                  </a:lnTo>
                  <a:lnTo>
                    <a:pt x="24" y="2030"/>
                  </a:lnTo>
                  <a:lnTo>
                    <a:pt x="25" y="2017"/>
                  </a:lnTo>
                  <a:lnTo>
                    <a:pt x="21" y="2018"/>
                  </a:lnTo>
                  <a:lnTo>
                    <a:pt x="17" y="2021"/>
                  </a:lnTo>
                  <a:lnTo>
                    <a:pt x="13" y="2026"/>
                  </a:lnTo>
                  <a:lnTo>
                    <a:pt x="10" y="2031"/>
                  </a:lnTo>
                  <a:lnTo>
                    <a:pt x="8" y="2039"/>
                  </a:lnTo>
                  <a:lnTo>
                    <a:pt x="5" y="2047"/>
                  </a:lnTo>
                  <a:lnTo>
                    <a:pt x="4" y="2055"/>
                  </a:lnTo>
                  <a:lnTo>
                    <a:pt x="1" y="2065"/>
                  </a:lnTo>
                  <a:lnTo>
                    <a:pt x="0" y="2083"/>
                  </a:lnTo>
                  <a:lnTo>
                    <a:pt x="0" y="2099"/>
                  </a:lnTo>
                  <a:lnTo>
                    <a:pt x="0" y="2107"/>
                  </a:lnTo>
                  <a:lnTo>
                    <a:pt x="1" y="2113"/>
                  </a:lnTo>
                  <a:lnTo>
                    <a:pt x="4" y="2118"/>
                  </a:lnTo>
                  <a:lnTo>
                    <a:pt x="6" y="2121"/>
                  </a:lnTo>
                  <a:lnTo>
                    <a:pt x="10" y="2124"/>
                  </a:lnTo>
                  <a:lnTo>
                    <a:pt x="14" y="2126"/>
                  </a:lnTo>
                  <a:lnTo>
                    <a:pt x="18" y="2129"/>
                  </a:lnTo>
                  <a:lnTo>
                    <a:pt x="22" y="2130"/>
                  </a:lnTo>
                  <a:lnTo>
                    <a:pt x="31" y="2131"/>
                  </a:lnTo>
                  <a:lnTo>
                    <a:pt x="38" y="2130"/>
                  </a:lnTo>
                  <a:lnTo>
                    <a:pt x="54" y="2124"/>
                  </a:lnTo>
                  <a:lnTo>
                    <a:pt x="69" y="2117"/>
                  </a:lnTo>
                  <a:lnTo>
                    <a:pt x="76" y="2115"/>
                  </a:lnTo>
                  <a:lnTo>
                    <a:pt x="84" y="2112"/>
                  </a:lnTo>
                  <a:lnTo>
                    <a:pt x="89" y="2112"/>
                  </a:lnTo>
                  <a:lnTo>
                    <a:pt x="95" y="2115"/>
                  </a:lnTo>
                  <a:lnTo>
                    <a:pt x="98" y="2117"/>
                  </a:lnTo>
                  <a:lnTo>
                    <a:pt x="101" y="2119"/>
                  </a:lnTo>
                  <a:lnTo>
                    <a:pt x="103" y="2122"/>
                  </a:lnTo>
                  <a:lnTo>
                    <a:pt x="105" y="2126"/>
                  </a:lnTo>
                  <a:lnTo>
                    <a:pt x="109" y="2137"/>
                  </a:lnTo>
                  <a:lnTo>
                    <a:pt x="113" y="2152"/>
                  </a:lnTo>
                  <a:lnTo>
                    <a:pt x="120" y="2185"/>
                  </a:lnTo>
                  <a:lnTo>
                    <a:pt x="126" y="2216"/>
                  </a:lnTo>
                  <a:lnTo>
                    <a:pt x="126" y="2224"/>
                  </a:lnTo>
                  <a:lnTo>
                    <a:pt x="126" y="2231"/>
                  </a:lnTo>
                  <a:lnTo>
                    <a:pt x="123" y="2239"/>
                  </a:lnTo>
                  <a:lnTo>
                    <a:pt x="122" y="2246"/>
                  </a:lnTo>
                  <a:lnTo>
                    <a:pt x="119" y="2254"/>
                  </a:lnTo>
                  <a:lnTo>
                    <a:pt x="115" y="2261"/>
                  </a:lnTo>
                  <a:lnTo>
                    <a:pt x="111" y="2269"/>
                  </a:lnTo>
                  <a:lnTo>
                    <a:pt x="104" y="2275"/>
                  </a:lnTo>
                  <a:lnTo>
                    <a:pt x="90" y="2288"/>
                  </a:lnTo>
                  <a:lnTo>
                    <a:pt x="77" y="2300"/>
                  </a:lnTo>
                  <a:lnTo>
                    <a:pt x="72" y="2308"/>
                  </a:lnTo>
                  <a:lnTo>
                    <a:pt x="68" y="2315"/>
                  </a:lnTo>
                  <a:lnTo>
                    <a:pt x="67" y="2320"/>
                  </a:lnTo>
                  <a:lnTo>
                    <a:pt x="67" y="2324"/>
                  </a:lnTo>
                  <a:lnTo>
                    <a:pt x="67" y="2328"/>
                  </a:lnTo>
                  <a:lnTo>
                    <a:pt x="68" y="2334"/>
                  </a:lnTo>
                  <a:lnTo>
                    <a:pt x="72" y="2342"/>
                  </a:lnTo>
                  <a:lnTo>
                    <a:pt x="76" y="2351"/>
                  </a:lnTo>
                  <a:lnTo>
                    <a:pt x="81" y="2360"/>
                  </a:lnTo>
                  <a:lnTo>
                    <a:pt x="89" y="2368"/>
                  </a:lnTo>
                  <a:lnTo>
                    <a:pt x="104" y="2385"/>
                  </a:lnTo>
                  <a:lnTo>
                    <a:pt x="118" y="2399"/>
                  </a:lnTo>
                  <a:lnTo>
                    <a:pt x="130" y="2410"/>
                  </a:lnTo>
                  <a:lnTo>
                    <a:pt x="141" y="2423"/>
                  </a:lnTo>
                  <a:lnTo>
                    <a:pt x="150" y="2436"/>
                  </a:lnTo>
                  <a:lnTo>
                    <a:pt x="158" y="2449"/>
                  </a:lnTo>
                  <a:lnTo>
                    <a:pt x="165" y="2463"/>
                  </a:lnTo>
                  <a:lnTo>
                    <a:pt x="170" y="2476"/>
                  </a:lnTo>
                  <a:lnTo>
                    <a:pt x="173" y="2490"/>
                  </a:lnTo>
                  <a:lnTo>
                    <a:pt x="176" y="2504"/>
                  </a:lnTo>
                  <a:lnTo>
                    <a:pt x="178" y="2520"/>
                  </a:lnTo>
                  <a:lnTo>
                    <a:pt x="179" y="2534"/>
                  </a:lnTo>
                  <a:lnTo>
                    <a:pt x="178" y="2549"/>
                  </a:lnTo>
                  <a:lnTo>
                    <a:pt x="176" y="2563"/>
                  </a:lnTo>
                  <a:lnTo>
                    <a:pt x="173" y="2593"/>
                  </a:lnTo>
                  <a:lnTo>
                    <a:pt x="167" y="2624"/>
                  </a:lnTo>
                  <a:lnTo>
                    <a:pt x="166" y="2633"/>
                  </a:lnTo>
                  <a:lnTo>
                    <a:pt x="165" y="2642"/>
                  </a:lnTo>
                  <a:lnTo>
                    <a:pt x="166" y="2650"/>
                  </a:lnTo>
                  <a:lnTo>
                    <a:pt x="166" y="2659"/>
                  </a:lnTo>
                  <a:lnTo>
                    <a:pt x="166" y="2666"/>
                  </a:lnTo>
                  <a:lnTo>
                    <a:pt x="165" y="2675"/>
                  </a:lnTo>
                  <a:lnTo>
                    <a:pt x="162" y="2684"/>
                  </a:lnTo>
                  <a:lnTo>
                    <a:pt x="159" y="2693"/>
                  </a:lnTo>
                  <a:lnTo>
                    <a:pt x="152" y="2710"/>
                  </a:lnTo>
                  <a:lnTo>
                    <a:pt x="149" y="2720"/>
                  </a:lnTo>
                  <a:lnTo>
                    <a:pt x="148" y="2725"/>
                  </a:lnTo>
                  <a:lnTo>
                    <a:pt x="149" y="2728"/>
                  </a:lnTo>
                  <a:lnTo>
                    <a:pt x="150" y="2731"/>
                  </a:lnTo>
                  <a:lnTo>
                    <a:pt x="153" y="2734"/>
                  </a:lnTo>
                  <a:lnTo>
                    <a:pt x="165" y="2744"/>
                  </a:lnTo>
                  <a:lnTo>
                    <a:pt x="184" y="2763"/>
                  </a:lnTo>
                  <a:lnTo>
                    <a:pt x="189" y="2771"/>
                  </a:lnTo>
                  <a:lnTo>
                    <a:pt x="194" y="2782"/>
                  </a:lnTo>
                  <a:lnTo>
                    <a:pt x="197" y="2795"/>
                  </a:lnTo>
                  <a:lnTo>
                    <a:pt x="198" y="2808"/>
                  </a:lnTo>
                  <a:lnTo>
                    <a:pt x="199" y="2822"/>
                  </a:lnTo>
                  <a:lnTo>
                    <a:pt x="198" y="2836"/>
                  </a:lnTo>
                  <a:lnTo>
                    <a:pt x="197" y="2850"/>
                  </a:lnTo>
                  <a:lnTo>
                    <a:pt x="195" y="2864"/>
                  </a:lnTo>
                  <a:lnTo>
                    <a:pt x="195" y="2864"/>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grpSp>
          <p:nvGrpSpPr>
            <p:cNvPr id="12" name="Group 11">
              <a:extLst>
                <a:ext uri="{FF2B5EF4-FFF2-40B4-BE49-F238E27FC236}">
                  <a16:creationId xmlns:a16="http://schemas.microsoft.com/office/drawing/2014/main" id="{16D9A661-C251-4C49-B321-1EA8E0227B97}"/>
                </a:ext>
              </a:extLst>
            </p:cNvPr>
            <p:cNvGrpSpPr/>
            <p:nvPr/>
          </p:nvGrpSpPr>
          <p:grpSpPr>
            <a:xfrm>
              <a:off x="1777611" y="1711085"/>
              <a:ext cx="1733624" cy="2815899"/>
              <a:chOff x="3661675" y="1411981"/>
              <a:chExt cx="1359726" cy="2520710"/>
            </a:xfrm>
            <a:solidFill>
              <a:schemeClr val="accent4"/>
            </a:solidFill>
            <a:effectLst>
              <a:outerShdw blurRad="50800" dist="38100" dir="13500000" algn="br" rotWithShape="0">
                <a:prstClr val="black">
                  <a:alpha val="40000"/>
                </a:prstClr>
              </a:outerShdw>
            </a:effectLst>
            <a:scene3d>
              <a:camera prst="orthographicFront">
                <a:rot lat="0" lon="0" rev="0"/>
              </a:camera>
              <a:lightRig rig="contrasting" dir="t">
                <a:rot lat="0" lon="0" rev="1500000"/>
              </a:lightRig>
            </a:scene3d>
          </p:grpSpPr>
          <p:sp>
            <p:nvSpPr>
              <p:cNvPr id="23" name="Freeform 26">
                <a:extLst>
                  <a:ext uri="{FF2B5EF4-FFF2-40B4-BE49-F238E27FC236}">
                    <a16:creationId xmlns:a16="http://schemas.microsoft.com/office/drawing/2014/main" id="{5F70B221-B6BA-4BDB-B3DE-55E26CAF491E}"/>
                  </a:ext>
                </a:extLst>
              </p:cNvPr>
              <p:cNvSpPr>
                <a:spLocks/>
              </p:cNvSpPr>
              <p:nvPr/>
            </p:nvSpPr>
            <p:spPr bwMode="auto">
              <a:xfrm>
                <a:off x="4491933" y="1623899"/>
                <a:ext cx="24307" cy="14298"/>
              </a:xfrm>
              <a:custGeom>
                <a:avLst/>
                <a:gdLst>
                  <a:gd name="T0" fmla="*/ 64 w 69"/>
                  <a:gd name="T1" fmla="*/ 0 h 40"/>
                  <a:gd name="T2" fmla="*/ 57 w 69"/>
                  <a:gd name="T3" fmla="*/ 2 h 40"/>
                  <a:gd name="T4" fmla="*/ 50 w 69"/>
                  <a:gd name="T5" fmla="*/ 4 h 40"/>
                  <a:gd name="T6" fmla="*/ 44 w 69"/>
                  <a:gd name="T7" fmla="*/ 4 h 40"/>
                  <a:gd name="T8" fmla="*/ 37 w 69"/>
                  <a:gd name="T9" fmla="*/ 5 h 40"/>
                  <a:gd name="T10" fmla="*/ 29 w 69"/>
                  <a:gd name="T11" fmla="*/ 5 h 40"/>
                  <a:gd name="T12" fmla="*/ 20 w 69"/>
                  <a:gd name="T13" fmla="*/ 6 h 40"/>
                  <a:gd name="T14" fmla="*/ 15 w 69"/>
                  <a:gd name="T15" fmla="*/ 6 h 40"/>
                  <a:gd name="T16" fmla="*/ 10 w 69"/>
                  <a:gd name="T17" fmla="*/ 5 h 40"/>
                  <a:gd name="T18" fmla="*/ 8 w 69"/>
                  <a:gd name="T19" fmla="*/ 5 h 40"/>
                  <a:gd name="T20" fmla="*/ 7 w 69"/>
                  <a:gd name="T21" fmla="*/ 6 h 40"/>
                  <a:gd name="T22" fmla="*/ 5 w 69"/>
                  <a:gd name="T23" fmla="*/ 7 h 40"/>
                  <a:gd name="T24" fmla="*/ 3 w 69"/>
                  <a:gd name="T25" fmla="*/ 9 h 40"/>
                  <a:gd name="T26" fmla="*/ 1 w 69"/>
                  <a:gd name="T27" fmla="*/ 15 h 40"/>
                  <a:gd name="T28" fmla="*/ 0 w 69"/>
                  <a:gd name="T29" fmla="*/ 21 h 40"/>
                  <a:gd name="T30" fmla="*/ 1 w 69"/>
                  <a:gd name="T31" fmla="*/ 26 h 40"/>
                  <a:gd name="T32" fmla="*/ 4 w 69"/>
                  <a:gd name="T33" fmla="*/ 31 h 40"/>
                  <a:gd name="T34" fmla="*/ 8 w 69"/>
                  <a:gd name="T35" fmla="*/ 34 h 40"/>
                  <a:gd name="T36" fmla="*/ 13 w 69"/>
                  <a:gd name="T37" fmla="*/ 37 h 40"/>
                  <a:gd name="T38" fmla="*/ 18 w 69"/>
                  <a:gd name="T39" fmla="*/ 40 h 40"/>
                  <a:gd name="T40" fmla="*/ 23 w 69"/>
                  <a:gd name="T41" fmla="*/ 40 h 40"/>
                  <a:gd name="T42" fmla="*/ 28 w 69"/>
                  <a:gd name="T43" fmla="*/ 40 h 40"/>
                  <a:gd name="T44" fmla="*/ 31 w 69"/>
                  <a:gd name="T45" fmla="*/ 38 h 40"/>
                  <a:gd name="T46" fmla="*/ 34 w 69"/>
                  <a:gd name="T47" fmla="*/ 36 h 40"/>
                  <a:gd name="T48" fmla="*/ 36 w 69"/>
                  <a:gd name="T49" fmla="*/ 35 h 40"/>
                  <a:gd name="T50" fmla="*/ 42 w 69"/>
                  <a:gd name="T51" fmla="*/ 31 h 40"/>
                  <a:gd name="T52" fmla="*/ 47 w 69"/>
                  <a:gd name="T53" fmla="*/ 28 h 40"/>
                  <a:gd name="T54" fmla="*/ 55 w 69"/>
                  <a:gd name="T55" fmla="*/ 23 h 40"/>
                  <a:gd name="T56" fmla="*/ 60 w 69"/>
                  <a:gd name="T57" fmla="*/ 20 h 40"/>
                  <a:gd name="T58" fmla="*/ 65 w 69"/>
                  <a:gd name="T59" fmla="*/ 15 h 40"/>
                  <a:gd name="T60" fmla="*/ 69 w 69"/>
                  <a:gd name="T61" fmla="*/ 8 h 40"/>
                  <a:gd name="T62" fmla="*/ 64 w 69"/>
                  <a:gd name="T6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40">
                    <a:moveTo>
                      <a:pt x="64" y="0"/>
                    </a:moveTo>
                    <a:lnTo>
                      <a:pt x="57" y="2"/>
                    </a:lnTo>
                    <a:lnTo>
                      <a:pt x="50" y="4"/>
                    </a:lnTo>
                    <a:lnTo>
                      <a:pt x="44" y="4"/>
                    </a:lnTo>
                    <a:lnTo>
                      <a:pt x="37" y="5"/>
                    </a:lnTo>
                    <a:lnTo>
                      <a:pt x="29" y="5"/>
                    </a:lnTo>
                    <a:lnTo>
                      <a:pt x="20" y="6"/>
                    </a:lnTo>
                    <a:lnTo>
                      <a:pt x="15" y="6"/>
                    </a:lnTo>
                    <a:lnTo>
                      <a:pt x="10" y="5"/>
                    </a:lnTo>
                    <a:lnTo>
                      <a:pt x="8" y="5"/>
                    </a:lnTo>
                    <a:lnTo>
                      <a:pt x="7" y="6"/>
                    </a:lnTo>
                    <a:lnTo>
                      <a:pt x="5" y="7"/>
                    </a:lnTo>
                    <a:lnTo>
                      <a:pt x="3" y="9"/>
                    </a:lnTo>
                    <a:lnTo>
                      <a:pt x="1" y="15"/>
                    </a:lnTo>
                    <a:lnTo>
                      <a:pt x="0" y="21"/>
                    </a:lnTo>
                    <a:lnTo>
                      <a:pt x="1" y="26"/>
                    </a:lnTo>
                    <a:lnTo>
                      <a:pt x="4" y="31"/>
                    </a:lnTo>
                    <a:lnTo>
                      <a:pt x="8" y="34"/>
                    </a:lnTo>
                    <a:lnTo>
                      <a:pt x="13" y="37"/>
                    </a:lnTo>
                    <a:lnTo>
                      <a:pt x="18" y="40"/>
                    </a:lnTo>
                    <a:lnTo>
                      <a:pt x="23" y="40"/>
                    </a:lnTo>
                    <a:lnTo>
                      <a:pt x="28" y="40"/>
                    </a:lnTo>
                    <a:lnTo>
                      <a:pt x="31" y="38"/>
                    </a:lnTo>
                    <a:lnTo>
                      <a:pt x="34" y="36"/>
                    </a:lnTo>
                    <a:lnTo>
                      <a:pt x="36" y="35"/>
                    </a:lnTo>
                    <a:lnTo>
                      <a:pt x="42" y="31"/>
                    </a:lnTo>
                    <a:lnTo>
                      <a:pt x="47" y="28"/>
                    </a:lnTo>
                    <a:lnTo>
                      <a:pt x="55" y="23"/>
                    </a:lnTo>
                    <a:lnTo>
                      <a:pt x="60" y="20"/>
                    </a:lnTo>
                    <a:lnTo>
                      <a:pt x="65" y="15"/>
                    </a:lnTo>
                    <a:lnTo>
                      <a:pt x="69" y="8"/>
                    </a:lnTo>
                    <a:lnTo>
                      <a:pt x="64" y="0"/>
                    </a:lnTo>
                    <a:close/>
                  </a:path>
                </a:pathLst>
              </a:custGeom>
              <a:grpFill/>
              <a:ln w="3175">
                <a:noFill/>
                <a:prstDash val="solid"/>
                <a:round/>
                <a:headEnd/>
                <a:tailEnd/>
              </a:ln>
              <a:effectLst>
                <a:outerShdw blurRad="149987" dist="250190" dir="8460000" algn="ctr">
                  <a:srgbClr val="000000">
                    <a:alpha val="28000"/>
                  </a:srgbClr>
                </a:outerShdw>
              </a:effectLst>
              <a:sp3d prstMaterial="metal">
                <a:bevelT w="88900" h="88900"/>
              </a:sp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24" name="Freeform 27">
                <a:extLst>
                  <a:ext uri="{FF2B5EF4-FFF2-40B4-BE49-F238E27FC236}">
                    <a16:creationId xmlns:a16="http://schemas.microsoft.com/office/drawing/2014/main" id="{4C640261-8C1E-4BE4-A257-6EC7677EFA85}"/>
                  </a:ext>
                </a:extLst>
              </p:cNvPr>
              <p:cNvSpPr>
                <a:spLocks/>
              </p:cNvSpPr>
              <p:nvPr/>
            </p:nvSpPr>
            <p:spPr bwMode="auto">
              <a:xfrm>
                <a:off x="3661675" y="1411981"/>
                <a:ext cx="1359726" cy="2520710"/>
              </a:xfrm>
              <a:custGeom>
                <a:avLst/>
                <a:gdLst>
                  <a:gd name="T0" fmla="*/ 50 w 3805"/>
                  <a:gd name="T1" fmla="*/ 3099 h 7050"/>
                  <a:gd name="T2" fmla="*/ 116 w 3805"/>
                  <a:gd name="T3" fmla="*/ 2993 h 7050"/>
                  <a:gd name="T4" fmla="*/ 396 w 3805"/>
                  <a:gd name="T5" fmla="*/ 3049 h 7050"/>
                  <a:gd name="T6" fmla="*/ 361 w 3805"/>
                  <a:gd name="T7" fmla="*/ 2985 h 7050"/>
                  <a:gd name="T8" fmla="*/ 276 w 3805"/>
                  <a:gd name="T9" fmla="*/ 2984 h 7050"/>
                  <a:gd name="T10" fmla="*/ 134 w 3805"/>
                  <a:gd name="T11" fmla="*/ 2744 h 7050"/>
                  <a:gd name="T12" fmla="*/ 236 w 3805"/>
                  <a:gd name="T13" fmla="*/ 2173 h 7050"/>
                  <a:gd name="T14" fmla="*/ 714 w 3805"/>
                  <a:gd name="T15" fmla="*/ 2369 h 7050"/>
                  <a:gd name="T16" fmla="*/ 827 w 3805"/>
                  <a:gd name="T17" fmla="*/ 2305 h 7050"/>
                  <a:gd name="T18" fmla="*/ 746 w 3805"/>
                  <a:gd name="T19" fmla="*/ 2095 h 7050"/>
                  <a:gd name="T20" fmla="*/ 697 w 3805"/>
                  <a:gd name="T21" fmla="*/ 1840 h 7050"/>
                  <a:gd name="T22" fmla="*/ 647 w 3805"/>
                  <a:gd name="T23" fmla="*/ 1493 h 7050"/>
                  <a:gd name="T24" fmla="*/ 816 w 3805"/>
                  <a:gd name="T25" fmla="*/ 1251 h 7050"/>
                  <a:gd name="T26" fmla="*/ 979 w 3805"/>
                  <a:gd name="T27" fmla="*/ 1134 h 7050"/>
                  <a:gd name="T28" fmla="*/ 1073 w 3805"/>
                  <a:gd name="T29" fmla="*/ 1001 h 7050"/>
                  <a:gd name="T30" fmla="*/ 1211 w 3805"/>
                  <a:gd name="T31" fmla="*/ 1106 h 7050"/>
                  <a:gd name="T32" fmla="*/ 1444 w 3805"/>
                  <a:gd name="T33" fmla="*/ 1228 h 7050"/>
                  <a:gd name="T34" fmla="*/ 1640 w 3805"/>
                  <a:gd name="T35" fmla="*/ 1162 h 7050"/>
                  <a:gd name="T36" fmla="*/ 1545 w 3805"/>
                  <a:gd name="T37" fmla="*/ 1052 h 7050"/>
                  <a:gd name="T38" fmla="*/ 1464 w 3805"/>
                  <a:gd name="T39" fmla="*/ 995 h 7050"/>
                  <a:gd name="T40" fmla="*/ 1432 w 3805"/>
                  <a:gd name="T41" fmla="*/ 922 h 7050"/>
                  <a:gd name="T42" fmla="*/ 1280 w 3805"/>
                  <a:gd name="T43" fmla="*/ 919 h 7050"/>
                  <a:gd name="T44" fmla="*/ 1178 w 3805"/>
                  <a:gd name="T45" fmla="*/ 803 h 7050"/>
                  <a:gd name="T46" fmla="*/ 1104 w 3805"/>
                  <a:gd name="T47" fmla="*/ 658 h 7050"/>
                  <a:gd name="T48" fmla="*/ 1433 w 3805"/>
                  <a:gd name="T49" fmla="*/ 739 h 7050"/>
                  <a:gd name="T50" fmla="*/ 1700 w 3805"/>
                  <a:gd name="T51" fmla="*/ 718 h 7050"/>
                  <a:gd name="T52" fmla="*/ 2002 w 3805"/>
                  <a:gd name="T53" fmla="*/ 539 h 7050"/>
                  <a:gd name="T54" fmla="*/ 2100 w 3805"/>
                  <a:gd name="T55" fmla="*/ 348 h 7050"/>
                  <a:gd name="T56" fmla="*/ 2351 w 3805"/>
                  <a:gd name="T57" fmla="*/ 163 h 7050"/>
                  <a:gd name="T58" fmla="*/ 2496 w 3805"/>
                  <a:gd name="T59" fmla="*/ 138 h 7050"/>
                  <a:gd name="T60" fmla="*/ 2712 w 3805"/>
                  <a:gd name="T61" fmla="*/ 323 h 7050"/>
                  <a:gd name="T62" fmla="*/ 2868 w 3805"/>
                  <a:gd name="T63" fmla="*/ 787 h 7050"/>
                  <a:gd name="T64" fmla="*/ 3164 w 3805"/>
                  <a:gd name="T65" fmla="*/ 939 h 7050"/>
                  <a:gd name="T66" fmla="*/ 3489 w 3805"/>
                  <a:gd name="T67" fmla="*/ 931 h 7050"/>
                  <a:gd name="T68" fmla="*/ 3708 w 3805"/>
                  <a:gd name="T69" fmla="*/ 925 h 7050"/>
                  <a:gd name="T70" fmla="*/ 3775 w 3805"/>
                  <a:gd name="T71" fmla="*/ 1110 h 7050"/>
                  <a:gd name="T72" fmla="*/ 3685 w 3805"/>
                  <a:gd name="T73" fmla="*/ 3012 h 7050"/>
                  <a:gd name="T74" fmla="*/ 3491 w 3805"/>
                  <a:gd name="T75" fmla="*/ 3086 h 7050"/>
                  <a:gd name="T76" fmla="*/ 3572 w 3805"/>
                  <a:gd name="T77" fmla="*/ 3321 h 7050"/>
                  <a:gd name="T78" fmla="*/ 3415 w 3805"/>
                  <a:gd name="T79" fmla="*/ 3680 h 7050"/>
                  <a:gd name="T80" fmla="*/ 3178 w 3805"/>
                  <a:gd name="T81" fmla="*/ 4057 h 7050"/>
                  <a:gd name="T82" fmla="*/ 2997 w 3805"/>
                  <a:gd name="T83" fmla="*/ 4458 h 7050"/>
                  <a:gd name="T84" fmla="*/ 2936 w 3805"/>
                  <a:gd name="T85" fmla="*/ 4919 h 7050"/>
                  <a:gd name="T86" fmla="*/ 2788 w 3805"/>
                  <a:gd name="T87" fmla="*/ 5337 h 7050"/>
                  <a:gd name="T88" fmla="*/ 2574 w 3805"/>
                  <a:gd name="T89" fmla="*/ 5529 h 7050"/>
                  <a:gd name="T90" fmla="*/ 2463 w 3805"/>
                  <a:gd name="T91" fmla="*/ 5885 h 7050"/>
                  <a:gd name="T92" fmla="*/ 2503 w 3805"/>
                  <a:gd name="T93" fmla="*/ 6292 h 7050"/>
                  <a:gd name="T94" fmla="*/ 2422 w 3805"/>
                  <a:gd name="T95" fmla="*/ 6748 h 7050"/>
                  <a:gd name="T96" fmla="*/ 2074 w 3805"/>
                  <a:gd name="T97" fmla="*/ 7036 h 7050"/>
                  <a:gd name="T98" fmla="*/ 1827 w 3805"/>
                  <a:gd name="T99" fmla="*/ 6654 h 7050"/>
                  <a:gd name="T100" fmla="*/ 1910 w 3805"/>
                  <a:gd name="T101" fmla="*/ 6261 h 7050"/>
                  <a:gd name="T102" fmla="*/ 1759 w 3805"/>
                  <a:gd name="T103" fmla="*/ 5867 h 7050"/>
                  <a:gd name="T104" fmla="*/ 1796 w 3805"/>
                  <a:gd name="T105" fmla="*/ 5485 h 7050"/>
                  <a:gd name="T106" fmla="*/ 1921 w 3805"/>
                  <a:gd name="T107" fmla="*/ 5063 h 7050"/>
                  <a:gd name="T108" fmla="*/ 1880 w 3805"/>
                  <a:gd name="T109" fmla="*/ 4698 h 7050"/>
                  <a:gd name="T110" fmla="*/ 1680 w 3805"/>
                  <a:gd name="T111" fmla="*/ 4592 h 7050"/>
                  <a:gd name="T112" fmla="*/ 1590 w 3805"/>
                  <a:gd name="T113" fmla="*/ 4201 h 7050"/>
                  <a:gd name="T114" fmla="*/ 1637 w 3805"/>
                  <a:gd name="T115" fmla="*/ 3906 h 7050"/>
                  <a:gd name="T116" fmla="*/ 1184 w 3805"/>
                  <a:gd name="T117" fmla="*/ 3542 h 7050"/>
                  <a:gd name="T118" fmla="*/ 922 w 3805"/>
                  <a:gd name="T119" fmla="*/ 3520 h 7050"/>
                  <a:gd name="T120" fmla="*/ 493 w 3805"/>
                  <a:gd name="T121" fmla="*/ 3375 h 7050"/>
                  <a:gd name="T122" fmla="*/ 196 w 3805"/>
                  <a:gd name="T123" fmla="*/ 3380 h 7050"/>
                  <a:gd name="T124" fmla="*/ 22 w 3805"/>
                  <a:gd name="T125" fmla="*/ 3229 h 7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5" h="7050">
                    <a:moveTo>
                      <a:pt x="22" y="3229"/>
                    </a:moveTo>
                    <a:lnTo>
                      <a:pt x="27" y="3221"/>
                    </a:lnTo>
                    <a:lnTo>
                      <a:pt x="32" y="3212"/>
                    </a:lnTo>
                    <a:lnTo>
                      <a:pt x="34" y="3204"/>
                    </a:lnTo>
                    <a:lnTo>
                      <a:pt x="36" y="3196"/>
                    </a:lnTo>
                    <a:lnTo>
                      <a:pt x="36" y="3187"/>
                    </a:lnTo>
                    <a:lnTo>
                      <a:pt x="35" y="3180"/>
                    </a:lnTo>
                    <a:lnTo>
                      <a:pt x="32" y="3172"/>
                    </a:lnTo>
                    <a:lnTo>
                      <a:pt x="27" y="3166"/>
                    </a:lnTo>
                    <a:lnTo>
                      <a:pt x="16" y="3153"/>
                    </a:lnTo>
                    <a:lnTo>
                      <a:pt x="5" y="3136"/>
                    </a:lnTo>
                    <a:lnTo>
                      <a:pt x="2" y="3132"/>
                    </a:lnTo>
                    <a:lnTo>
                      <a:pt x="1" y="3128"/>
                    </a:lnTo>
                    <a:lnTo>
                      <a:pt x="0" y="3125"/>
                    </a:lnTo>
                    <a:lnTo>
                      <a:pt x="0" y="3120"/>
                    </a:lnTo>
                    <a:lnTo>
                      <a:pt x="1" y="3117"/>
                    </a:lnTo>
                    <a:lnTo>
                      <a:pt x="4" y="3114"/>
                    </a:lnTo>
                    <a:lnTo>
                      <a:pt x="7" y="3112"/>
                    </a:lnTo>
                    <a:lnTo>
                      <a:pt x="12" y="3109"/>
                    </a:lnTo>
                    <a:lnTo>
                      <a:pt x="31" y="3105"/>
                    </a:lnTo>
                    <a:lnTo>
                      <a:pt x="47" y="3101"/>
                    </a:lnTo>
                    <a:lnTo>
                      <a:pt x="50" y="3099"/>
                    </a:lnTo>
                    <a:lnTo>
                      <a:pt x="53" y="3096"/>
                    </a:lnTo>
                    <a:lnTo>
                      <a:pt x="56" y="3094"/>
                    </a:lnTo>
                    <a:lnTo>
                      <a:pt x="59" y="3091"/>
                    </a:lnTo>
                    <a:lnTo>
                      <a:pt x="60" y="3088"/>
                    </a:lnTo>
                    <a:lnTo>
                      <a:pt x="62" y="3083"/>
                    </a:lnTo>
                    <a:lnTo>
                      <a:pt x="62" y="3078"/>
                    </a:lnTo>
                    <a:lnTo>
                      <a:pt x="62" y="3072"/>
                    </a:lnTo>
                    <a:lnTo>
                      <a:pt x="62" y="3056"/>
                    </a:lnTo>
                    <a:lnTo>
                      <a:pt x="62" y="3044"/>
                    </a:lnTo>
                    <a:lnTo>
                      <a:pt x="63" y="3033"/>
                    </a:lnTo>
                    <a:lnTo>
                      <a:pt x="65" y="3023"/>
                    </a:lnTo>
                    <a:lnTo>
                      <a:pt x="67" y="3014"/>
                    </a:lnTo>
                    <a:lnTo>
                      <a:pt x="69" y="3007"/>
                    </a:lnTo>
                    <a:lnTo>
                      <a:pt x="73" y="3001"/>
                    </a:lnTo>
                    <a:lnTo>
                      <a:pt x="77" y="2997"/>
                    </a:lnTo>
                    <a:lnTo>
                      <a:pt x="81" y="2994"/>
                    </a:lnTo>
                    <a:lnTo>
                      <a:pt x="86" y="2991"/>
                    </a:lnTo>
                    <a:lnTo>
                      <a:pt x="91" y="2990"/>
                    </a:lnTo>
                    <a:lnTo>
                      <a:pt x="96" y="2990"/>
                    </a:lnTo>
                    <a:lnTo>
                      <a:pt x="103" y="2990"/>
                    </a:lnTo>
                    <a:lnTo>
                      <a:pt x="109" y="2991"/>
                    </a:lnTo>
                    <a:lnTo>
                      <a:pt x="116" y="2993"/>
                    </a:lnTo>
                    <a:lnTo>
                      <a:pt x="122" y="2995"/>
                    </a:lnTo>
                    <a:lnTo>
                      <a:pt x="153" y="3009"/>
                    </a:lnTo>
                    <a:lnTo>
                      <a:pt x="185" y="3026"/>
                    </a:lnTo>
                    <a:lnTo>
                      <a:pt x="201" y="3034"/>
                    </a:lnTo>
                    <a:lnTo>
                      <a:pt x="217" y="3041"/>
                    </a:lnTo>
                    <a:lnTo>
                      <a:pt x="234" y="3047"/>
                    </a:lnTo>
                    <a:lnTo>
                      <a:pt x="249" y="3050"/>
                    </a:lnTo>
                    <a:lnTo>
                      <a:pt x="255" y="3050"/>
                    </a:lnTo>
                    <a:lnTo>
                      <a:pt x="263" y="3050"/>
                    </a:lnTo>
                    <a:lnTo>
                      <a:pt x="270" y="3049"/>
                    </a:lnTo>
                    <a:lnTo>
                      <a:pt x="277" y="3047"/>
                    </a:lnTo>
                    <a:lnTo>
                      <a:pt x="291" y="3042"/>
                    </a:lnTo>
                    <a:lnTo>
                      <a:pt x="304" y="3037"/>
                    </a:lnTo>
                    <a:lnTo>
                      <a:pt x="318" y="3033"/>
                    </a:lnTo>
                    <a:lnTo>
                      <a:pt x="331" y="3029"/>
                    </a:lnTo>
                    <a:lnTo>
                      <a:pt x="336" y="3029"/>
                    </a:lnTo>
                    <a:lnTo>
                      <a:pt x="343" y="3029"/>
                    </a:lnTo>
                    <a:lnTo>
                      <a:pt x="349" y="3031"/>
                    </a:lnTo>
                    <a:lnTo>
                      <a:pt x="356" y="3034"/>
                    </a:lnTo>
                    <a:lnTo>
                      <a:pt x="370" y="3040"/>
                    </a:lnTo>
                    <a:lnTo>
                      <a:pt x="387" y="3047"/>
                    </a:lnTo>
                    <a:lnTo>
                      <a:pt x="396" y="3049"/>
                    </a:lnTo>
                    <a:lnTo>
                      <a:pt x="403" y="3048"/>
                    </a:lnTo>
                    <a:lnTo>
                      <a:pt x="406" y="3047"/>
                    </a:lnTo>
                    <a:lnTo>
                      <a:pt x="409" y="3045"/>
                    </a:lnTo>
                    <a:lnTo>
                      <a:pt x="411" y="3041"/>
                    </a:lnTo>
                    <a:lnTo>
                      <a:pt x="413" y="3037"/>
                    </a:lnTo>
                    <a:lnTo>
                      <a:pt x="414" y="3029"/>
                    </a:lnTo>
                    <a:lnTo>
                      <a:pt x="414" y="3023"/>
                    </a:lnTo>
                    <a:lnTo>
                      <a:pt x="414" y="3018"/>
                    </a:lnTo>
                    <a:lnTo>
                      <a:pt x="412" y="3014"/>
                    </a:lnTo>
                    <a:lnTo>
                      <a:pt x="410" y="3011"/>
                    </a:lnTo>
                    <a:lnTo>
                      <a:pt x="408" y="3010"/>
                    </a:lnTo>
                    <a:lnTo>
                      <a:pt x="403" y="3009"/>
                    </a:lnTo>
                    <a:lnTo>
                      <a:pt x="399" y="3009"/>
                    </a:lnTo>
                    <a:lnTo>
                      <a:pt x="390" y="3009"/>
                    </a:lnTo>
                    <a:lnTo>
                      <a:pt x="382" y="3009"/>
                    </a:lnTo>
                    <a:lnTo>
                      <a:pt x="377" y="3008"/>
                    </a:lnTo>
                    <a:lnTo>
                      <a:pt x="373" y="3007"/>
                    </a:lnTo>
                    <a:lnTo>
                      <a:pt x="369" y="3005"/>
                    </a:lnTo>
                    <a:lnTo>
                      <a:pt x="365" y="3002"/>
                    </a:lnTo>
                    <a:lnTo>
                      <a:pt x="363" y="2998"/>
                    </a:lnTo>
                    <a:lnTo>
                      <a:pt x="362" y="2993"/>
                    </a:lnTo>
                    <a:lnTo>
                      <a:pt x="361" y="2985"/>
                    </a:lnTo>
                    <a:lnTo>
                      <a:pt x="360" y="2978"/>
                    </a:lnTo>
                    <a:lnTo>
                      <a:pt x="359" y="2970"/>
                    </a:lnTo>
                    <a:lnTo>
                      <a:pt x="357" y="2963"/>
                    </a:lnTo>
                    <a:lnTo>
                      <a:pt x="354" y="2956"/>
                    </a:lnTo>
                    <a:lnTo>
                      <a:pt x="349" y="2951"/>
                    </a:lnTo>
                    <a:lnTo>
                      <a:pt x="343" y="2945"/>
                    </a:lnTo>
                    <a:lnTo>
                      <a:pt x="337" y="2943"/>
                    </a:lnTo>
                    <a:lnTo>
                      <a:pt x="332" y="2942"/>
                    </a:lnTo>
                    <a:lnTo>
                      <a:pt x="328" y="2943"/>
                    </a:lnTo>
                    <a:lnTo>
                      <a:pt x="323" y="2946"/>
                    </a:lnTo>
                    <a:lnTo>
                      <a:pt x="319" y="2951"/>
                    </a:lnTo>
                    <a:lnTo>
                      <a:pt x="316" y="2955"/>
                    </a:lnTo>
                    <a:lnTo>
                      <a:pt x="312" y="2960"/>
                    </a:lnTo>
                    <a:lnTo>
                      <a:pt x="306" y="2972"/>
                    </a:lnTo>
                    <a:lnTo>
                      <a:pt x="302" y="2984"/>
                    </a:lnTo>
                    <a:lnTo>
                      <a:pt x="300" y="2990"/>
                    </a:lnTo>
                    <a:lnTo>
                      <a:pt x="296" y="2994"/>
                    </a:lnTo>
                    <a:lnTo>
                      <a:pt x="294" y="2996"/>
                    </a:lnTo>
                    <a:lnTo>
                      <a:pt x="292" y="2998"/>
                    </a:lnTo>
                    <a:lnTo>
                      <a:pt x="289" y="2996"/>
                    </a:lnTo>
                    <a:lnTo>
                      <a:pt x="283" y="2992"/>
                    </a:lnTo>
                    <a:lnTo>
                      <a:pt x="276" y="2984"/>
                    </a:lnTo>
                    <a:lnTo>
                      <a:pt x="269" y="2975"/>
                    </a:lnTo>
                    <a:lnTo>
                      <a:pt x="254" y="2957"/>
                    </a:lnTo>
                    <a:lnTo>
                      <a:pt x="244" y="2945"/>
                    </a:lnTo>
                    <a:lnTo>
                      <a:pt x="230" y="2934"/>
                    </a:lnTo>
                    <a:lnTo>
                      <a:pt x="216" y="2925"/>
                    </a:lnTo>
                    <a:lnTo>
                      <a:pt x="201" y="2917"/>
                    </a:lnTo>
                    <a:lnTo>
                      <a:pt x="186" y="2911"/>
                    </a:lnTo>
                    <a:lnTo>
                      <a:pt x="171" y="2904"/>
                    </a:lnTo>
                    <a:lnTo>
                      <a:pt x="157" y="2897"/>
                    </a:lnTo>
                    <a:lnTo>
                      <a:pt x="143" y="2888"/>
                    </a:lnTo>
                    <a:lnTo>
                      <a:pt x="130" y="2877"/>
                    </a:lnTo>
                    <a:lnTo>
                      <a:pt x="121" y="2869"/>
                    </a:lnTo>
                    <a:lnTo>
                      <a:pt x="115" y="2861"/>
                    </a:lnTo>
                    <a:lnTo>
                      <a:pt x="108" y="2853"/>
                    </a:lnTo>
                    <a:lnTo>
                      <a:pt x="105" y="2847"/>
                    </a:lnTo>
                    <a:lnTo>
                      <a:pt x="102" y="2842"/>
                    </a:lnTo>
                    <a:lnTo>
                      <a:pt x="101" y="2835"/>
                    </a:lnTo>
                    <a:lnTo>
                      <a:pt x="100" y="2830"/>
                    </a:lnTo>
                    <a:lnTo>
                      <a:pt x="101" y="2824"/>
                    </a:lnTo>
                    <a:lnTo>
                      <a:pt x="110" y="2797"/>
                    </a:lnTo>
                    <a:lnTo>
                      <a:pt x="127" y="2757"/>
                    </a:lnTo>
                    <a:lnTo>
                      <a:pt x="134" y="2744"/>
                    </a:lnTo>
                    <a:lnTo>
                      <a:pt x="141" y="2730"/>
                    </a:lnTo>
                    <a:lnTo>
                      <a:pt x="147" y="2715"/>
                    </a:lnTo>
                    <a:lnTo>
                      <a:pt x="153" y="2699"/>
                    </a:lnTo>
                    <a:lnTo>
                      <a:pt x="157" y="2683"/>
                    </a:lnTo>
                    <a:lnTo>
                      <a:pt x="161" y="2667"/>
                    </a:lnTo>
                    <a:lnTo>
                      <a:pt x="166" y="2649"/>
                    </a:lnTo>
                    <a:lnTo>
                      <a:pt x="169" y="2632"/>
                    </a:lnTo>
                    <a:lnTo>
                      <a:pt x="174" y="2597"/>
                    </a:lnTo>
                    <a:lnTo>
                      <a:pt x="179" y="2563"/>
                    </a:lnTo>
                    <a:lnTo>
                      <a:pt x="182" y="2531"/>
                    </a:lnTo>
                    <a:lnTo>
                      <a:pt x="185" y="2499"/>
                    </a:lnTo>
                    <a:lnTo>
                      <a:pt x="190" y="2466"/>
                    </a:lnTo>
                    <a:lnTo>
                      <a:pt x="196" y="2433"/>
                    </a:lnTo>
                    <a:lnTo>
                      <a:pt x="202" y="2400"/>
                    </a:lnTo>
                    <a:lnTo>
                      <a:pt x="210" y="2366"/>
                    </a:lnTo>
                    <a:lnTo>
                      <a:pt x="216" y="2334"/>
                    </a:lnTo>
                    <a:lnTo>
                      <a:pt x="223" y="2300"/>
                    </a:lnTo>
                    <a:lnTo>
                      <a:pt x="228" y="2268"/>
                    </a:lnTo>
                    <a:lnTo>
                      <a:pt x="231" y="2236"/>
                    </a:lnTo>
                    <a:lnTo>
                      <a:pt x="234" y="2213"/>
                    </a:lnTo>
                    <a:lnTo>
                      <a:pt x="235" y="2186"/>
                    </a:lnTo>
                    <a:lnTo>
                      <a:pt x="236" y="2173"/>
                    </a:lnTo>
                    <a:lnTo>
                      <a:pt x="238" y="2161"/>
                    </a:lnTo>
                    <a:lnTo>
                      <a:pt x="239" y="2156"/>
                    </a:lnTo>
                    <a:lnTo>
                      <a:pt x="241" y="2150"/>
                    </a:lnTo>
                    <a:lnTo>
                      <a:pt x="243" y="2146"/>
                    </a:lnTo>
                    <a:lnTo>
                      <a:pt x="247" y="2142"/>
                    </a:lnTo>
                    <a:lnTo>
                      <a:pt x="250" y="2138"/>
                    </a:lnTo>
                    <a:lnTo>
                      <a:pt x="253" y="2137"/>
                    </a:lnTo>
                    <a:lnTo>
                      <a:pt x="256" y="2136"/>
                    </a:lnTo>
                    <a:lnTo>
                      <a:pt x="260" y="2137"/>
                    </a:lnTo>
                    <a:lnTo>
                      <a:pt x="267" y="2142"/>
                    </a:lnTo>
                    <a:lnTo>
                      <a:pt x="275" y="2148"/>
                    </a:lnTo>
                    <a:lnTo>
                      <a:pt x="290" y="2163"/>
                    </a:lnTo>
                    <a:lnTo>
                      <a:pt x="301" y="2174"/>
                    </a:lnTo>
                    <a:lnTo>
                      <a:pt x="517" y="2273"/>
                    </a:lnTo>
                    <a:lnTo>
                      <a:pt x="669" y="2352"/>
                    </a:lnTo>
                    <a:lnTo>
                      <a:pt x="680" y="2359"/>
                    </a:lnTo>
                    <a:lnTo>
                      <a:pt x="689" y="2364"/>
                    </a:lnTo>
                    <a:lnTo>
                      <a:pt x="694" y="2366"/>
                    </a:lnTo>
                    <a:lnTo>
                      <a:pt x="699" y="2367"/>
                    </a:lnTo>
                    <a:lnTo>
                      <a:pt x="705" y="2369"/>
                    </a:lnTo>
                    <a:lnTo>
                      <a:pt x="711" y="2369"/>
                    </a:lnTo>
                    <a:lnTo>
                      <a:pt x="714" y="2369"/>
                    </a:lnTo>
                    <a:lnTo>
                      <a:pt x="717" y="2366"/>
                    </a:lnTo>
                    <a:lnTo>
                      <a:pt x="719" y="2364"/>
                    </a:lnTo>
                    <a:lnTo>
                      <a:pt x="720" y="2361"/>
                    </a:lnTo>
                    <a:lnTo>
                      <a:pt x="722" y="2353"/>
                    </a:lnTo>
                    <a:lnTo>
                      <a:pt x="725" y="2345"/>
                    </a:lnTo>
                    <a:lnTo>
                      <a:pt x="727" y="2340"/>
                    </a:lnTo>
                    <a:lnTo>
                      <a:pt x="731" y="2336"/>
                    </a:lnTo>
                    <a:lnTo>
                      <a:pt x="735" y="2333"/>
                    </a:lnTo>
                    <a:lnTo>
                      <a:pt x="740" y="2331"/>
                    </a:lnTo>
                    <a:lnTo>
                      <a:pt x="747" y="2329"/>
                    </a:lnTo>
                    <a:lnTo>
                      <a:pt x="756" y="2327"/>
                    </a:lnTo>
                    <a:lnTo>
                      <a:pt x="766" y="2327"/>
                    </a:lnTo>
                    <a:lnTo>
                      <a:pt x="779" y="2330"/>
                    </a:lnTo>
                    <a:lnTo>
                      <a:pt x="785" y="2331"/>
                    </a:lnTo>
                    <a:lnTo>
                      <a:pt x="790" y="2330"/>
                    </a:lnTo>
                    <a:lnTo>
                      <a:pt x="795" y="2330"/>
                    </a:lnTo>
                    <a:lnTo>
                      <a:pt x="801" y="2327"/>
                    </a:lnTo>
                    <a:lnTo>
                      <a:pt x="805" y="2325"/>
                    </a:lnTo>
                    <a:lnTo>
                      <a:pt x="809" y="2322"/>
                    </a:lnTo>
                    <a:lnTo>
                      <a:pt x="814" y="2319"/>
                    </a:lnTo>
                    <a:lnTo>
                      <a:pt x="818" y="2315"/>
                    </a:lnTo>
                    <a:lnTo>
                      <a:pt x="827" y="2305"/>
                    </a:lnTo>
                    <a:lnTo>
                      <a:pt x="833" y="2294"/>
                    </a:lnTo>
                    <a:lnTo>
                      <a:pt x="840" y="2281"/>
                    </a:lnTo>
                    <a:lnTo>
                      <a:pt x="845" y="2268"/>
                    </a:lnTo>
                    <a:lnTo>
                      <a:pt x="850" y="2254"/>
                    </a:lnTo>
                    <a:lnTo>
                      <a:pt x="854" y="2239"/>
                    </a:lnTo>
                    <a:lnTo>
                      <a:pt x="858" y="2225"/>
                    </a:lnTo>
                    <a:lnTo>
                      <a:pt x="860" y="2211"/>
                    </a:lnTo>
                    <a:lnTo>
                      <a:pt x="865" y="2185"/>
                    </a:lnTo>
                    <a:lnTo>
                      <a:pt x="866" y="2165"/>
                    </a:lnTo>
                    <a:lnTo>
                      <a:pt x="865" y="2154"/>
                    </a:lnTo>
                    <a:lnTo>
                      <a:pt x="865" y="2144"/>
                    </a:lnTo>
                    <a:lnTo>
                      <a:pt x="862" y="2135"/>
                    </a:lnTo>
                    <a:lnTo>
                      <a:pt x="860" y="2129"/>
                    </a:lnTo>
                    <a:lnTo>
                      <a:pt x="858" y="2124"/>
                    </a:lnTo>
                    <a:lnTo>
                      <a:pt x="855" y="2120"/>
                    </a:lnTo>
                    <a:lnTo>
                      <a:pt x="850" y="2118"/>
                    </a:lnTo>
                    <a:lnTo>
                      <a:pt x="846" y="2116"/>
                    </a:lnTo>
                    <a:lnTo>
                      <a:pt x="820" y="2114"/>
                    </a:lnTo>
                    <a:lnTo>
                      <a:pt x="785" y="2109"/>
                    </a:lnTo>
                    <a:lnTo>
                      <a:pt x="772" y="2105"/>
                    </a:lnTo>
                    <a:lnTo>
                      <a:pt x="759" y="2101"/>
                    </a:lnTo>
                    <a:lnTo>
                      <a:pt x="746" y="2095"/>
                    </a:lnTo>
                    <a:lnTo>
                      <a:pt x="734" y="2089"/>
                    </a:lnTo>
                    <a:lnTo>
                      <a:pt x="722" y="2082"/>
                    </a:lnTo>
                    <a:lnTo>
                      <a:pt x="711" y="2075"/>
                    </a:lnTo>
                    <a:lnTo>
                      <a:pt x="701" y="2066"/>
                    </a:lnTo>
                    <a:lnTo>
                      <a:pt x="692" y="2057"/>
                    </a:lnTo>
                    <a:lnTo>
                      <a:pt x="683" y="2047"/>
                    </a:lnTo>
                    <a:lnTo>
                      <a:pt x="675" y="2036"/>
                    </a:lnTo>
                    <a:lnTo>
                      <a:pt x="668" y="2025"/>
                    </a:lnTo>
                    <a:lnTo>
                      <a:pt x="662" y="2013"/>
                    </a:lnTo>
                    <a:lnTo>
                      <a:pt x="657" y="2000"/>
                    </a:lnTo>
                    <a:lnTo>
                      <a:pt x="654" y="1986"/>
                    </a:lnTo>
                    <a:lnTo>
                      <a:pt x="652" y="1972"/>
                    </a:lnTo>
                    <a:lnTo>
                      <a:pt x="650" y="1957"/>
                    </a:lnTo>
                    <a:lnTo>
                      <a:pt x="650" y="1947"/>
                    </a:lnTo>
                    <a:lnTo>
                      <a:pt x="651" y="1939"/>
                    </a:lnTo>
                    <a:lnTo>
                      <a:pt x="652" y="1931"/>
                    </a:lnTo>
                    <a:lnTo>
                      <a:pt x="653" y="1924"/>
                    </a:lnTo>
                    <a:lnTo>
                      <a:pt x="657" y="1911"/>
                    </a:lnTo>
                    <a:lnTo>
                      <a:pt x="662" y="1898"/>
                    </a:lnTo>
                    <a:lnTo>
                      <a:pt x="678" y="1875"/>
                    </a:lnTo>
                    <a:lnTo>
                      <a:pt x="694" y="1847"/>
                    </a:lnTo>
                    <a:lnTo>
                      <a:pt x="697" y="1840"/>
                    </a:lnTo>
                    <a:lnTo>
                      <a:pt x="700" y="1833"/>
                    </a:lnTo>
                    <a:lnTo>
                      <a:pt x="702" y="1825"/>
                    </a:lnTo>
                    <a:lnTo>
                      <a:pt x="704" y="1818"/>
                    </a:lnTo>
                    <a:lnTo>
                      <a:pt x="706" y="1804"/>
                    </a:lnTo>
                    <a:lnTo>
                      <a:pt x="706" y="1790"/>
                    </a:lnTo>
                    <a:lnTo>
                      <a:pt x="704" y="1762"/>
                    </a:lnTo>
                    <a:lnTo>
                      <a:pt x="704" y="1730"/>
                    </a:lnTo>
                    <a:lnTo>
                      <a:pt x="706" y="1716"/>
                    </a:lnTo>
                    <a:lnTo>
                      <a:pt x="707" y="1702"/>
                    </a:lnTo>
                    <a:lnTo>
                      <a:pt x="706" y="1688"/>
                    </a:lnTo>
                    <a:lnTo>
                      <a:pt x="706" y="1674"/>
                    </a:lnTo>
                    <a:lnTo>
                      <a:pt x="704" y="1661"/>
                    </a:lnTo>
                    <a:lnTo>
                      <a:pt x="701" y="1648"/>
                    </a:lnTo>
                    <a:lnTo>
                      <a:pt x="698" y="1635"/>
                    </a:lnTo>
                    <a:lnTo>
                      <a:pt x="695" y="1622"/>
                    </a:lnTo>
                    <a:lnTo>
                      <a:pt x="686" y="1597"/>
                    </a:lnTo>
                    <a:lnTo>
                      <a:pt x="677" y="1573"/>
                    </a:lnTo>
                    <a:lnTo>
                      <a:pt x="666" y="1549"/>
                    </a:lnTo>
                    <a:lnTo>
                      <a:pt x="655" y="1523"/>
                    </a:lnTo>
                    <a:lnTo>
                      <a:pt x="652" y="1513"/>
                    </a:lnTo>
                    <a:lnTo>
                      <a:pt x="648" y="1502"/>
                    </a:lnTo>
                    <a:lnTo>
                      <a:pt x="647" y="1493"/>
                    </a:lnTo>
                    <a:lnTo>
                      <a:pt x="647" y="1484"/>
                    </a:lnTo>
                    <a:lnTo>
                      <a:pt x="648" y="1474"/>
                    </a:lnTo>
                    <a:lnTo>
                      <a:pt x="650" y="1466"/>
                    </a:lnTo>
                    <a:lnTo>
                      <a:pt x="653" y="1458"/>
                    </a:lnTo>
                    <a:lnTo>
                      <a:pt x="655" y="1449"/>
                    </a:lnTo>
                    <a:lnTo>
                      <a:pt x="671" y="1416"/>
                    </a:lnTo>
                    <a:lnTo>
                      <a:pt x="689" y="1380"/>
                    </a:lnTo>
                    <a:lnTo>
                      <a:pt x="695" y="1366"/>
                    </a:lnTo>
                    <a:lnTo>
                      <a:pt x="705" y="1345"/>
                    </a:lnTo>
                    <a:lnTo>
                      <a:pt x="717" y="1318"/>
                    </a:lnTo>
                    <a:lnTo>
                      <a:pt x="729" y="1290"/>
                    </a:lnTo>
                    <a:lnTo>
                      <a:pt x="744" y="1264"/>
                    </a:lnTo>
                    <a:lnTo>
                      <a:pt x="758" y="1242"/>
                    </a:lnTo>
                    <a:lnTo>
                      <a:pt x="763" y="1233"/>
                    </a:lnTo>
                    <a:lnTo>
                      <a:pt x="768" y="1228"/>
                    </a:lnTo>
                    <a:lnTo>
                      <a:pt x="772" y="1226"/>
                    </a:lnTo>
                    <a:lnTo>
                      <a:pt x="774" y="1226"/>
                    </a:lnTo>
                    <a:lnTo>
                      <a:pt x="776" y="1225"/>
                    </a:lnTo>
                    <a:lnTo>
                      <a:pt x="778" y="1226"/>
                    </a:lnTo>
                    <a:lnTo>
                      <a:pt x="790" y="1235"/>
                    </a:lnTo>
                    <a:lnTo>
                      <a:pt x="803" y="1243"/>
                    </a:lnTo>
                    <a:lnTo>
                      <a:pt x="816" y="1251"/>
                    </a:lnTo>
                    <a:lnTo>
                      <a:pt x="830" y="1257"/>
                    </a:lnTo>
                    <a:lnTo>
                      <a:pt x="836" y="1260"/>
                    </a:lnTo>
                    <a:lnTo>
                      <a:pt x="843" y="1263"/>
                    </a:lnTo>
                    <a:lnTo>
                      <a:pt x="850" y="1265"/>
                    </a:lnTo>
                    <a:lnTo>
                      <a:pt x="858" y="1266"/>
                    </a:lnTo>
                    <a:lnTo>
                      <a:pt x="867" y="1266"/>
                    </a:lnTo>
                    <a:lnTo>
                      <a:pt x="874" y="1265"/>
                    </a:lnTo>
                    <a:lnTo>
                      <a:pt x="883" y="1264"/>
                    </a:lnTo>
                    <a:lnTo>
                      <a:pt x="892" y="1260"/>
                    </a:lnTo>
                    <a:lnTo>
                      <a:pt x="898" y="1258"/>
                    </a:lnTo>
                    <a:lnTo>
                      <a:pt x="903" y="1255"/>
                    </a:lnTo>
                    <a:lnTo>
                      <a:pt x="909" y="1252"/>
                    </a:lnTo>
                    <a:lnTo>
                      <a:pt x="914" y="1246"/>
                    </a:lnTo>
                    <a:lnTo>
                      <a:pt x="924" y="1236"/>
                    </a:lnTo>
                    <a:lnTo>
                      <a:pt x="934" y="1224"/>
                    </a:lnTo>
                    <a:lnTo>
                      <a:pt x="942" y="1211"/>
                    </a:lnTo>
                    <a:lnTo>
                      <a:pt x="950" y="1197"/>
                    </a:lnTo>
                    <a:lnTo>
                      <a:pt x="955" y="1184"/>
                    </a:lnTo>
                    <a:lnTo>
                      <a:pt x="960" y="1173"/>
                    </a:lnTo>
                    <a:lnTo>
                      <a:pt x="967" y="1160"/>
                    </a:lnTo>
                    <a:lnTo>
                      <a:pt x="974" y="1147"/>
                    </a:lnTo>
                    <a:lnTo>
                      <a:pt x="979" y="1134"/>
                    </a:lnTo>
                    <a:lnTo>
                      <a:pt x="982" y="1120"/>
                    </a:lnTo>
                    <a:lnTo>
                      <a:pt x="987" y="1093"/>
                    </a:lnTo>
                    <a:lnTo>
                      <a:pt x="990" y="1065"/>
                    </a:lnTo>
                    <a:lnTo>
                      <a:pt x="991" y="1051"/>
                    </a:lnTo>
                    <a:lnTo>
                      <a:pt x="993" y="1037"/>
                    </a:lnTo>
                    <a:lnTo>
                      <a:pt x="996" y="1024"/>
                    </a:lnTo>
                    <a:lnTo>
                      <a:pt x="1000" y="1011"/>
                    </a:lnTo>
                    <a:lnTo>
                      <a:pt x="1004" y="998"/>
                    </a:lnTo>
                    <a:lnTo>
                      <a:pt x="1010" y="986"/>
                    </a:lnTo>
                    <a:lnTo>
                      <a:pt x="1018" y="974"/>
                    </a:lnTo>
                    <a:lnTo>
                      <a:pt x="1028" y="962"/>
                    </a:lnTo>
                    <a:lnTo>
                      <a:pt x="1031" y="962"/>
                    </a:lnTo>
                    <a:lnTo>
                      <a:pt x="1034" y="963"/>
                    </a:lnTo>
                    <a:lnTo>
                      <a:pt x="1036" y="970"/>
                    </a:lnTo>
                    <a:lnTo>
                      <a:pt x="1040" y="977"/>
                    </a:lnTo>
                    <a:lnTo>
                      <a:pt x="1045" y="984"/>
                    </a:lnTo>
                    <a:lnTo>
                      <a:pt x="1050" y="992"/>
                    </a:lnTo>
                    <a:lnTo>
                      <a:pt x="1057" y="997"/>
                    </a:lnTo>
                    <a:lnTo>
                      <a:pt x="1063" y="1000"/>
                    </a:lnTo>
                    <a:lnTo>
                      <a:pt x="1067" y="1001"/>
                    </a:lnTo>
                    <a:lnTo>
                      <a:pt x="1070" y="1001"/>
                    </a:lnTo>
                    <a:lnTo>
                      <a:pt x="1073" y="1001"/>
                    </a:lnTo>
                    <a:lnTo>
                      <a:pt x="1076" y="999"/>
                    </a:lnTo>
                    <a:lnTo>
                      <a:pt x="1083" y="997"/>
                    </a:lnTo>
                    <a:lnTo>
                      <a:pt x="1091" y="996"/>
                    </a:lnTo>
                    <a:lnTo>
                      <a:pt x="1100" y="996"/>
                    </a:lnTo>
                    <a:lnTo>
                      <a:pt x="1111" y="998"/>
                    </a:lnTo>
                    <a:lnTo>
                      <a:pt x="1122" y="1001"/>
                    </a:lnTo>
                    <a:lnTo>
                      <a:pt x="1133" y="1006"/>
                    </a:lnTo>
                    <a:lnTo>
                      <a:pt x="1145" y="1011"/>
                    </a:lnTo>
                    <a:lnTo>
                      <a:pt x="1156" y="1017"/>
                    </a:lnTo>
                    <a:lnTo>
                      <a:pt x="1168" y="1024"/>
                    </a:lnTo>
                    <a:lnTo>
                      <a:pt x="1178" y="1030"/>
                    </a:lnTo>
                    <a:lnTo>
                      <a:pt x="1188" y="1038"/>
                    </a:lnTo>
                    <a:lnTo>
                      <a:pt x="1195" y="1046"/>
                    </a:lnTo>
                    <a:lnTo>
                      <a:pt x="1202" y="1052"/>
                    </a:lnTo>
                    <a:lnTo>
                      <a:pt x="1207" y="1060"/>
                    </a:lnTo>
                    <a:lnTo>
                      <a:pt x="1208" y="1063"/>
                    </a:lnTo>
                    <a:lnTo>
                      <a:pt x="1209" y="1066"/>
                    </a:lnTo>
                    <a:lnTo>
                      <a:pt x="1210" y="1069"/>
                    </a:lnTo>
                    <a:lnTo>
                      <a:pt x="1209" y="1073"/>
                    </a:lnTo>
                    <a:lnTo>
                      <a:pt x="1208" y="1084"/>
                    </a:lnTo>
                    <a:lnTo>
                      <a:pt x="1209" y="1095"/>
                    </a:lnTo>
                    <a:lnTo>
                      <a:pt x="1211" y="1106"/>
                    </a:lnTo>
                    <a:lnTo>
                      <a:pt x="1215" y="1115"/>
                    </a:lnTo>
                    <a:lnTo>
                      <a:pt x="1219" y="1123"/>
                    </a:lnTo>
                    <a:lnTo>
                      <a:pt x="1225" y="1131"/>
                    </a:lnTo>
                    <a:lnTo>
                      <a:pt x="1232" y="1137"/>
                    </a:lnTo>
                    <a:lnTo>
                      <a:pt x="1240" y="1143"/>
                    </a:lnTo>
                    <a:lnTo>
                      <a:pt x="1249" y="1148"/>
                    </a:lnTo>
                    <a:lnTo>
                      <a:pt x="1258" y="1152"/>
                    </a:lnTo>
                    <a:lnTo>
                      <a:pt x="1267" y="1156"/>
                    </a:lnTo>
                    <a:lnTo>
                      <a:pt x="1278" y="1159"/>
                    </a:lnTo>
                    <a:lnTo>
                      <a:pt x="1298" y="1163"/>
                    </a:lnTo>
                    <a:lnTo>
                      <a:pt x="1318" y="1166"/>
                    </a:lnTo>
                    <a:lnTo>
                      <a:pt x="1327" y="1168"/>
                    </a:lnTo>
                    <a:lnTo>
                      <a:pt x="1336" y="1170"/>
                    </a:lnTo>
                    <a:lnTo>
                      <a:pt x="1344" y="1173"/>
                    </a:lnTo>
                    <a:lnTo>
                      <a:pt x="1353" y="1177"/>
                    </a:lnTo>
                    <a:lnTo>
                      <a:pt x="1370" y="1186"/>
                    </a:lnTo>
                    <a:lnTo>
                      <a:pt x="1386" y="1196"/>
                    </a:lnTo>
                    <a:lnTo>
                      <a:pt x="1402" y="1206"/>
                    </a:lnTo>
                    <a:lnTo>
                      <a:pt x="1419" y="1216"/>
                    </a:lnTo>
                    <a:lnTo>
                      <a:pt x="1427" y="1220"/>
                    </a:lnTo>
                    <a:lnTo>
                      <a:pt x="1435" y="1225"/>
                    </a:lnTo>
                    <a:lnTo>
                      <a:pt x="1444" y="1228"/>
                    </a:lnTo>
                    <a:lnTo>
                      <a:pt x="1452" y="1231"/>
                    </a:lnTo>
                    <a:lnTo>
                      <a:pt x="1463" y="1233"/>
                    </a:lnTo>
                    <a:lnTo>
                      <a:pt x="1472" y="1233"/>
                    </a:lnTo>
                    <a:lnTo>
                      <a:pt x="1479" y="1232"/>
                    </a:lnTo>
                    <a:lnTo>
                      <a:pt x="1486" y="1229"/>
                    </a:lnTo>
                    <a:lnTo>
                      <a:pt x="1491" y="1225"/>
                    </a:lnTo>
                    <a:lnTo>
                      <a:pt x="1495" y="1219"/>
                    </a:lnTo>
                    <a:lnTo>
                      <a:pt x="1500" y="1213"/>
                    </a:lnTo>
                    <a:lnTo>
                      <a:pt x="1503" y="1206"/>
                    </a:lnTo>
                    <a:lnTo>
                      <a:pt x="1512" y="1192"/>
                    </a:lnTo>
                    <a:lnTo>
                      <a:pt x="1520" y="1178"/>
                    </a:lnTo>
                    <a:lnTo>
                      <a:pt x="1526" y="1172"/>
                    </a:lnTo>
                    <a:lnTo>
                      <a:pt x="1532" y="1166"/>
                    </a:lnTo>
                    <a:lnTo>
                      <a:pt x="1541" y="1162"/>
                    </a:lnTo>
                    <a:lnTo>
                      <a:pt x="1549" y="1159"/>
                    </a:lnTo>
                    <a:lnTo>
                      <a:pt x="1559" y="1158"/>
                    </a:lnTo>
                    <a:lnTo>
                      <a:pt x="1573" y="1159"/>
                    </a:lnTo>
                    <a:lnTo>
                      <a:pt x="1588" y="1160"/>
                    </a:lnTo>
                    <a:lnTo>
                      <a:pt x="1604" y="1161"/>
                    </a:lnTo>
                    <a:lnTo>
                      <a:pt x="1620" y="1162"/>
                    </a:lnTo>
                    <a:lnTo>
                      <a:pt x="1634" y="1162"/>
                    </a:lnTo>
                    <a:lnTo>
                      <a:pt x="1640" y="1162"/>
                    </a:lnTo>
                    <a:lnTo>
                      <a:pt x="1646" y="1160"/>
                    </a:lnTo>
                    <a:lnTo>
                      <a:pt x="1649" y="1159"/>
                    </a:lnTo>
                    <a:lnTo>
                      <a:pt x="1652" y="1156"/>
                    </a:lnTo>
                    <a:lnTo>
                      <a:pt x="1654" y="1152"/>
                    </a:lnTo>
                    <a:lnTo>
                      <a:pt x="1654" y="1148"/>
                    </a:lnTo>
                    <a:lnTo>
                      <a:pt x="1654" y="1143"/>
                    </a:lnTo>
                    <a:lnTo>
                      <a:pt x="1654" y="1137"/>
                    </a:lnTo>
                    <a:lnTo>
                      <a:pt x="1651" y="1123"/>
                    </a:lnTo>
                    <a:lnTo>
                      <a:pt x="1646" y="1109"/>
                    </a:lnTo>
                    <a:lnTo>
                      <a:pt x="1634" y="1081"/>
                    </a:lnTo>
                    <a:lnTo>
                      <a:pt x="1624" y="1063"/>
                    </a:lnTo>
                    <a:lnTo>
                      <a:pt x="1617" y="1053"/>
                    </a:lnTo>
                    <a:lnTo>
                      <a:pt x="1611" y="1046"/>
                    </a:lnTo>
                    <a:lnTo>
                      <a:pt x="1606" y="1041"/>
                    </a:lnTo>
                    <a:lnTo>
                      <a:pt x="1599" y="1038"/>
                    </a:lnTo>
                    <a:lnTo>
                      <a:pt x="1594" y="1036"/>
                    </a:lnTo>
                    <a:lnTo>
                      <a:pt x="1588" y="1036"/>
                    </a:lnTo>
                    <a:lnTo>
                      <a:pt x="1583" y="1037"/>
                    </a:lnTo>
                    <a:lnTo>
                      <a:pt x="1577" y="1038"/>
                    </a:lnTo>
                    <a:lnTo>
                      <a:pt x="1566" y="1043"/>
                    </a:lnTo>
                    <a:lnTo>
                      <a:pt x="1553" y="1050"/>
                    </a:lnTo>
                    <a:lnTo>
                      <a:pt x="1545" y="1052"/>
                    </a:lnTo>
                    <a:lnTo>
                      <a:pt x="1538" y="1054"/>
                    </a:lnTo>
                    <a:lnTo>
                      <a:pt x="1530" y="1056"/>
                    </a:lnTo>
                    <a:lnTo>
                      <a:pt x="1520" y="1056"/>
                    </a:lnTo>
                    <a:lnTo>
                      <a:pt x="1500" y="1057"/>
                    </a:lnTo>
                    <a:lnTo>
                      <a:pt x="1478" y="1058"/>
                    </a:lnTo>
                    <a:lnTo>
                      <a:pt x="1467" y="1058"/>
                    </a:lnTo>
                    <a:lnTo>
                      <a:pt x="1456" y="1058"/>
                    </a:lnTo>
                    <a:lnTo>
                      <a:pt x="1447" y="1056"/>
                    </a:lnTo>
                    <a:lnTo>
                      <a:pt x="1437" y="1054"/>
                    </a:lnTo>
                    <a:lnTo>
                      <a:pt x="1431" y="1052"/>
                    </a:lnTo>
                    <a:lnTo>
                      <a:pt x="1426" y="1050"/>
                    </a:lnTo>
                    <a:lnTo>
                      <a:pt x="1423" y="1047"/>
                    </a:lnTo>
                    <a:lnTo>
                      <a:pt x="1421" y="1044"/>
                    </a:lnTo>
                    <a:lnTo>
                      <a:pt x="1420" y="1041"/>
                    </a:lnTo>
                    <a:lnTo>
                      <a:pt x="1420" y="1038"/>
                    </a:lnTo>
                    <a:lnTo>
                      <a:pt x="1421" y="1036"/>
                    </a:lnTo>
                    <a:lnTo>
                      <a:pt x="1422" y="1033"/>
                    </a:lnTo>
                    <a:lnTo>
                      <a:pt x="1427" y="1025"/>
                    </a:lnTo>
                    <a:lnTo>
                      <a:pt x="1435" y="1017"/>
                    </a:lnTo>
                    <a:lnTo>
                      <a:pt x="1444" y="1010"/>
                    </a:lnTo>
                    <a:lnTo>
                      <a:pt x="1453" y="1002"/>
                    </a:lnTo>
                    <a:lnTo>
                      <a:pt x="1464" y="995"/>
                    </a:lnTo>
                    <a:lnTo>
                      <a:pt x="1474" y="987"/>
                    </a:lnTo>
                    <a:lnTo>
                      <a:pt x="1482" y="979"/>
                    </a:lnTo>
                    <a:lnTo>
                      <a:pt x="1490" y="971"/>
                    </a:lnTo>
                    <a:lnTo>
                      <a:pt x="1493" y="968"/>
                    </a:lnTo>
                    <a:lnTo>
                      <a:pt x="1495" y="963"/>
                    </a:lnTo>
                    <a:lnTo>
                      <a:pt x="1498" y="960"/>
                    </a:lnTo>
                    <a:lnTo>
                      <a:pt x="1498" y="957"/>
                    </a:lnTo>
                    <a:lnTo>
                      <a:pt x="1498" y="953"/>
                    </a:lnTo>
                    <a:lnTo>
                      <a:pt x="1496" y="949"/>
                    </a:lnTo>
                    <a:lnTo>
                      <a:pt x="1495" y="946"/>
                    </a:lnTo>
                    <a:lnTo>
                      <a:pt x="1492" y="944"/>
                    </a:lnTo>
                    <a:lnTo>
                      <a:pt x="1479" y="933"/>
                    </a:lnTo>
                    <a:lnTo>
                      <a:pt x="1471" y="923"/>
                    </a:lnTo>
                    <a:lnTo>
                      <a:pt x="1464" y="914"/>
                    </a:lnTo>
                    <a:lnTo>
                      <a:pt x="1459" y="904"/>
                    </a:lnTo>
                    <a:lnTo>
                      <a:pt x="1450" y="885"/>
                    </a:lnTo>
                    <a:lnTo>
                      <a:pt x="1439" y="860"/>
                    </a:lnTo>
                    <a:lnTo>
                      <a:pt x="1438" y="859"/>
                    </a:lnTo>
                    <a:lnTo>
                      <a:pt x="1437" y="859"/>
                    </a:lnTo>
                    <a:lnTo>
                      <a:pt x="1435" y="861"/>
                    </a:lnTo>
                    <a:lnTo>
                      <a:pt x="1434" y="895"/>
                    </a:lnTo>
                    <a:lnTo>
                      <a:pt x="1432" y="922"/>
                    </a:lnTo>
                    <a:lnTo>
                      <a:pt x="1431" y="932"/>
                    </a:lnTo>
                    <a:lnTo>
                      <a:pt x="1428" y="941"/>
                    </a:lnTo>
                    <a:lnTo>
                      <a:pt x="1426" y="947"/>
                    </a:lnTo>
                    <a:lnTo>
                      <a:pt x="1423" y="953"/>
                    </a:lnTo>
                    <a:lnTo>
                      <a:pt x="1420" y="957"/>
                    </a:lnTo>
                    <a:lnTo>
                      <a:pt x="1417" y="959"/>
                    </a:lnTo>
                    <a:lnTo>
                      <a:pt x="1413" y="960"/>
                    </a:lnTo>
                    <a:lnTo>
                      <a:pt x="1409" y="961"/>
                    </a:lnTo>
                    <a:lnTo>
                      <a:pt x="1405" y="960"/>
                    </a:lnTo>
                    <a:lnTo>
                      <a:pt x="1400" y="959"/>
                    </a:lnTo>
                    <a:lnTo>
                      <a:pt x="1395" y="957"/>
                    </a:lnTo>
                    <a:lnTo>
                      <a:pt x="1390" y="954"/>
                    </a:lnTo>
                    <a:lnTo>
                      <a:pt x="1378" y="947"/>
                    </a:lnTo>
                    <a:lnTo>
                      <a:pt x="1365" y="940"/>
                    </a:lnTo>
                    <a:lnTo>
                      <a:pt x="1351" y="931"/>
                    </a:lnTo>
                    <a:lnTo>
                      <a:pt x="1336" y="925"/>
                    </a:lnTo>
                    <a:lnTo>
                      <a:pt x="1327" y="921"/>
                    </a:lnTo>
                    <a:lnTo>
                      <a:pt x="1318" y="919"/>
                    </a:lnTo>
                    <a:lnTo>
                      <a:pt x="1309" y="918"/>
                    </a:lnTo>
                    <a:lnTo>
                      <a:pt x="1300" y="917"/>
                    </a:lnTo>
                    <a:lnTo>
                      <a:pt x="1290" y="918"/>
                    </a:lnTo>
                    <a:lnTo>
                      <a:pt x="1280" y="919"/>
                    </a:lnTo>
                    <a:lnTo>
                      <a:pt x="1270" y="921"/>
                    </a:lnTo>
                    <a:lnTo>
                      <a:pt x="1260" y="926"/>
                    </a:lnTo>
                    <a:lnTo>
                      <a:pt x="1251" y="929"/>
                    </a:lnTo>
                    <a:lnTo>
                      <a:pt x="1244" y="931"/>
                    </a:lnTo>
                    <a:lnTo>
                      <a:pt x="1237" y="931"/>
                    </a:lnTo>
                    <a:lnTo>
                      <a:pt x="1231" y="931"/>
                    </a:lnTo>
                    <a:lnTo>
                      <a:pt x="1226" y="930"/>
                    </a:lnTo>
                    <a:lnTo>
                      <a:pt x="1221" y="929"/>
                    </a:lnTo>
                    <a:lnTo>
                      <a:pt x="1217" y="926"/>
                    </a:lnTo>
                    <a:lnTo>
                      <a:pt x="1213" y="922"/>
                    </a:lnTo>
                    <a:lnTo>
                      <a:pt x="1210" y="918"/>
                    </a:lnTo>
                    <a:lnTo>
                      <a:pt x="1208" y="913"/>
                    </a:lnTo>
                    <a:lnTo>
                      <a:pt x="1205" y="907"/>
                    </a:lnTo>
                    <a:lnTo>
                      <a:pt x="1204" y="902"/>
                    </a:lnTo>
                    <a:lnTo>
                      <a:pt x="1199" y="888"/>
                    </a:lnTo>
                    <a:lnTo>
                      <a:pt x="1197" y="874"/>
                    </a:lnTo>
                    <a:lnTo>
                      <a:pt x="1194" y="859"/>
                    </a:lnTo>
                    <a:lnTo>
                      <a:pt x="1192" y="844"/>
                    </a:lnTo>
                    <a:lnTo>
                      <a:pt x="1189" y="828"/>
                    </a:lnTo>
                    <a:lnTo>
                      <a:pt x="1184" y="814"/>
                    </a:lnTo>
                    <a:lnTo>
                      <a:pt x="1181" y="808"/>
                    </a:lnTo>
                    <a:lnTo>
                      <a:pt x="1178" y="803"/>
                    </a:lnTo>
                    <a:lnTo>
                      <a:pt x="1175" y="797"/>
                    </a:lnTo>
                    <a:lnTo>
                      <a:pt x="1170" y="792"/>
                    </a:lnTo>
                    <a:lnTo>
                      <a:pt x="1166" y="787"/>
                    </a:lnTo>
                    <a:lnTo>
                      <a:pt x="1161" y="783"/>
                    </a:lnTo>
                    <a:lnTo>
                      <a:pt x="1155" y="780"/>
                    </a:lnTo>
                    <a:lnTo>
                      <a:pt x="1149" y="778"/>
                    </a:lnTo>
                    <a:lnTo>
                      <a:pt x="1125" y="771"/>
                    </a:lnTo>
                    <a:lnTo>
                      <a:pt x="1104" y="764"/>
                    </a:lnTo>
                    <a:lnTo>
                      <a:pt x="1097" y="760"/>
                    </a:lnTo>
                    <a:lnTo>
                      <a:pt x="1089" y="756"/>
                    </a:lnTo>
                    <a:lnTo>
                      <a:pt x="1083" y="751"/>
                    </a:lnTo>
                    <a:lnTo>
                      <a:pt x="1078" y="745"/>
                    </a:lnTo>
                    <a:lnTo>
                      <a:pt x="1075" y="739"/>
                    </a:lnTo>
                    <a:lnTo>
                      <a:pt x="1073" y="732"/>
                    </a:lnTo>
                    <a:lnTo>
                      <a:pt x="1072" y="725"/>
                    </a:lnTo>
                    <a:lnTo>
                      <a:pt x="1073" y="715"/>
                    </a:lnTo>
                    <a:lnTo>
                      <a:pt x="1076" y="705"/>
                    </a:lnTo>
                    <a:lnTo>
                      <a:pt x="1081" y="693"/>
                    </a:lnTo>
                    <a:lnTo>
                      <a:pt x="1087" y="680"/>
                    </a:lnTo>
                    <a:lnTo>
                      <a:pt x="1096" y="665"/>
                    </a:lnTo>
                    <a:lnTo>
                      <a:pt x="1099" y="661"/>
                    </a:lnTo>
                    <a:lnTo>
                      <a:pt x="1104" y="658"/>
                    </a:lnTo>
                    <a:lnTo>
                      <a:pt x="1111" y="653"/>
                    </a:lnTo>
                    <a:lnTo>
                      <a:pt x="1118" y="650"/>
                    </a:lnTo>
                    <a:lnTo>
                      <a:pt x="1137" y="644"/>
                    </a:lnTo>
                    <a:lnTo>
                      <a:pt x="1157" y="638"/>
                    </a:lnTo>
                    <a:lnTo>
                      <a:pt x="1200" y="629"/>
                    </a:lnTo>
                    <a:lnTo>
                      <a:pt x="1234" y="622"/>
                    </a:lnTo>
                    <a:lnTo>
                      <a:pt x="1253" y="618"/>
                    </a:lnTo>
                    <a:lnTo>
                      <a:pt x="1273" y="615"/>
                    </a:lnTo>
                    <a:lnTo>
                      <a:pt x="1290" y="615"/>
                    </a:lnTo>
                    <a:lnTo>
                      <a:pt x="1306" y="615"/>
                    </a:lnTo>
                    <a:lnTo>
                      <a:pt x="1323" y="617"/>
                    </a:lnTo>
                    <a:lnTo>
                      <a:pt x="1338" y="621"/>
                    </a:lnTo>
                    <a:lnTo>
                      <a:pt x="1352" y="626"/>
                    </a:lnTo>
                    <a:lnTo>
                      <a:pt x="1365" y="633"/>
                    </a:lnTo>
                    <a:lnTo>
                      <a:pt x="1377" y="641"/>
                    </a:lnTo>
                    <a:lnTo>
                      <a:pt x="1387" y="650"/>
                    </a:lnTo>
                    <a:lnTo>
                      <a:pt x="1397" y="662"/>
                    </a:lnTo>
                    <a:lnTo>
                      <a:pt x="1407" y="675"/>
                    </a:lnTo>
                    <a:lnTo>
                      <a:pt x="1414" y="689"/>
                    </a:lnTo>
                    <a:lnTo>
                      <a:pt x="1422" y="704"/>
                    </a:lnTo>
                    <a:lnTo>
                      <a:pt x="1428" y="720"/>
                    </a:lnTo>
                    <a:lnTo>
                      <a:pt x="1433" y="739"/>
                    </a:lnTo>
                    <a:lnTo>
                      <a:pt x="1435" y="745"/>
                    </a:lnTo>
                    <a:lnTo>
                      <a:pt x="1438" y="751"/>
                    </a:lnTo>
                    <a:lnTo>
                      <a:pt x="1441" y="755"/>
                    </a:lnTo>
                    <a:lnTo>
                      <a:pt x="1446" y="759"/>
                    </a:lnTo>
                    <a:lnTo>
                      <a:pt x="1451" y="763"/>
                    </a:lnTo>
                    <a:lnTo>
                      <a:pt x="1458" y="766"/>
                    </a:lnTo>
                    <a:lnTo>
                      <a:pt x="1463" y="768"/>
                    </a:lnTo>
                    <a:lnTo>
                      <a:pt x="1471" y="770"/>
                    </a:lnTo>
                    <a:lnTo>
                      <a:pt x="1486" y="772"/>
                    </a:lnTo>
                    <a:lnTo>
                      <a:pt x="1503" y="772"/>
                    </a:lnTo>
                    <a:lnTo>
                      <a:pt x="1520" y="771"/>
                    </a:lnTo>
                    <a:lnTo>
                      <a:pt x="1540" y="769"/>
                    </a:lnTo>
                    <a:lnTo>
                      <a:pt x="1558" y="765"/>
                    </a:lnTo>
                    <a:lnTo>
                      <a:pt x="1577" y="760"/>
                    </a:lnTo>
                    <a:lnTo>
                      <a:pt x="1596" y="755"/>
                    </a:lnTo>
                    <a:lnTo>
                      <a:pt x="1613" y="750"/>
                    </a:lnTo>
                    <a:lnTo>
                      <a:pt x="1629" y="743"/>
                    </a:lnTo>
                    <a:lnTo>
                      <a:pt x="1643" y="738"/>
                    </a:lnTo>
                    <a:lnTo>
                      <a:pt x="1655" y="732"/>
                    </a:lnTo>
                    <a:lnTo>
                      <a:pt x="1665" y="727"/>
                    </a:lnTo>
                    <a:lnTo>
                      <a:pt x="1681" y="724"/>
                    </a:lnTo>
                    <a:lnTo>
                      <a:pt x="1700" y="718"/>
                    </a:lnTo>
                    <a:lnTo>
                      <a:pt x="1719" y="710"/>
                    </a:lnTo>
                    <a:lnTo>
                      <a:pt x="1740" y="701"/>
                    </a:lnTo>
                    <a:lnTo>
                      <a:pt x="1760" y="690"/>
                    </a:lnTo>
                    <a:lnTo>
                      <a:pt x="1778" y="680"/>
                    </a:lnTo>
                    <a:lnTo>
                      <a:pt x="1796" y="671"/>
                    </a:lnTo>
                    <a:lnTo>
                      <a:pt x="1810" y="662"/>
                    </a:lnTo>
                    <a:lnTo>
                      <a:pt x="1818" y="655"/>
                    </a:lnTo>
                    <a:lnTo>
                      <a:pt x="1827" y="648"/>
                    </a:lnTo>
                    <a:lnTo>
                      <a:pt x="1835" y="641"/>
                    </a:lnTo>
                    <a:lnTo>
                      <a:pt x="1841" y="634"/>
                    </a:lnTo>
                    <a:lnTo>
                      <a:pt x="1849" y="626"/>
                    </a:lnTo>
                    <a:lnTo>
                      <a:pt x="1855" y="620"/>
                    </a:lnTo>
                    <a:lnTo>
                      <a:pt x="1864" y="612"/>
                    </a:lnTo>
                    <a:lnTo>
                      <a:pt x="1872" y="606"/>
                    </a:lnTo>
                    <a:lnTo>
                      <a:pt x="1891" y="595"/>
                    </a:lnTo>
                    <a:lnTo>
                      <a:pt x="1909" y="585"/>
                    </a:lnTo>
                    <a:lnTo>
                      <a:pt x="1928" y="577"/>
                    </a:lnTo>
                    <a:lnTo>
                      <a:pt x="1947" y="568"/>
                    </a:lnTo>
                    <a:lnTo>
                      <a:pt x="1965" y="560"/>
                    </a:lnTo>
                    <a:lnTo>
                      <a:pt x="1984" y="551"/>
                    </a:lnTo>
                    <a:lnTo>
                      <a:pt x="1992" y="545"/>
                    </a:lnTo>
                    <a:lnTo>
                      <a:pt x="2002" y="539"/>
                    </a:lnTo>
                    <a:lnTo>
                      <a:pt x="2011" y="533"/>
                    </a:lnTo>
                    <a:lnTo>
                      <a:pt x="2018" y="526"/>
                    </a:lnTo>
                    <a:lnTo>
                      <a:pt x="2027" y="518"/>
                    </a:lnTo>
                    <a:lnTo>
                      <a:pt x="2034" y="511"/>
                    </a:lnTo>
                    <a:lnTo>
                      <a:pt x="2041" y="503"/>
                    </a:lnTo>
                    <a:lnTo>
                      <a:pt x="2047" y="495"/>
                    </a:lnTo>
                    <a:lnTo>
                      <a:pt x="2054" y="486"/>
                    </a:lnTo>
                    <a:lnTo>
                      <a:pt x="2059" y="477"/>
                    </a:lnTo>
                    <a:lnTo>
                      <a:pt x="2065" y="469"/>
                    </a:lnTo>
                    <a:lnTo>
                      <a:pt x="2070" y="459"/>
                    </a:lnTo>
                    <a:lnTo>
                      <a:pt x="2073" y="449"/>
                    </a:lnTo>
                    <a:lnTo>
                      <a:pt x="2078" y="440"/>
                    </a:lnTo>
                    <a:lnTo>
                      <a:pt x="2081" y="430"/>
                    </a:lnTo>
                    <a:lnTo>
                      <a:pt x="2083" y="419"/>
                    </a:lnTo>
                    <a:lnTo>
                      <a:pt x="2085" y="409"/>
                    </a:lnTo>
                    <a:lnTo>
                      <a:pt x="2086" y="399"/>
                    </a:lnTo>
                    <a:lnTo>
                      <a:pt x="2087" y="388"/>
                    </a:lnTo>
                    <a:lnTo>
                      <a:pt x="2087" y="376"/>
                    </a:lnTo>
                    <a:lnTo>
                      <a:pt x="2090" y="368"/>
                    </a:lnTo>
                    <a:lnTo>
                      <a:pt x="2093" y="360"/>
                    </a:lnTo>
                    <a:lnTo>
                      <a:pt x="2096" y="353"/>
                    </a:lnTo>
                    <a:lnTo>
                      <a:pt x="2100" y="348"/>
                    </a:lnTo>
                    <a:lnTo>
                      <a:pt x="2106" y="342"/>
                    </a:lnTo>
                    <a:lnTo>
                      <a:pt x="2112" y="340"/>
                    </a:lnTo>
                    <a:lnTo>
                      <a:pt x="2121" y="338"/>
                    </a:lnTo>
                    <a:lnTo>
                      <a:pt x="2131" y="339"/>
                    </a:lnTo>
                    <a:lnTo>
                      <a:pt x="2138" y="340"/>
                    </a:lnTo>
                    <a:lnTo>
                      <a:pt x="2146" y="340"/>
                    </a:lnTo>
                    <a:lnTo>
                      <a:pt x="2152" y="339"/>
                    </a:lnTo>
                    <a:lnTo>
                      <a:pt x="2160" y="338"/>
                    </a:lnTo>
                    <a:lnTo>
                      <a:pt x="2172" y="333"/>
                    </a:lnTo>
                    <a:lnTo>
                      <a:pt x="2185" y="326"/>
                    </a:lnTo>
                    <a:lnTo>
                      <a:pt x="2207" y="309"/>
                    </a:lnTo>
                    <a:lnTo>
                      <a:pt x="2231" y="292"/>
                    </a:lnTo>
                    <a:lnTo>
                      <a:pt x="2247" y="281"/>
                    </a:lnTo>
                    <a:lnTo>
                      <a:pt x="2262" y="269"/>
                    </a:lnTo>
                    <a:lnTo>
                      <a:pt x="2276" y="257"/>
                    </a:lnTo>
                    <a:lnTo>
                      <a:pt x="2290" y="243"/>
                    </a:lnTo>
                    <a:lnTo>
                      <a:pt x="2305" y="229"/>
                    </a:lnTo>
                    <a:lnTo>
                      <a:pt x="2316" y="214"/>
                    </a:lnTo>
                    <a:lnTo>
                      <a:pt x="2328" y="199"/>
                    </a:lnTo>
                    <a:lnTo>
                      <a:pt x="2339" y="184"/>
                    </a:lnTo>
                    <a:lnTo>
                      <a:pt x="2346" y="174"/>
                    </a:lnTo>
                    <a:lnTo>
                      <a:pt x="2351" y="163"/>
                    </a:lnTo>
                    <a:lnTo>
                      <a:pt x="2356" y="152"/>
                    </a:lnTo>
                    <a:lnTo>
                      <a:pt x="2360" y="142"/>
                    </a:lnTo>
                    <a:lnTo>
                      <a:pt x="2363" y="131"/>
                    </a:lnTo>
                    <a:lnTo>
                      <a:pt x="2365" y="119"/>
                    </a:lnTo>
                    <a:lnTo>
                      <a:pt x="2366" y="107"/>
                    </a:lnTo>
                    <a:lnTo>
                      <a:pt x="2366" y="95"/>
                    </a:lnTo>
                    <a:lnTo>
                      <a:pt x="2366" y="78"/>
                    </a:lnTo>
                    <a:lnTo>
                      <a:pt x="2368" y="66"/>
                    </a:lnTo>
                    <a:lnTo>
                      <a:pt x="2372" y="55"/>
                    </a:lnTo>
                    <a:lnTo>
                      <a:pt x="2379" y="38"/>
                    </a:lnTo>
                    <a:lnTo>
                      <a:pt x="2381" y="29"/>
                    </a:lnTo>
                    <a:lnTo>
                      <a:pt x="2384" y="21"/>
                    </a:lnTo>
                    <a:lnTo>
                      <a:pt x="2387" y="11"/>
                    </a:lnTo>
                    <a:lnTo>
                      <a:pt x="2389" y="0"/>
                    </a:lnTo>
                    <a:lnTo>
                      <a:pt x="2389" y="0"/>
                    </a:lnTo>
                    <a:lnTo>
                      <a:pt x="2446" y="83"/>
                    </a:lnTo>
                    <a:lnTo>
                      <a:pt x="2451" y="96"/>
                    </a:lnTo>
                    <a:lnTo>
                      <a:pt x="2458" y="107"/>
                    </a:lnTo>
                    <a:lnTo>
                      <a:pt x="2467" y="116"/>
                    </a:lnTo>
                    <a:lnTo>
                      <a:pt x="2475" y="124"/>
                    </a:lnTo>
                    <a:lnTo>
                      <a:pt x="2486" y="132"/>
                    </a:lnTo>
                    <a:lnTo>
                      <a:pt x="2496" y="138"/>
                    </a:lnTo>
                    <a:lnTo>
                      <a:pt x="2508" y="144"/>
                    </a:lnTo>
                    <a:lnTo>
                      <a:pt x="2518" y="149"/>
                    </a:lnTo>
                    <a:lnTo>
                      <a:pt x="2539" y="160"/>
                    </a:lnTo>
                    <a:lnTo>
                      <a:pt x="2558" y="171"/>
                    </a:lnTo>
                    <a:lnTo>
                      <a:pt x="2566" y="177"/>
                    </a:lnTo>
                    <a:lnTo>
                      <a:pt x="2572" y="184"/>
                    </a:lnTo>
                    <a:lnTo>
                      <a:pt x="2578" y="192"/>
                    </a:lnTo>
                    <a:lnTo>
                      <a:pt x="2581" y="201"/>
                    </a:lnTo>
                    <a:lnTo>
                      <a:pt x="2585" y="214"/>
                    </a:lnTo>
                    <a:lnTo>
                      <a:pt x="2591" y="226"/>
                    </a:lnTo>
                    <a:lnTo>
                      <a:pt x="2597" y="237"/>
                    </a:lnTo>
                    <a:lnTo>
                      <a:pt x="2605" y="245"/>
                    </a:lnTo>
                    <a:lnTo>
                      <a:pt x="2612" y="253"/>
                    </a:lnTo>
                    <a:lnTo>
                      <a:pt x="2621" y="259"/>
                    </a:lnTo>
                    <a:lnTo>
                      <a:pt x="2630" y="266"/>
                    </a:lnTo>
                    <a:lnTo>
                      <a:pt x="2639" y="271"/>
                    </a:lnTo>
                    <a:lnTo>
                      <a:pt x="2659" y="282"/>
                    </a:lnTo>
                    <a:lnTo>
                      <a:pt x="2678" y="293"/>
                    </a:lnTo>
                    <a:lnTo>
                      <a:pt x="2687" y="299"/>
                    </a:lnTo>
                    <a:lnTo>
                      <a:pt x="2697" y="306"/>
                    </a:lnTo>
                    <a:lnTo>
                      <a:pt x="2704" y="314"/>
                    </a:lnTo>
                    <a:lnTo>
                      <a:pt x="2712" y="323"/>
                    </a:lnTo>
                    <a:lnTo>
                      <a:pt x="2717" y="331"/>
                    </a:lnTo>
                    <a:lnTo>
                      <a:pt x="2723" y="339"/>
                    </a:lnTo>
                    <a:lnTo>
                      <a:pt x="2727" y="348"/>
                    </a:lnTo>
                    <a:lnTo>
                      <a:pt x="2731" y="356"/>
                    </a:lnTo>
                    <a:lnTo>
                      <a:pt x="2739" y="377"/>
                    </a:lnTo>
                    <a:lnTo>
                      <a:pt x="2745" y="398"/>
                    </a:lnTo>
                    <a:lnTo>
                      <a:pt x="2751" y="419"/>
                    </a:lnTo>
                    <a:lnTo>
                      <a:pt x="2756" y="442"/>
                    </a:lnTo>
                    <a:lnTo>
                      <a:pt x="2760" y="466"/>
                    </a:lnTo>
                    <a:lnTo>
                      <a:pt x="2765" y="489"/>
                    </a:lnTo>
                    <a:lnTo>
                      <a:pt x="2773" y="537"/>
                    </a:lnTo>
                    <a:lnTo>
                      <a:pt x="2785" y="584"/>
                    </a:lnTo>
                    <a:lnTo>
                      <a:pt x="2792" y="607"/>
                    </a:lnTo>
                    <a:lnTo>
                      <a:pt x="2799" y="629"/>
                    </a:lnTo>
                    <a:lnTo>
                      <a:pt x="2808" y="650"/>
                    </a:lnTo>
                    <a:lnTo>
                      <a:pt x="2819" y="670"/>
                    </a:lnTo>
                    <a:lnTo>
                      <a:pt x="2827" y="684"/>
                    </a:lnTo>
                    <a:lnTo>
                      <a:pt x="2834" y="699"/>
                    </a:lnTo>
                    <a:lnTo>
                      <a:pt x="2840" y="713"/>
                    </a:lnTo>
                    <a:lnTo>
                      <a:pt x="2847" y="728"/>
                    </a:lnTo>
                    <a:lnTo>
                      <a:pt x="2858" y="758"/>
                    </a:lnTo>
                    <a:lnTo>
                      <a:pt x="2868" y="787"/>
                    </a:lnTo>
                    <a:lnTo>
                      <a:pt x="2875" y="801"/>
                    </a:lnTo>
                    <a:lnTo>
                      <a:pt x="2881" y="815"/>
                    </a:lnTo>
                    <a:lnTo>
                      <a:pt x="2890" y="828"/>
                    </a:lnTo>
                    <a:lnTo>
                      <a:pt x="2899" y="840"/>
                    </a:lnTo>
                    <a:lnTo>
                      <a:pt x="2909" y="851"/>
                    </a:lnTo>
                    <a:lnTo>
                      <a:pt x="2921" y="862"/>
                    </a:lnTo>
                    <a:lnTo>
                      <a:pt x="2935" y="871"/>
                    </a:lnTo>
                    <a:lnTo>
                      <a:pt x="2951" y="879"/>
                    </a:lnTo>
                    <a:lnTo>
                      <a:pt x="2966" y="885"/>
                    </a:lnTo>
                    <a:lnTo>
                      <a:pt x="2979" y="889"/>
                    </a:lnTo>
                    <a:lnTo>
                      <a:pt x="2993" y="892"/>
                    </a:lnTo>
                    <a:lnTo>
                      <a:pt x="3007" y="894"/>
                    </a:lnTo>
                    <a:lnTo>
                      <a:pt x="3033" y="899"/>
                    </a:lnTo>
                    <a:lnTo>
                      <a:pt x="3060" y="902"/>
                    </a:lnTo>
                    <a:lnTo>
                      <a:pt x="3073" y="903"/>
                    </a:lnTo>
                    <a:lnTo>
                      <a:pt x="3086" y="905"/>
                    </a:lnTo>
                    <a:lnTo>
                      <a:pt x="3099" y="908"/>
                    </a:lnTo>
                    <a:lnTo>
                      <a:pt x="3111" y="912"/>
                    </a:lnTo>
                    <a:lnTo>
                      <a:pt x="3124" y="917"/>
                    </a:lnTo>
                    <a:lnTo>
                      <a:pt x="3137" y="922"/>
                    </a:lnTo>
                    <a:lnTo>
                      <a:pt x="3151" y="930"/>
                    </a:lnTo>
                    <a:lnTo>
                      <a:pt x="3164" y="939"/>
                    </a:lnTo>
                    <a:lnTo>
                      <a:pt x="3184" y="952"/>
                    </a:lnTo>
                    <a:lnTo>
                      <a:pt x="3201" y="962"/>
                    </a:lnTo>
                    <a:lnTo>
                      <a:pt x="3218" y="971"/>
                    </a:lnTo>
                    <a:lnTo>
                      <a:pt x="3236" y="979"/>
                    </a:lnTo>
                    <a:lnTo>
                      <a:pt x="3253" y="985"/>
                    </a:lnTo>
                    <a:lnTo>
                      <a:pt x="3271" y="989"/>
                    </a:lnTo>
                    <a:lnTo>
                      <a:pt x="3292" y="994"/>
                    </a:lnTo>
                    <a:lnTo>
                      <a:pt x="3315" y="998"/>
                    </a:lnTo>
                    <a:lnTo>
                      <a:pt x="3323" y="999"/>
                    </a:lnTo>
                    <a:lnTo>
                      <a:pt x="3331" y="999"/>
                    </a:lnTo>
                    <a:lnTo>
                      <a:pt x="3338" y="998"/>
                    </a:lnTo>
                    <a:lnTo>
                      <a:pt x="3347" y="997"/>
                    </a:lnTo>
                    <a:lnTo>
                      <a:pt x="3362" y="994"/>
                    </a:lnTo>
                    <a:lnTo>
                      <a:pt x="3377" y="988"/>
                    </a:lnTo>
                    <a:lnTo>
                      <a:pt x="3391" y="982"/>
                    </a:lnTo>
                    <a:lnTo>
                      <a:pt x="3406" y="973"/>
                    </a:lnTo>
                    <a:lnTo>
                      <a:pt x="3420" y="966"/>
                    </a:lnTo>
                    <a:lnTo>
                      <a:pt x="3435" y="957"/>
                    </a:lnTo>
                    <a:lnTo>
                      <a:pt x="3449" y="949"/>
                    </a:lnTo>
                    <a:lnTo>
                      <a:pt x="3462" y="942"/>
                    </a:lnTo>
                    <a:lnTo>
                      <a:pt x="3476" y="935"/>
                    </a:lnTo>
                    <a:lnTo>
                      <a:pt x="3489" y="931"/>
                    </a:lnTo>
                    <a:lnTo>
                      <a:pt x="3496" y="929"/>
                    </a:lnTo>
                    <a:lnTo>
                      <a:pt x="3503" y="928"/>
                    </a:lnTo>
                    <a:lnTo>
                      <a:pt x="3509" y="928"/>
                    </a:lnTo>
                    <a:lnTo>
                      <a:pt x="3516" y="928"/>
                    </a:lnTo>
                    <a:lnTo>
                      <a:pt x="3522" y="928"/>
                    </a:lnTo>
                    <a:lnTo>
                      <a:pt x="3528" y="930"/>
                    </a:lnTo>
                    <a:lnTo>
                      <a:pt x="3535" y="932"/>
                    </a:lnTo>
                    <a:lnTo>
                      <a:pt x="3541" y="935"/>
                    </a:lnTo>
                    <a:lnTo>
                      <a:pt x="3560" y="944"/>
                    </a:lnTo>
                    <a:lnTo>
                      <a:pt x="3581" y="952"/>
                    </a:lnTo>
                    <a:lnTo>
                      <a:pt x="3592" y="955"/>
                    </a:lnTo>
                    <a:lnTo>
                      <a:pt x="3604" y="957"/>
                    </a:lnTo>
                    <a:lnTo>
                      <a:pt x="3617" y="959"/>
                    </a:lnTo>
                    <a:lnTo>
                      <a:pt x="3629" y="960"/>
                    </a:lnTo>
                    <a:lnTo>
                      <a:pt x="3641" y="960"/>
                    </a:lnTo>
                    <a:lnTo>
                      <a:pt x="3653" y="959"/>
                    </a:lnTo>
                    <a:lnTo>
                      <a:pt x="3664" y="958"/>
                    </a:lnTo>
                    <a:lnTo>
                      <a:pt x="3674" y="954"/>
                    </a:lnTo>
                    <a:lnTo>
                      <a:pt x="3684" y="949"/>
                    </a:lnTo>
                    <a:lnTo>
                      <a:pt x="3694" y="943"/>
                    </a:lnTo>
                    <a:lnTo>
                      <a:pt x="3701" y="934"/>
                    </a:lnTo>
                    <a:lnTo>
                      <a:pt x="3708" y="925"/>
                    </a:lnTo>
                    <a:lnTo>
                      <a:pt x="3708" y="925"/>
                    </a:lnTo>
                    <a:lnTo>
                      <a:pt x="3715" y="927"/>
                    </a:lnTo>
                    <a:lnTo>
                      <a:pt x="3722" y="930"/>
                    </a:lnTo>
                    <a:lnTo>
                      <a:pt x="3728" y="933"/>
                    </a:lnTo>
                    <a:lnTo>
                      <a:pt x="3734" y="938"/>
                    </a:lnTo>
                    <a:lnTo>
                      <a:pt x="3739" y="942"/>
                    </a:lnTo>
                    <a:lnTo>
                      <a:pt x="3743" y="947"/>
                    </a:lnTo>
                    <a:lnTo>
                      <a:pt x="3747" y="953"/>
                    </a:lnTo>
                    <a:lnTo>
                      <a:pt x="3750" y="958"/>
                    </a:lnTo>
                    <a:lnTo>
                      <a:pt x="3753" y="963"/>
                    </a:lnTo>
                    <a:lnTo>
                      <a:pt x="3755" y="970"/>
                    </a:lnTo>
                    <a:lnTo>
                      <a:pt x="3756" y="976"/>
                    </a:lnTo>
                    <a:lnTo>
                      <a:pt x="3758" y="984"/>
                    </a:lnTo>
                    <a:lnTo>
                      <a:pt x="3759" y="998"/>
                    </a:lnTo>
                    <a:lnTo>
                      <a:pt x="3758" y="1013"/>
                    </a:lnTo>
                    <a:lnTo>
                      <a:pt x="3756" y="1035"/>
                    </a:lnTo>
                    <a:lnTo>
                      <a:pt x="3756" y="1054"/>
                    </a:lnTo>
                    <a:lnTo>
                      <a:pt x="3758" y="1064"/>
                    </a:lnTo>
                    <a:lnTo>
                      <a:pt x="3759" y="1075"/>
                    </a:lnTo>
                    <a:lnTo>
                      <a:pt x="3762" y="1084"/>
                    </a:lnTo>
                    <a:lnTo>
                      <a:pt x="3766" y="1095"/>
                    </a:lnTo>
                    <a:lnTo>
                      <a:pt x="3775" y="1110"/>
                    </a:lnTo>
                    <a:lnTo>
                      <a:pt x="3785" y="1124"/>
                    </a:lnTo>
                    <a:lnTo>
                      <a:pt x="3789" y="1132"/>
                    </a:lnTo>
                    <a:lnTo>
                      <a:pt x="3793" y="1139"/>
                    </a:lnTo>
                    <a:lnTo>
                      <a:pt x="3797" y="1147"/>
                    </a:lnTo>
                    <a:lnTo>
                      <a:pt x="3800" y="1156"/>
                    </a:lnTo>
                    <a:lnTo>
                      <a:pt x="3803" y="1166"/>
                    </a:lnTo>
                    <a:lnTo>
                      <a:pt x="3804" y="1179"/>
                    </a:lnTo>
                    <a:lnTo>
                      <a:pt x="3805" y="1192"/>
                    </a:lnTo>
                    <a:lnTo>
                      <a:pt x="3805" y="1205"/>
                    </a:lnTo>
                    <a:lnTo>
                      <a:pt x="3804" y="1231"/>
                    </a:lnTo>
                    <a:lnTo>
                      <a:pt x="3803" y="1256"/>
                    </a:lnTo>
                    <a:lnTo>
                      <a:pt x="3804" y="1370"/>
                    </a:lnTo>
                    <a:lnTo>
                      <a:pt x="3754" y="2848"/>
                    </a:lnTo>
                    <a:lnTo>
                      <a:pt x="3754" y="2848"/>
                    </a:lnTo>
                    <a:lnTo>
                      <a:pt x="3746" y="2885"/>
                    </a:lnTo>
                    <a:lnTo>
                      <a:pt x="3736" y="2920"/>
                    </a:lnTo>
                    <a:lnTo>
                      <a:pt x="3729" y="2938"/>
                    </a:lnTo>
                    <a:lnTo>
                      <a:pt x="3722" y="2954"/>
                    </a:lnTo>
                    <a:lnTo>
                      <a:pt x="3713" y="2971"/>
                    </a:lnTo>
                    <a:lnTo>
                      <a:pt x="3702" y="2987"/>
                    </a:lnTo>
                    <a:lnTo>
                      <a:pt x="3694" y="2999"/>
                    </a:lnTo>
                    <a:lnTo>
                      <a:pt x="3685" y="3012"/>
                    </a:lnTo>
                    <a:lnTo>
                      <a:pt x="3675" y="3024"/>
                    </a:lnTo>
                    <a:lnTo>
                      <a:pt x="3666" y="3036"/>
                    </a:lnTo>
                    <a:lnTo>
                      <a:pt x="3660" y="3040"/>
                    </a:lnTo>
                    <a:lnTo>
                      <a:pt x="3655" y="3046"/>
                    </a:lnTo>
                    <a:lnTo>
                      <a:pt x="3648" y="3049"/>
                    </a:lnTo>
                    <a:lnTo>
                      <a:pt x="3642" y="3053"/>
                    </a:lnTo>
                    <a:lnTo>
                      <a:pt x="3635" y="3055"/>
                    </a:lnTo>
                    <a:lnTo>
                      <a:pt x="3628" y="3058"/>
                    </a:lnTo>
                    <a:lnTo>
                      <a:pt x="3620" y="3059"/>
                    </a:lnTo>
                    <a:lnTo>
                      <a:pt x="3613" y="3060"/>
                    </a:lnTo>
                    <a:lnTo>
                      <a:pt x="3592" y="3059"/>
                    </a:lnTo>
                    <a:lnTo>
                      <a:pt x="3571" y="3058"/>
                    </a:lnTo>
                    <a:lnTo>
                      <a:pt x="3560" y="3058"/>
                    </a:lnTo>
                    <a:lnTo>
                      <a:pt x="3549" y="3059"/>
                    </a:lnTo>
                    <a:lnTo>
                      <a:pt x="3538" y="3059"/>
                    </a:lnTo>
                    <a:lnTo>
                      <a:pt x="3528" y="3061"/>
                    </a:lnTo>
                    <a:lnTo>
                      <a:pt x="3519" y="3063"/>
                    </a:lnTo>
                    <a:lnTo>
                      <a:pt x="3510" y="3066"/>
                    </a:lnTo>
                    <a:lnTo>
                      <a:pt x="3503" y="3072"/>
                    </a:lnTo>
                    <a:lnTo>
                      <a:pt x="3496" y="3078"/>
                    </a:lnTo>
                    <a:lnTo>
                      <a:pt x="3494" y="3081"/>
                    </a:lnTo>
                    <a:lnTo>
                      <a:pt x="3491" y="3086"/>
                    </a:lnTo>
                    <a:lnTo>
                      <a:pt x="3490" y="3090"/>
                    </a:lnTo>
                    <a:lnTo>
                      <a:pt x="3487" y="3095"/>
                    </a:lnTo>
                    <a:lnTo>
                      <a:pt x="3486" y="3106"/>
                    </a:lnTo>
                    <a:lnTo>
                      <a:pt x="3487" y="3120"/>
                    </a:lnTo>
                    <a:lnTo>
                      <a:pt x="3489" y="3130"/>
                    </a:lnTo>
                    <a:lnTo>
                      <a:pt x="3492" y="3140"/>
                    </a:lnTo>
                    <a:lnTo>
                      <a:pt x="3495" y="3148"/>
                    </a:lnTo>
                    <a:lnTo>
                      <a:pt x="3499" y="3158"/>
                    </a:lnTo>
                    <a:lnTo>
                      <a:pt x="3510" y="3175"/>
                    </a:lnTo>
                    <a:lnTo>
                      <a:pt x="3523" y="3191"/>
                    </a:lnTo>
                    <a:lnTo>
                      <a:pt x="3537" y="3208"/>
                    </a:lnTo>
                    <a:lnTo>
                      <a:pt x="3550" y="3223"/>
                    </a:lnTo>
                    <a:lnTo>
                      <a:pt x="3563" y="3239"/>
                    </a:lnTo>
                    <a:lnTo>
                      <a:pt x="3573" y="3256"/>
                    </a:lnTo>
                    <a:lnTo>
                      <a:pt x="3576" y="3267"/>
                    </a:lnTo>
                    <a:lnTo>
                      <a:pt x="3579" y="3277"/>
                    </a:lnTo>
                    <a:lnTo>
                      <a:pt x="3580" y="3285"/>
                    </a:lnTo>
                    <a:lnTo>
                      <a:pt x="3580" y="3294"/>
                    </a:lnTo>
                    <a:lnTo>
                      <a:pt x="3579" y="3302"/>
                    </a:lnTo>
                    <a:lnTo>
                      <a:pt x="3577" y="3308"/>
                    </a:lnTo>
                    <a:lnTo>
                      <a:pt x="3575" y="3316"/>
                    </a:lnTo>
                    <a:lnTo>
                      <a:pt x="3572" y="3321"/>
                    </a:lnTo>
                    <a:lnTo>
                      <a:pt x="3554" y="3347"/>
                    </a:lnTo>
                    <a:lnTo>
                      <a:pt x="3537" y="3379"/>
                    </a:lnTo>
                    <a:lnTo>
                      <a:pt x="3532" y="3392"/>
                    </a:lnTo>
                    <a:lnTo>
                      <a:pt x="3527" y="3406"/>
                    </a:lnTo>
                    <a:lnTo>
                      <a:pt x="3523" y="3420"/>
                    </a:lnTo>
                    <a:lnTo>
                      <a:pt x="3521" y="3433"/>
                    </a:lnTo>
                    <a:lnTo>
                      <a:pt x="3518" y="3460"/>
                    </a:lnTo>
                    <a:lnTo>
                      <a:pt x="3514" y="3487"/>
                    </a:lnTo>
                    <a:lnTo>
                      <a:pt x="3511" y="3513"/>
                    </a:lnTo>
                    <a:lnTo>
                      <a:pt x="3506" y="3539"/>
                    </a:lnTo>
                    <a:lnTo>
                      <a:pt x="3503" y="3552"/>
                    </a:lnTo>
                    <a:lnTo>
                      <a:pt x="3497" y="3565"/>
                    </a:lnTo>
                    <a:lnTo>
                      <a:pt x="3492" y="3578"/>
                    </a:lnTo>
                    <a:lnTo>
                      <a:pt x="3484" y="3591"/>
                    </a:lnTo>
                    <a:lnTo>
                      <a:pt x="3476" y="3602"/>
                    </a:lnTo>
                    <a:lnTo>
                      <a:pt x="3467" y="3613"/>
                    </a:lnTo>
                    <a:lnTo>
                      <a:pt x="3457" y="3623"/>
                    </a:lnTo>
                    <a:lnTo>
                      <a:pt x="3447" y="3634"/>
                    </a:lnTo>
                    <a:lnTo>
                      <a:pt x="3439" y="3645"/>
                    </a:lnTo>
                    <a:lnTo>
                      <a:pt x="3430" y="3656"/>
                    </a:lnTo>
                    <a:lnTo>
                      <a:pt x="3422" y="3668"/>
                    </a:lnTo>
                    <a:lnTo>
                      <a:pt x="3415" y="3680"/>
                    </a:lnTo>
                    <a:lnTo>
                      <a:pt x="3369" y="3779"/>
                    </a:lnTo>
                    <a:lnTo>
                      <a:pt x="3371" y="3793"/>
                    </a:lnTo>
                    <a:lnTo>
                      <a:pt x="3373" y="3807"/>
                    </a:lnTo>
                    <a:lnTo>
                      <a:pt x="3373" y="3820"/>
                    </a:lnTo>
                    <a:lnTo>
                      <a:pt x="3372" y="3832"/>
                    </a:lnTo>
                    <a:lnTo>
                      <a:pt x="3371" y="3844"/>
                    </a:lnTo>
                    <a:lnTo>
                      <a:pt x="3369" y="3856"/>
                    </a:lnTo>
                    <a:lnTo>
                      <a:pt x="3365" y="3866"/>
                    </a:lnTo>
                    <a:lnTo>
                      <a:pt x="3361" y="3877"/>
                    </a:lnTo>
                    <a:lnTo>
                      <a:pt x="3357" y="3888"/>
                    </a:lnTo>
                    <a:lnTo>
                      <a:pt x="3351" y="3898"/>
                    </a:lnTo>
                    <a:lnTo>
                      <a:pt x="3346" y="3908"/>
                    </a:lnTo>
                    <a:lnTo>
                      <a:pt x="3339" y="3917"/>
                    </a:lnTo>
                    <a:lnTo>
                      <a:pt x="3325" y="3935"/>
                    </a:lnTo>
                    <a:lnTo>
                      <a:pt x="3309" y="3952"/>
                    </a:lnTo>
                    <a:lnTo>
                      <a:pt x="3292" y="3967"/>
                    </a:lnTo>
                    <a:lnTo>
                      <a:pt x="3274" y="3983"/>
                    </a:lnTo>
                    <a:lnTo>
                      <a:pt x="3255" y="3998"/>
                    </a:lnTo>
                    <a:lnTo>
                      <a:pt x="3236" y="4012"/>
                    </a:lnTo>
                    <a:lnTo>
                      <a:pt x="3216" y="4027"/>
                    </a:lnTo>
                    <a:lnTo>
                      <a:pt x="3197" y="4041"/>
                    </a:lnTo>
                    <a:lnTo>
                      <a:pt x="3178" y="4057"/>
                    </a:lnTo>
                    <a:lnTo>
                      <a:pt x="3162" y="4073"/>
                    </a:lnTo>
                    <a:lnTo>
                      <a:pt x="3145" y="4089"/>
                    </a:lnTo>
                    <a:lnTo>
                      <a:pt x="3130" y="4106"/>
                    </a:lnTo>
                    <a:lnTo>
                      <a:pt x="3115" y="4124"/>
                    </a:lnTo>
                    <a:lnTo>
                      <a:pt x="3100" y="4141"/>
                    </a:lnTo>
                    <a:lnTo>
                      <a:pt x="3087" y="4159"/>
                    </a:lnTo>
                    <a:lnTo>
                      <a:pt x="3074" y="4178"/>
                    </a:lnTo>
                    <a:lnTo>
                      <a:pt x="3063" y="4197"/>
                    </a:lnTo>
                    <a:lnTo>
                      <a:pt x="3052" y="4216"/>
                    </a:lnTo>
                    <a:lnTo>
                      <a:pt x="3042" y="4236"/>
                    </a:lnTo>
                    <a:lnTo>
                      <a:pt x="3034" y="4256"/>
                    </a:lnTo>
                    <a:lnTo>
                      <a:pt x="3026" y="4277"/>
                    </a:lnTo>
                    <a:lnTo>
                      <a:pt x="3019" y="4298"/>
                    </a:lnTo>
                    <a:lnTo>
                      <a:pt x="3013" y="4320"/>
                    </a:lnTo>
                    <a:lnTo>
                      <a:pt x="3009" y="4343"/>
                    </a:lnTo>
                    <a:lnTo>
                      <a:pt x="3006" y="4367"/>
                    </a:lnTo>
                    <a:lnTo>
                      <a:pt x="3003" y="4390"/>
                    </a:lnTo>
                    <a:lnTo>
                      <a:pt x="3006" y="4405"/>
                    </a:lnTo>
                    <a:lnTo>
                      <a:pt x="3007" y="4421"/>
                    </a:lnTo>
                    <a:lnTo>
                      <a:pt x="3005" y="4433"/>
                    </a:lnTo>
                    <a:lnTo>
                      <a:pt x="3001" y="4446"/>
                    </a:lnTo>
                    <a:lnTo>
                      <a:pt x="2997" y="4458"/>
                    </a:lnTo>
                    <a:lnTo>
                      <a:pt x="2991" y="4470"/>
                    </a:lnTo>
                    <a:lnTo>
                      <a:pt x="2984" y="4481"/>
                    </a:lnTo>
                    <a:lnTo>
                      <a:pt x="2976" y="4492"/>
                    </a:lnTo>
                    <a:lnTo>
                      <a:pt x="2960" y="4513"/>
                    </a:lnTo>
                    <a:lnTo>
                      <a:pt x="2945" y="4536"/>
                    </a:lnTo>
                    <a:lnTo>
                      <a:pt x="2939" y="4548"/>
                    </a:lnTo>
                    <a:lnTo>
                      <a:pt x="2932" y="4560"/>
                    </a:lnTo>
                    <a:lnTo>
                      <a:pt x="2927" y="4574"/>
                    </a:lnTo>
                    <a:lnTo>
                      <a:pt x="2924" y="4588"/>
                    </a:lnTo>
                    <a:lnTo>
                      <a:pt x="2921" y="4603"/>
                    </a:lnTo>
                    <a:lnTo>
                      <a:pt x="2919" y="4618"/>
                    </a:lnTo>
                    <a:lnTo>
                      <a:pt x="2918" y="4634"/>
                    </a:lnTo>
                    <a:lnTo>
                      <a:pt x="2918" y="4651"/>
                    </a:lnTo>
                    <a:lnTo>
                      <a:pt x="2919" y="4682"/>
                    </a:lnTo>
                    <a:lnTo>
                      <a:pt x="2921" y="4714"/>
                    </a:lnTo>
                    <a:lnTo>
                      <a:pt x="2924" y="4747"/>
                    </a:lnTo>
                    <a:lnTo>
                      <a:pt x="2927" y="4779"/>
                    </a:lnTo>
                    <a:lnTo>
                      <a:pt x="2929" y="4810"/>
                    </a:lnTo>
                    <a:lnTo>
                      <a:pt x="2930" y="4842"/>
                    </a:lnTo>
                    <a:lnTo>
                      <a:pt x="2931" y="4868"/>
                    </a:lnTo>
                    <a:lnTo>
                      <a:pt x="2933" y="4894"/>
                    </a:lnTo>
                    <a:lnTo>
                      <a:pt x="2936" y="4919"/>
                    </a:lnTo>
                    <a:lnTo>
                      <a:pt x="2940" y="4945"/>
                    </a:lnTo>
                    <a:lnTo>
                      <a:pt x="2942" y="4971"/>
                    </a:lnTo>
                    <a:lnTo>
                      <a:pt x="2944" y="4997"/>
                    </a:lnTo>
                    <a:lnTo>
                      <a:pt x="2945" y="5022"/>
                    </a:lnTo>
                    <a:lnTo>
                      <a:pt x="2946" y="5048"/>
                    </a:lnTo>
                    <a:lnTo>
                      <a:pt x="2944" y="5066"/>
                    </a:lnTo>
                    <a:lnTo>
                      <a:pt x="2941" y="5083"/>
                    </a:lnTo>
                    <a:lnTo>
                      <a:pt x="2935" y="5099"/>
                    </a:lnTo>
                    <a:lnTo>
                      <a:pt x="2929" y="5114"/>
                    </a:lnTo>
                    <a:lnTo>
                      <a:pt x="2920" y="5129"/>
                    </a:lnTo>
                    <a:lnTo>
                      <a:pt x="2911" y="5144"/>
                    </a:lnTo>
                    <a:lnTo>
                      <a:pt x="2901" y="5158"/>
                    </a:lnTo>
                    <a:lnTo>
                      <a:pt x="2890" y="5172"/>
                    </a:lnTo>
                    <a:lnTo>
                      <a:pt x="2867" y="5200"/>
                    </a:lnTo>
                    <a:lnTo>
                      <a:pt x="2845" y="5229"/>
                    </a:lnTo>
                    <a:lnTo>
                      <a:pt x="2834" y="5243"/>
                    </a:lnTo>
                    <a:lnTo>
                      <a:pt x="2824" y="5259"/>
                    </a:lnTo>
                    <a:lnTo>
                      <a:pt x="2815" y="5274"/>
                    </a:lnTo>
                    <a:lnTo>
                      <a:pt x="2809" y="5289"/>
                    </a:lnTo>
                    <a:lnTo>
                      <a:pt x="2801" y="5305"/>
                    </a:lnTo>
                    <a:lnTo>
                      <a:pt x="2795" y="5321"/>
                    </a:lnTo>
                    <a:lnTo>
                      <a:pt x="2788" y="5337"/>
                    </a:lnTo>
                    <a:lnTo>
                      <a:pt x="2781" y="5353"/>
                    </a:lnTo>
                    <a:lnTo>
                      <a:pt x="2776" y="5359"/>
                    </a:lnTo>
                    <a:lnTo>
                      <a:pt x="2771" y="5366"/>
                    </a:lnTo>
                    <a:lnTo>
                      <a:pt x="2766" y="5372"/>
                    </a:lnTo>
                    <a:lnTo>
                      <a:pt x="2759" y="5377"/>
                    </a:lnTo>
                    <a:lnTo>
                      <a:pt x="2753" y="5382"/>
                    </a:lnTo>
                    <a:lnTo>
                      <a:pt x="2745" y="5386"/>
                    </a:lnTo>
                    <a:lnTo>
                      <a:pt x="2737" y="5389"/>
                    </a:lnTo>
                    <a:lnTo>
                      <a:pt x="2728" y="5393"/>
                    </a:lnTo>
                    <a:lnTo>
                      <a:pt x="2712" y="5398"/>
                    </a:lnTo>
                    <a:lnTo>
                      <a:pt x="2696" y="5404"/>
                    </a:lnTo>
                    <a:lnTo>
                      <a:pt x="2680" y="5414"/>
                    </a:lnTo>
                    <a:lnTo>
                      <a:pt x="2664" y="5424"/>
                    </a:lnTo>
                    <a:lnTo>
                      <a:pt x="2649" y="5436"/>
                    </a:lnTo>
                    <a:lnTo>
                      <a:pt x="2636" y="5449"/>
                    </a:lnTo>
                    <a:lnTo>
                      <a:pt x="2624" y="5463"/>
                    </a:lnTo>
                    <a:lnTo>
                      <a:pt x="2616" y="5476"/>
                    </a:lnTo>
                    <a:lnTo>
                      <a:pt x="2611" y="5485"/>
                    </a:lnTo>
                    <a:lnTo>
                      <a:pt x="2605" y="5495"/>
                    </a:lnTo>
                    <a:lnTo>
                      <a:pt x="2598" y="5504"/>
                    </a:lnTo>
                    <a:lnTo>
                      <a:pt x="2591" y="5512"/>
                    </a:lnTo>
                    <a:lnTo>
                      <a:pt x="2574" y="5529"/>
                    </a:lnTo>
                    <a:lnTo>
                      <a:pt x="2555" y="5545"/>
                    </a:lnTo>
                    <a:lnTo>
                      <a:pt x="2537" y="5561"/>
                    </a:lnTo>
                    <a:lnTo>
                      <a:pt x="2520" y="5578"/>
                    </a:lnTo>
                    <a:lnTo>
                      <a:pt x="2511" y="5588"/>
                    </a:lnTo>
                    <a:lnTo>
                      <a:pt x="2503" y="5598"/>
                    </a:lnTo>
                    <a:lnTo>
                      <a:pt x="2497" y="5607"/>
                    </a:lnTo>
                    <a:lnTo>
                      <a:pt x="2491" y="5618"/>
                    </a:lnTo>
                    <a:lnTo>
                      <a:pt x="2485" y="5634"/>
                    </a:lnTo>
                    <a:lnTo>
                      <a:pt x="2478" y="5652"/>
                    </a:lnTo>
                    <a:lnTo>
                      <a:pt x="2473" y="5668"/>
                    </a:lnTo>
                    <a:lnTo>
                      <a:pt x="2468" y="5686"/>
                    </a:lnTo>
                    <a:lnTo>
                      <a:pt x="2463" y="5704"/>
                    </a:lnTo>
                    <a:lnTo>
                      <a:pt x="2460" y="5722"/>
                    </a:lnTo>
                    <a:lnTo>
                      <a:pt x="2457" y="5740"/>
                    </a:lnTo>
                    <a:lnTo>
                      <a:pt x="2455" y="5759"/>
                    </a:lnTo>
                    <a:lnTo>
                      <a:pt x="2454" y="5777"/>
                    </a:lnTo>
                    <a:lnTo>
                      <a:pt x="2453" y="5795"/>
                    </a:lnTo>
                    <a:lnTo>
                      <a:pt x="2453" y="5814"/>
                    </a:lnTo>
                    <a:lnTo>
                      <a:pt x="2454" y="5832"/>
                    </a:lnTo>
                    <a:lnTo>
                      <a:pt x="2456" y="5850"/>
                    </a:lnTo>
                    <a:lnTo>
                      <a:pt x="2459" y="5868"/>
                    </a:lnTo>
                    <a:lnTo>
                      <a:pt x="2463" y="5885"/>
                    </a:lnTo>
                    <a:lnTo>
                      <a:pt x="2468" y="5902"/>
                    </a:lnTo>
                    <a:lnTo>
                      <a:pt x="2473" y="5918"/>
                    </a:lnTo>
                    <a:lnTo>
                      <a:pt x="2480" y="5934"/>
                    </a:lnTo>
                    <a:lnTo>
                      <a:pt x="2487" y="5949"/>
                    </a:lnTo>
                    <a:lnTo>
                      <a:pt x="2495" y="5964"/>
                    </a:lnTo>
                    <a:lnTo>
                      <a:pt x="2511" y="5992"/>
                    </a:lnTo>
                    <a:lnTo>
                      <a:pt x="2528" y="6020"/>
                    </a:lnTo>
                    <a:lnTo>
                      <a:pt x="2545" y="6049"/>
                    </a:lnTo>
                    <a:lnTo>
                      <a:pt x="2562" y="6077"/>
                    </a:lnTo>
                    <a:lnTo>
                      <a:pt x="2569" y="6092"/>
                    </a:lnTo>
                    <a:lnTo>
                      <a:pt x="2576" y="6107"/>
                    </a:lnTo>
                    <a:lnTo>
                      <a:pt x="2582" y="6124"/>
                    </a:lnTo>
                    <a:lnTo>
                      <a:pt x="2588" y="6140"/>
                    </a:lnTo>
                    <a:lnTo>
                      <a:pt x="2586" y="6167"/>
                    </a:lnTo>
                    <a:lnTo>
                      <a:pt x="2583" y="6188"/>
                    </a:lnTo>
                    <a:lnTo>
                      <a:pt x="2580" y="6198"/>
                    </a:lnTo>
                    <a:lnTo>
                      <a:pt x="2576" y="6208"/>
                    </a:lnTo>
                    <a:lnTo>
                      <a:pt x="2569" y="6219"/>
                    </a:lnTo>
                    <a:lnTo>
                      <a:pt x="2561" y="6231"/>
                    </a:lnTo>
                    <a:lnTo>
                      <a:pt x="2538" y="6255"/>
                    </a:lnTo>
                    <a:lnTo>
                      <a:pt x="2514" y="6280"/>
                    </a:lnTo>
                    <a:lnTo>
                      <a:pt x="2503" y="6292"/>
                    </a:lnTo>
                    <a:lnTo>
                      <a:pt x="2492" y="6306"/>
                    </a:lnTo>
                    <a:lnTo>
                      <a:pt x="2483" y="6320"/>
                    </a:lnTo>
                    <a:lnTo>
                      <a:pt x="2475" y="6335"/>
                    </a:lnTo>
                    <a:lnTo>
                      <a:pt x="2469" y="6353"/>
                    </a:lnTo>
                    <a:lnTo>
                      <a:pt x="2464" y="6369"/>
                    </a:lnTo>
                    <a:lnTo>
                      <a:pt x="2462" y="6386"/>
                    </a:lnTo>
                    <a:lnTo>
                      <a:pt x="2460" y="6402"/>
                    </a:lnTo>
                    <a:lnTo>
                      <a:pt x="2460" y="6436"/>
                    </a:lnTo>
                    <a:lnTo>
                      <a:pt x="2460" y="6471"/>
                    </a:lnTo>
                    <a:lnTo>
                      <a:pt x="2451" y="6564"/>
                    </a:lnTo>
                    <a:lnTo>
                      <a:pt x="2451" y="6564"/>
                    </a:lnTo>
                    <a:lnTo>
                      <a:pt x="2454" y="6612"/>
                    </a:lnTo>
                    <a:lnTo>
                      <a:pt x="2453" y="6620"/>
                    </a:lnTo>
                    <a:lnTo>
                      <a:pt x="2451" y="6629"/>
                    </a:lnTo>
                    <a:lnTo>
                      <a:pt x="2450" y="6639"/>
                    </a:lnTo>
                    <a:lnTo>
                      <a:pt x="2450" y="6647"/>
                    </a:lnTo>
                    <a:lnTo>
                      <a:pt x="2450" y="6666"/>
                    </a:lnTo>
                    <a:lnTo>
                      <a:pt x="2448" y="6684"/>
                    </a:lnTo>
                    <a:lnTo>
                      <a:pt x="2443" y="6701"/>
                    </a:lnTo>
                    <a:lnTo>
                      <a:pt x="2437" y="6717"/>
                    </a:lnTo>
                    <a:lnTo>
                      <a:pt x="2431" y="6733"/>
                    </a:lnTo>
                    <a:lnTo>
                      <a:pt x="2422" y="6748"/>
                    </a:lnTo>
                    <a:lnTo>
                      <a:pt x="2407" y="6772"/>
                    </a:lnTo>
                    <a:lnTo>
                      <a:pt x="2391" y="6794"/>
                    </a:lnTo>
                    <a:lnTo>
                      <a:pt x="2373" y="6817"/>
                    </a:lnTo>
                    <a:lnTo>
                      <a:pt x="2354" y="6838"/>
                    </a:lnTo>
                    <a:lnTo>
                      <a:pt x="2335" y="6859"/>
                    </a:lnTo>
                    <a:lnTo>
                      <a:pt x="2316" y="6881"/>
                    </a:lnTo>
                    <a:lnTo>
                      <a:pt x="2298" y="6902"/>
                    </a:lnTo>
                    <a:lnTo>
                      <a:pt x="2282" y="6925"/>
                    </a:lnTo>
                    <a:lnTo>
                      <a:pt x="2269" y="6935"/>
                    </a:lnTo>
                    <a:lnTo>
                      <a:pt x="2256" y="6943"/>
                    </a:lnTo>
                    <a:lnTo>
                      <a:pt x="2243" y="6951"/>
                    </a:lnTo>
                    <a:lnTo>
                      <a:pt x="2231" y="6957"/>
                    </a:lnTo>
                    <a:lnTo>
                      <a:pt x="2218" y="6964"/>
                    </a:lnTo>
                    <a:lnTo>
                      <a:pt x="2205" y="6970"/>
                    </a:lnTo>
                    <a:lnTo>
                      <a:pt x="2191" y="6976"/>
                    </a:lnTo>
                    <a:lnTo>
                      <a:pt x="2176" y="6981"/>
                    </a:lnTo>
                    <a:lnTo>
                      <a:pt x="2157" y="6990"/>
                    </a:lnTo>
                    <a:lnTo>
                      <a:pt x="2136" y="7001"/>
                    </a:lnTo>
                    <a:lnTo>
                      <a:pt x="2117" y="7013"/>
                    </a:lnTo>
                    <a:lnTo>
                      <a:pt x="2098" y="7024"/>
                    </a:lnTo>
                    <a:lnTo>
                      <a:pt x="2087" y="7030"/>
                    </a:lnTo>
                    <a:lnTo>
                      <a:pt x="2074" y="7036"/>
                    </a:lnTo>
                    <a:lnTo>
                      <a:pt x="2068" y="7040"/>
                    </a:lnTo>
                    <a:lnTo>
                      <a:pt x="2063" y="7043"/>
                    </a:lnTo>
                    <a:lnTo>
                      <a:pt x="2058" y="7046"/>
                    </a:lnTo>
                    <a:lnTo>
                      <a:pt x="2054" y="7050"/>
                    </a:lnTo>
                    <a:lnTo>
                      <a:pt x="2054" y="7050"/>
                    </a:lnTo>
                    <a:lnTo>
                      <a:pt x="2038" y="7024"/>
                    </a:lnTo>
                    <a:lnTo>
                      <a:pt x="2019" y="7000"/>
                    </a:lnTo>
                    <a:lnTo>
                      <a:pt x="2001" y="6974"/>
                    </a:lnTo>
                    <a:lnTo>
                      <a:pt x="1983" y="6947"/>
                    </a:lnTo>
                    <a:lnTo>
                      <a:pt x="1965" y="6920"/>
                    </a:lnTo>
                    <a:lnTo>
                      <a:pt x="1949" y="6893"/>
                    </a:lnTo>
                    <a:lnTo>
                      <a:pt x="1942" y="6879"/>
                    </a:lnTo>
                    <a:lnTo>
                      <a:pt x="1935" y="6865"/>
                    </a:lnTo>
                    <a:lnTo>
                      <a:pt x="1929" y="6851"/>
                    </a:lnTo>
                    <a:lnTo>
                      <a:pt x="1923" y="6836"/>
                    </a:lnTo>
                    <a:lnTo>
                      <a:pt x="1910" y="6805"/>
                    </a:lnTo>
                    <a:lnTo>
                      <a:pt x="1895" y="6771"/>
                    </a:lnTo>
                    <a:lnTo>
                      <a:pt x="1878" y="6736"/>
                    </a:lnTo>
                    <a:lnTo>
                      <a:pt x="1859" y="6703"/>
                    </a:lnTo>
                    <a:lnTo>
                      <a:pt x="1849" y="6685"/>
                    </a:lnTo>
                    <a:lnTo>
                      <a:pt x="1838" y="6669"/>
                    </a:lnTo>
                    <a:lnTo>
                      <a:pt x="1827" y="6654"/>
                    </a:lnTo>
                    <a:lnTo>
                      <a:pt x="1815" y="6639"/>
                    </a:lnTo>
                    <a:lnTo>
                      <a:pt x="1802" y="6626"/>
                    </a:lnTo>
                    <a:lnTo>
                      <a:pt x="1790" y="6613"/>
                    </a:lnTo>
                    <a:lnTo>
                      <a:pt x="1777" y="6601"/>
                    </a:lnTo>
                    <a:lnTo>
                      <a:pt x="1763" y="6591"/>
                    </a:lnTo>
                    <a:lnTo>
                      <a:pt x="1763" y="6591"/>
                    </a:lnTo>
                    <a:lnTo>
                      <a:pt x="1775" y="6558"/>
                    </a:lnTo>
                    <a:lnTo>
                      <a:pt x="1790" y="6524"/>
                    </a:lnTo>
                    <a:lnTo>
                      <a:pt x="1798" y="6507"/>
                    </a:lnTo>
                    <a:lnTo>
                      <a:pt x="1807" y="6491"/>
                    </a:lnTo>
                    <a:lnTo>
                      <a:pt x="1816" y="6476"/>
                    </a:lnTo>
                    <a:lnTo>
                      <a:pt x="1826" y="6461"/>
                    </a:lnTo>
                    <a:lnTo>
                      <a:pt x="1849" y="6428"/>
                    </a:lnTo>
                    <a:lnTo>
                      <a:pt x="1872" y="6390"/>
                    </a:lnTo>
                    <a:lnTo>
                      <a:pt x="1883" y="6371"/>
                    </a:lnTo>
                    <a:lnTo>
                      <a:pt x="1894" y="6350"/>
                    </a:lnTo>
                    <a:lnTo>
                      <a:pt x="1902" y="6332"/>
                    </a:lnTo>
                    <a:lnTo>
                      <a:pt x="1907" y="6314"/>
                    </a:lnTo>
                    <a:lnTo>
                      <a:pt x="1910" y="6301"/>
                    </a:lnTo>
                    <a:lnTo>
                      <a:pt x="1911" y="6287"/>
                    </a:lnTo>
                    <a:lnTo>
                      <a:pt x="1911" y="6274"/>
                    </a:lnTo>
                    <a:lnTo>
                      <a:pt x="1910" y="6261"/>
                    </a:lnTo>
                    <a:lnTo>
                      <a:pt x="1910" y="6248"/>
                    </a:lnTo>
                    <a:lnTo>
                      <a:pt x="1909" y="6235"/>
                    </a:lnTo>
                    <a:lnTo>
                      <a:pt x="1909" y="6222"/>
                    </a:lnTo>
                    <a:lnTo>
                      <a:pt x="1910" y="6209"/>
                    </a:lnTo>
                    <a:lnTo>
                      <a:pt x="1906" y="6194"/>
                    </a:lnTo>
                    <a:lnTo>
                      <a:pt x="1900" y="6179"/>
                    </a:lnTo>
                    <a:lnTo>
                      <a:pt x="1894" y="6165"/>
                    </a:lnTo>
                    <a:lnTo>
                      <a:pt x="1888" y="6152"/>
                    </a:lnTo>
                    <a:lnTo>
                      <a:pt x="1871" y="6127"/>
                    </a:lnTo>
                    <a:lnTo>
                      <a:pt x="1855" y="6102"/>
                    </a:lnTo>
                    <a:lnTo>
                      <a:pt x="1838" y="6078"/>
                    </a:lnTo>
                    <a:lnTo>
                      <a:pt x="1821" y="6055"/>
                    </a:lnTo>
                    <a:lnTo>
                      <a:pt x="1813" y="6042"/>
                    </a:lnTo>
                    <a:lnTo>
                      <a:pt x="1805" y="6028"/>
                    </a:lnTo>
                    <a:lnTo>
                      <a:pt x="1799" y="6014"/>
                    </a:lnTo>
                    <a:lnTo>
                      <a:pt x="1794" y="5999"/>
                    </a:lnTo>
                    <a:lnTo>
                      <a:pt x="1782" y="5965"/>
                    </a:lnTo>
                    <a:lnTo>
                      <a:pt x="1772" y="5931"/>
                    </a:lnTo>
                    <a:lnTo>
                      <a:pt x="1768" y="5915"/>
                    </a:lnTo>
                    <a:lnTo>
                      <a:pt x="1764" y="5899"/>
                    </a:lnTo>
                    <a:lnTo>
                      <a:pt x="1761" y="5883"/>
                    </a:lnTo>
                    <a:lnTo>
                      <a:pt x="1759" y="5867"/>
                    </a:lnTo>
                    <a:lnTo>
                      <a:pt x="1758" y="5849"/>
                    </a:lnTo>
                    <a:lnTo>
                      <a:pt x="1757" y="5833"/>
                    </a:lnTo>
                    <a:lnTo>
                      <a:pt x="1757" y="5817"/>
                    </a:lnTo>
                    <a:lnTo>
                      <a:pt x="1757" y="5800"/>
                    </a:lnTo>
                    <a:lnTo>
                      <a:pt x="1758" y="5782"/>
                    </a:lnTo>
                    <a:lnTo>
                      <a:pt x="1760" y="5765"/>
                    </a:lnTo>
                    <a:lnTo>
                      <a:pt x="1762" y="5748"/>
                    </a:lnTo>
                    <a:lnTo>
                      <a:pt x="1765" y="5729"/>
                    </a:lnTo>
                    <a:lnTo>
                      <a:pt x="1769" y="5709"/>
                    </a:lnTo>
                    <a:lnTo>
                      <a:pt x="1770" y="5687"/>
                    </a:lnTo>
                    <a:lnTo>
                      <a:pt x="1771" y="5677"/>
                    </a:lnTo>
                    <a:lnTo>
                      <a:pt x="1772" y="5666"/>
                    </a:lnTo>
                    <a:lnTo>
                      <a:pt x="1773" y="5656"/>
                    </a:lnTo>
                    <a:lnTo>
                      <a:pt x="1776" y="5647"/>
                    </a:lnTo>
                    <a:lnTo>
                      <a:pt x="1776" y="5631"/>
                    </a:lnTo>
                    <a:lnTo>
                      <a:pt x="1777" y="5615"/>
                    </a:lnTo>
                    <a:lnTo>
                      <a:pt x="1780" y="5599"/>
                    </a:lnTo>
                    <a:lnTo>
                      <a:pt x="1782" y="5583"/>
                    </a:lnTo>
                    <a:lnTo>
                      <a:pt x="1787" y="5550"/>
                    </a:lnTo>
                    <a:lnTo>
                      <a:pt x="1792" y="5518"/>
                    </a:lnTo>
                    <a:lnTo>
                      <a:pt x="1795" y="5502"/>
                    </a:lnTo>
                    <a:lnTo>
                      <a:pt x="1796" y="5485"/>
                    </a:lnTo>
                    <a:lnTo>
                      <a:pt x="1797" y="5469"/>
                    </a:lnTo>
                    <a:lnTo>
                      <a:pt x="1797" y="5453"/>
                    </a:lnTo>
                    <a:lnTo>
                      <a:pt x="1797" y="5421"/>
                    </a:lnTo>
                    <a:lnTo>
                      <a:pt x="1799" y="5388"/>
                    </a:lnTo>
                    <a:lnTo>
                      <a:pt x="1801" y="5371"/>
                    </a:lnTo>
                    <a:lnTo>
                      <a:pt x="1804" y="5354"/>
                    </a:lnTo>
                    <a:lnTo>
                      <a:pt x="1809" y="5336"/>
                    </a:lnTo>
                    <a:lnTo>
                      <a:pt x="1812" y="5320"/>
                    </a:lnTo>
                    <a:lnTo>
                      <a:pt x="1823" y="5288"/>
                    </a:lnTo>
                    <a:lnTo>
                      <a:pt x="1834" y="5258"/>
                    </a:lnTo>
                    <a:lnTo>
                      <a:pt x="1848" y="5227"/>
                    </a:lnTo>
                    <a:lnTo>
                      <a:pt x="1863" y="5197"/>
                    </a:lnTo>
                    <a:lnTo>
                      <a:pt x="1879" y="5168"/>
                    </a:lnTo>
                    <a:lnTo>
                      <a:pt x="1897" y="5137"/>
                    </a:lnTo>
                    <a:lnTo>
                      <a:pt x="1900" y="5129"/>
                    </a:lnTo>
                    <a:lnTo>
                      <a:pt x="1905" y="5119"/>
                    </a:lnTo>
                    <a:lnTo>
                      <a:pt x="1908" y="5107"/>
                    </a:lnTo>
                    <a:lnTo>
                      <a:pt x="1910" y="5096"/>
                    </a:lnTo>
                    <a:lnTo>
                      <a:pt x="1913" y="5085"/>
                    </a:lnTo>
                    <a:lnTo>
                      <a:pt x="1917" y="5075"/>
                    </a:lnTo>
                    <a:lnTo>
                      <a:pt x="1919" y="5067"/>
                    </a:lnTo>
                    <a:lnTo>
                      <a:pt x="1921" y="5063"/>
                    </a:lnTo>
                    <a:lnTo>
                      <a:pt x="1923" y="5047"/>
                    </a:lnTo>
                    <a:lnTo>
                      <a:pt x="1928" y="5033"/>
                    </a:lnTo>
                    <a:lnTo>
                      <a:pt x="1931" y="5020"/>
                    </a:lnTo>
                    <a:lnTo>
                      <a:pt x="1935" y="5007"/>
                    </a:lnTo>
                    <a:lnTo>
                      <a:pt x="1937" y="4994"/>
                    </a:lnTo>
                    <a:lnTo>
                      <a:pt x="1937" y="4980"/>
                    </a:lnTo>
                    <a:lnTo>
                      <a:pt x="1937" y="4973"/>
                    </a:lnTo>
                    <a:lnTo>
                      <a:pt x="1935" y="4966"/>
                    </a:lnTo>
                    <a:lnTo>
                      <a:pt x="1933" y="4958"/>
                    </a:lnTo>
                    <a:lnTo>
                      <a:pt x="1930" y="4950"/>
                    </a:lnTo>
                    <a:lnTo>
                      <a:pt x="1922" y="4932"/>
                    </a:lnTo>
                    <a:lnTo>
                      <a:pt x="1916" y="4915"/>
                    </a:lnTo>
                    <a:lnTo>
                      <a:pt x="1909" y="4899"/>
                    </a:lnTo>
                    <a:lnTo>
                      <a:pt x="1905" y="4882"/>
                    </a:lnTo>
                    <a:lnTo>
                      <a:pt x="1900" y="4865"/>
                    </a:lnTo>
                    <a:lnTo>
                      <a:pt x="1897" y="4848"/>
                    </a:lnTo>
                    <a:lnTo>
                      <a:pt x="1895" y="4830"/>
                    </a:lnTo>
                    <a:lnTo>
                      <a:pt x="1893" y="4810"/>
                    </a:lnTo>
                    <a:lnTo>
                      <a:pt x="1891" y="4769"/>
                    </a:lnTo>
                    <a:lnTo>
                      <a:pt x="1888" y="4732"/>
                    </a:lnTo>
                    <a:lnTo>
                      <a:pt x="1884" y="4714"/>
                    </a:lnTo>
                    <a:lnTo>
                      <a:pt x="1880" y="4698"/>
                    </a:lnTo>
                    <a:lnTo>
                      <a:pt x="1876" y="4683"/>
                    </a:lnTo>
                    <a:lnTo>
                      <a:pt x="1869" y="4669"/>
                    </a:lnTo>
                    <a:lnTo>
                      <a:pt x="1865" y="4662"/>
                    </a:lnTo>
                    <a:lnTo>
                      <a:pt x="1862" y="4657"/>
                    </a:lnTo>
                    <a:lnTo>
                      <a:pt x="1856" y="4651"/>
                    </a:lnTo>
                    <a:lnTo>
                      <a:pt x="1852" y="4645"/>
                    </a:lnTo>
                    <a:lnTo>
                      <a:pt x="1846" y="4641"/>
                    </a:lnTo>
                    <a:lnTo>
                      <a:pt x="1840" y="4635"/>
                    </a:lnTo>
                    <a:lnTo>
                      <a:pt x="1834" y="4631"/>
                    </a:lnTo>
                    <a:lnTo>
                      <a:pt x="1827" y="4628"/>
                    </a:lnTo>
                    <a:lnTo>
                      <a:pt x="1819" y="4625"/>
                    </a:lnTo>
                    <a:lnTo>
                      <a:pt x="1811" y="4621"/>
                    </a:lnTo>
                    <a:lnTo>
                      <a:pt x="1802" y="4619"/>
                    </a:lnTo>
                    <a:lnTo>
                      <a:pt x="1792" y="4617"/>
                    </a:lnTo>
                    <a:lnTo>
                      <a:pt x="1772" y="4614"/>
                    </a:lnTo>
                    <a:lnTo>
                      <a:pt x="1748" y="4613"/>
                    </a:lnTo>
                    <a:lnTo>
                      <a:pt x="1734" y="4613"/>
                    </a:lnTo>
                    <a:lnTo>
                      <a:pt x="1721" y="4611"/>
                    </a:lnTo>
                    <a:lnTo>
                      <a:pt x="1709" y="4607"/>
                    </a:lnTo>
                    <a:lnTo>
                      <a:pt x="1698" y="4603"/>
                    </a:lnTo>
                    <a:lnTo>
                      <a:pt x="1689" y="4598"/>
                    </a:lnTo>
                    <a:lnTo>
                      <a:pt x="1680" y="4592"/>
                    </a:lnTo>
                    <a:lnTo>
                      <a:pt x="1673" y="4585"/>
                    </a:lnTo>
                    <a:lnTo>
                      <a:pt x="1666" y="4576"/>
                    </a:lnTo>
                    <a:lnTo>
                      <a:pt x="1662" y="4567"/>
                    </a:lnTo>
                    <a:lnTo>
                      <a:pt x="1657" y="4558"/>
                    </a:lnTo>
                    <a:lnTo>
                      <a:pt x="1653" y="4547"/>
                    </a:lnTo>
                    <a:lnTo>
                      <a:pt x="1651" y="4536"/>
                    </a:lnTo>
                    <a:lnTo>
                      <a:pt x="1650" y="4523"/>
                    </a:lnTo>
                    <a:lnTo>
                      <a:pt x="1649" y="4511"/>
                    </a:lnTo>
                    <a:lnTo>
                      <a:pt x="1649" y="4497"/>
                    </a:lnTo>
                    <a:lnTo>
                      <a:pt x="1649" y="4483"/>
                    </a:lnTo>
                    <a:lnTo>
                      <a:pt x="1632" y="4443"/>
                    </a:lnTo>
                    <a:lnTo>
                      <a:pt x="1615" y="4404"/>
                    </a:lnTo>
                    <a:lnTo>
                      <a:pt x="1608" y="4384"/>
                    </a:lnTo>
                    <a:lnTo>
                      <a:pt x="1601" y="4364"/>
                    </a:lnTo>
                    <a:lnTo>
                      <a:pt x="1596" y="4345"/>
                    </a:lnTo>
                    <a:lnTo>
                      <a:pt x="1592" y="4324"/>
                    </a:lnTo>
                    <a:lnTo>
                      <a:pt x="1587" y="4305"/>
                    </a:lnTo>
                    <a:lnTo>
                      <a:pt x="1585" y="4284"/>
                    </a:lnTo>
                    <a:lnTo>
                      <a:pt x="1584" y="4264"/>
                    </a:lnTo>
                    <a:lnTo>
                      <a:pt x="1585" y="4243"/>
                    </a:lnTo>
                    <a:lnTo>
                      <a:pt x="1587" y="4223"/>
                    </a:lnTo>
                    <a:lnTo>
                      <a:pt x="1590" y="4201"/>
                    </a:lnTo>
                    <a:lnTo>
                      <a:pt x="1596" y="4180"/>
                    </a:lnTo>
                    <a:lnTo>
                      <a:pt x="1603" y="4158"/>
                    </a:lnTo>
                    <a:lnTo>
                      <a:pt x="1609" y="4146"/>
                    </a:lnTo>
                    <a:lnTo>
                      <a:pt x="1614" y="4134"/>
                    </a:lnTo>
                    <a:lnTo>
                      <a:pt x="1622" y="4124"/>
                    </a:lnTo>
                    <a:lnTo>
                      <a:pt x="1628" y="4113"/>
                    </a:lnTo>
                    <a:lnTo>
                      <a:pt x="1635" y="4101"/>
                    </a:lnTo>
                    <a:lnTo>
                      <a:pt x="1641" y="4089"/>
                    </a:lnTo>
                    <a:lnTo>
                      <a:pt x="1646" y="4077"/>
                    </a:lnTo>
                    <a:lnTo>
                      <a:pt x="1648" y="4064"/>
                    </a:lnTo>
                    <a:lnTo>
                      <a:pt x="1648" y="4055"/>
                    </a:lnTo>
                    <a:lnTo>
                      <a:pt x="1648" y="4046"/>
                    </a:lnTo>
                    <a:lnTo>
                      <a:pt x="1648" y="4036"/>
                    </a:lnTo>
                    <a:lnTo>
                      <a:pt x="1646" y="4025"/>
                    </a:lnTo>
                    <a:lnTo>
                      <a:pt x="1642" y="4005"/>
                    </a:lnTo>
                    <a:lnTo>
                      <a:pt x="1639" y="3984"/>
                    </a:lnTo>
                    <a:lnTo>
                      <a:pt x="1636" y="3964"/>
                    </a:lnTo>
                    <a:lnTo>
                      <a:pt x="1634" y="3944"/>
                    </a:lnTo>
                    <a:lnTo>
                      <a:pt x="1634" y="3935"/>
                    </a:lnTo>
                    <a:lnTo>
                      <a:pt x="1634" y="3925"/>
                    </a:lnTo>
                    <a:lnTo>
                      <a:pt x="1635" y="3915"/>
                    </a:lnTo>
                    <a:lnTo>
                      <a:pt x="1637" y="3906"/>
                    </a:lnTo>
                    <a:lnTo>
                      <a:pt x="1642" y="3878"/>
                    </a:lnTo>
                    <a:lnTo>
                      <a:pt x="1646" y="3846"/>
                    </a:lnTo>
                    <a:lnTo>
                      <a:pt x="1647" y="3829"/>
                    </a:lnTo>
                    <a:lnTo>
                      <a:pt x="1647" y="3812"/>
                    </a:lnTo>
                    <a:lnTo>
                      <a:pt x="1647" y="3795"/>
                    </a:lnTo>
                    <a:lnTo>
                      <a:pt x="1646" y="3779"/>
                    </a:lnTo>
                    <a:lnTo>
                      <a:pt x="1642" y="3763"/>
                    </a:lnTo>
                    <a:lnTo>
                      <a:pt x="1638" y="3748"/>
                    </a:lnTo>
                    <a:lnTo>
                      <a:pt x="1633" y="3734"/>
                    </a:lnTo>
                    <a:lnTo>
                      <a:pt x="1626" y="3721"/>
                    </a:lnTo>
                    <a:lnTo>
                      <a:pt x="1622" y="3714"/>
                    </a:lnTo>
                    <a:lnTo>
                      <a:pt x="1617" y="3709"/>
                    </a:lnTo>
                    <a:lnTo>
                      <a:pt x="1612" y="3703"/>
                    </a:lnTo>
                    <a:lnTo>
                      <a:pt x="1607" y="3698"/>
                    </a:lnTo>
                    <a:lnTo>
                      <a:pt x="1601" y="3694"/>
                    </a:lnTo>
                    <a:lnTo>
                      <a:pt x="1595" y="3690"/>
                    </a:lnTo>
                    <a:lnTo>
                      <a:pt x="1587" y="3687"/>
                    </a:lnTo>
                    <a:lnTo>
                      <a:pt x="1580" y="3684"/>
                    </a:lnTo>
                    <a:lnTo>
                      <a:pt x="1261" y="3577"/>
                    </a:lnTo>
                    <a:lnTo>
                      <a:pt x="1234" y="3567"/>
                    </a:lnTo>
                    <a:lnTo>
                      <a:pt x="1209" y="3555"/>
                    </a:lnTo>
                    <a:lnTo>
                      <a:pt x="1184" y="3542"/>
                    </a:lnTo>
                    <a:lnTo>
                      <a:pt x="1161" y="3531"/>
                    </a:lnTo>
                    <a:lnTo>
                      <a:pt x="1149" y="3525"/>
                    </a:lnTo>
                    <a:lnTo>
                      <a:pt x="1137" y="3520"/>
                    </a:lnTo>
                    <a:lnTo>
                      <a:pt x="1125" y="3515"/>
                    </a:lnTo>
                    <a:lnTo>
                      <a:pt x="1113" y="3511"/>
                    </a:lnTo>
                    <a:lnTo>
                      <a:pt x="1100" y="3509"/>
                    </a:lnTo>
                    <a:lnTo>
                      <a:pt x="1088" y="3507"/>
                    </a:lnTo>
                    <a:lnTo>
                      <a:pt x="1075" y="3507"/>
                    </a:lnTo>
                    <a:lnTo>
                      <a:pt x="1061" y="3507"/>
                    </a:lnTo>
                    <a:lnTo>
                      <a:pt x="1046" y="3509"/>
                    </a:lnTo>
                    <a:lnTo>
                      <a:pt x="1031" y="3513"/>
                    </a:lnTo>
                    <a:lnTo>
                      <a:pt x="1016" y="3519"/>
                    </a:lnTo>
                    <a:lnTo>
                      <a:pt x="1001" y="3524"/>
                    </a:lnTo>
                    <a:lnTo>
                      <a:pt x="985" y="3528"/>
                    </a:lnTo>
                    <a:lnTo>
                      <a:pt x="971" y="3531"/>
                    </a:lnTo>
                    <a:lnTo>
                      <a:pt x="964" y="3532"/>
                    </a:lnTo>
                    <a:lnTo>
                      <a:pt x="956" y="3532"/>
                    </a:lnTo>
                    <a:lnTo>
                      <a:pt x="949" y="3531"/>
                    </a:lnTo>
                    <a:lnTo>
                      <a:pt x="941" y="3530"/>
                    </a:lnTo>
                    <a:lnTo>
                      <a:pt x="935" y="3527"/>
                    </a:lnTo>
                    <a:lnTo>
                      <a:pt x="928" y="3524"/>
                    </a:lnTo>
                    <a:lnTo>
                      <a:pt x="922" y="3520"/>
                    </a:lnTo>
                    <a:lnTo>
                      <a:pt x="915" y="3515"/>
                    </a:lnTo>
                    <a:lnTo>
                      <a:pt x="902" y="3505"/>
                    </a:lnTo>
                    <a:lnTo>
                      <a:pt x="888" y="3494"/>
                    </a:lnTo>
                    <a:lnTo>
                      <a:pt x="863" y="3469"/>
                    </a:lnTo>
                    <a:lnTo>
                      <a:pt x="840" y="3449"/>
                    </a:lnTo>
                    <a:lnTo>
                      <a:pt x="832" y="3443"/>
                    </a:lnTo>
                    <a:lnTo>
                      <a:pt x="825" y="3438"/>
                    </a:lnTo>
                    <a:lnTo>
                      <a:pt x="816" y="3434"/>
                    </a:lnTo>
                    <a:lnTo>
                      <a:pt x="807" y="3430"/>
                    </a:lnTo>
                    <a:lnTo>
                      <a:pt x="789" y="3425"/>
                    </a:lnTo>
                    <a:lnTo>
                      <a:pt x="769" y="3420"/>
                    </a:lnTo>
                    <a:lnTo>
                      <a:pt x="731" y="3414"/>
                    </a:lnTo>
                    <a:lnTo>
                      <a:pt x="694" y="3406"/>
                    </a:lnTo>
                    <a:lnTo>
                      <a:pt x="657" y="3405"/>
                    </a:lnTo>
                    <a:lnTo>
                      <a:pt x="620" y="3403"/>
                    </a:lnTo>
                    <a:lnTo>
                      <a:pt x="602" y="3401"/>
                    </a:lnTo>
                    <a:lnTo>
                      <a:pt x="583" y="3398"/>
                    </a:lnTo>
                    <a:lnTo>
                      <a:pt x="564" y="3395"/>
                    </a:lnTo>
                    <a:lnTo>
                      <a:pt x="546" y="3391"/>
                    </a:lnTo>
                    <a:lnTo>
                      <a:pt x="529" y="3386"/>
                    </a:lnTo>
                    <a:lnTo>
                      <a:pt x="510" y="3382"/>
                    </a:lnTo>
                    <a:lnTo>
                      <a:pt x="493" y="3375"/>
                    </a:lnTo>
                    <a:lnTo>
                      <a:pt x="476" y="3369"/>
                    </a:lnTo>
                    <a:lnTo>
                      <a:pt x="459" y="3361"/>
                    </a:lnTo>
                    <a:lnTo>
                      <a:pt x="443" y="3352"/>
                    </a:lnTo>
                    <a:lnTo>
                      <a:pt x="427" y="3343"/>
                    </a:lnTo>
                    <a:lnTo>
                      <a:pt x="412" y="3333"/>
                    </a:lnTo>
                    <a:lnTo>
                      <a:pt x="403" y="3328"/>
                    </a:lnTo>
                    <a:lnTo>
                      <a:pt x="393" y="3322"/>
                    </a:lnTo>
                    <a:lnTo>
                      <a:pt x="385" y="3319"/>
                    </a:lnTo>
                    <a:lnTo>
                      <a:pt x="376" y="3316"/>
                    </a:lnTo>
                    <a:lnTo>
                      <a:pt x="368" y="3315"/>
                    </a:lnTo>
                    <a:lnTo>
                      <a:pt x="359" y="3314"/>
                    </a:lnTo>
                    <a:lnTo>
                      <a:pt x="350" y="3314"/>
                    </a:lnTo>
                    <a:lnTo>
                      <a:pt x="343" y="3314"/>
                    </a:lnTo>
                    <a:lnTo>
                      <a:pt x="334" y="3315"/>
                    </a:lnTo>
                    <a:lnTo>
                      <a:pt x="325" y="3317"/>
                    </a:lnTo>
                    <a:lnTo>
                      <a:pt x="318" y="3319"/>
                    </a:lnTo>
                    <a:lnTo>
                      <a:pt x="309" y="3322"/>
                    </a:lnTo>
                    <a:lnTo>
                      <a:pt x="293" y="3329"/>
                    </a:lnTo>
                    <a:lnTo>
                      <a:pt x="277" y="3337"/>
                    </a:lnTo>
                    <a:lnTo>
                      <a:pt x="244" y="3356"/>
                    </a:lnTo>
                    <a:lnTo>
                      <a:pt x="212" y="3373"/>
                    </a:lnTo>
                    <a:lnTo>
                      <a:pt x="196" y="3380"/>
                    </a:lnTo>
                    <a:lnTo>
                      <a:pt x="179" y="3386"/>
                    </a:lnTo>
                    <a:lnTo>
                      <a:pt x="171" y="3388"/>
                    </a:lnTo>
                    <a:lnTo>
                      <a:pt x="162" y="3389"/>
                    </a:lnTo>
                    <a:lnTo>
                      <a:pt x="154" y="3390"/>
                    </a:lnTo>
                    <a:lnTo>
                      <a:pt x="145" y="3390"/>
                    </a:lnTo>
                    <a:lnTo>
                      <a:pt x="135" y="3389"/>
                    </a:lnTo>
                    <a:lnTo>
                      <a:pt x="127" y="3388"/>
                    </a:lnTo>
                    <a:lnTo>
                      <a:pt x="118" y="3385"/>
                    </a:lnTo>
                    <a:lnTo>
                      <a:pt x="110" y="3382"/>
                    </a:lnTo>
                    <a:lnTo>
                      <a:pt x="103" y="3377"/>
                    </a:lnTo>
                    <a:lnTo>
                      <a:pt x="96" y="3372"/>
                    </a:lnTo>
                    <a:lnTo>
                      <a:pt x="90" y="3365"/>
                    </a:lnTo>
                    <a:lnTo>
                      <a:pt x="85" y="3360"/>
                    </a:lnTo>
                    <a:lnTo>
                      <a:pt x="79" y="3352"/>
                    </a:lnTo>
                    <a:lnTo>
                      <a:pt x="75" y="3345"/>
                    </a:lnTo>
                    <a:lnTo>
                      <a:pt x="72" y="3337"/>
                    </a:lnTo>
                    <a:lnTo>
                      <a:pt x="67" y="3330"/>
                    </a:lnTo>
                    <a:lnTo>
                      <a:pt x="65" y="3321"/>
                    </a:lnTo>
                    <a:lnTo>
                      <a:pt x="63" y="3312"/>
                    </a:lnTo>
                    <a:lnTo>
                      <a:pt x="62" y="3305"/>
                    </a:lnTo>
                    <a:lnTo>
                      <a:pt x="61" y="3296"/>
                    </a:lnTo>
                    <a:lnTo>
                      <a:pt x="22" y="3229"/>
                    </a:lnTo>
                    <a:lnTo>
                      <a:pt x="22" y="3229"/>
                    </a:lnTo>
                    <a:close/>
                  </a:path>
                </a:pathLst>
              </a:custGeom>
              <a:grpFill/>
              <a:ln w="3175">
                <a:noFill/>
                <a:prstDash val="solid"/>
                <a:round/>
                <a:headEnd/>
                <a:tailEnd/>
              </a:ln>
              <a:effectLst>
                <a:outerShdw blurRad="149987" dist="250190" dir="8460000" algn="ctr">
                  <a:srgbClr val="000000">
                    <a:alpha val="28000"/>
                  </a:srgbClr>
                </a:outerShdw>
              </a:effectLst>
              <a:sp3d prstMaterial="metal">
                <a:bevelT w="88900" h="88900"/>
              </a:sp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grpSp>
        <p:sp>
          <p:nvSpPr>
            <p:cNvPr id="14" name="Freeform 24">
              <a:extLst>
                <a:ext uri="{FF2B5EF4-FFF2-40B4-BE49-F238E27FC236}">
                  <a16:creationId xmlns:a16="http://schemas.microsoft.com/office/drawing/2014/main" id="{15E5B702-B968-4935-A4B1-D39A0BAA780F}"/>
                </a:ext>
              </a:extLst>
            </p:cNvPr>
            <p:cNvSpPr>
              <a:spLocks/>
            </p:cNvSpPr>
            <p:nvPr/>
          </p:nvSpPr>
          <p:spPr bwMode="auto">
            <a:xfrm>
              <a:off x="1164556" y="2999679"/>
              <a:ext cx="1544035" cy="1664303"/>
            </a:xfrm>
            <a:custGeom>
              <a:avLst/>
              <a:gdLst>
                <a:gd name="T0" fmla="*/ 359 w 3388"/>
                <a:gd name="T1" fmla="*/ 2361 h 4166"/>
                <a:gd name="T2" fmla="*/ 542 w 3388"/>
                <a:gd name="T3" fmla="*/ 2481 h 4166"/>
                <a:gd name="T4" fmla="*/ 818 w 3388"/>
                <a:gd name="T5" fmla="*/ 2496 h 4166"/>
                <a:gd name="T6" fmla="*/ 1036 w 3388"/>
                <a:gd name="T7" fmla="*/ 2513 h 4166"/>
                <a:gd name="T8" fmla="*/ 1108 w 3388"/>
                <a:gd name="T9" fmla="*/ 2729 h 4166"/>
                <a:gd name="T10" fmla="*/ 1281 w 3388"/>
                <a:gd name="T11" fmla="*/ 2910 h 4166"/>
                <a:gd name="T12" fmla="*/ 1469 w 3388"/>
                <a:gd name="T13" fmla="*/ 2916 h 4166"/>
                <a:gd name="T14" fmla="*/ 1709 w 3388"/>
                <a:gd name="T15" fmla="*/ 2943 h 4166"/>
                <a:gd name="T16" fmla="*/ 1775 w 3388"/>
                <a:gd name="T17" fmla="*/ 3059 h 4166"/>
                <a:gd name="T18" fmla="*/ 1861 w 3388"/>
                <a:gd name="T19" fmla="*/ 3245 h 4166"/>
                <a:gd name="T20" fmla="*/ 1748 w 3388"/>
                <a:gd name="T21" fmla="*/ 3458 h 4166"/>
                <a:gd name="T22" fmla="*/ 1745 w 3388"/>
                <a:gd name="T23" fmla="*/ 3634 h 4166"/>
                <a:gd name="T24" fmla="*/ 1930 w 3388"/>
                <a:gd name="T25" fmla="*/ 3708 h 4166"/>
                <a:gd name="T26" fmla="*/ 2134 w 3388"/>
                <a:gd name="T27" fmla="*/ 3960 h 4166"/>
                <a:gd name="T28" fmla="*/ 2215 w 3388"/>
                <a:gd name="T29" fmla="*/ 4144 h 4166"/>
                <a:gd name="T30" fmla="*/ 2420 w 3388"/>
                <a:gd name="T31" fmla="*/ 4140 h 4166"/>
                <a:gd name="T32" fmla="*/ 2690 w 3388"/>
                <a:gd name="T33" fmla="*/ 3930 h 4166"/>
                <a:gd name="T34" fmla="*/ 2870 w 3388"/>
                <a:gd name="T35" fmla="*/ 3666 h 4166"/>
                <a:gd name="T36" fmla="*/ 3020 w 3388"/>
                <a:gd name="T37" fmla="*/ 3507 h 4166"/>
                <a:gd name="T38" fmla="*/ 3214 w 3388"/>
                <a:gd name="T39" fmla="*/ 3362 h 4166"/>
                <a:gd name="T40" fmla="*/ 3362 w 3388"/>
                <a:gd name="T41" fmla="*/ 3058 h 4166"/>
                <a:gd name="T42" fmla="*/ 3272 w 3388"/>
                <a:gd name="T43" fmla="*/ 2826 h 4166"/>
                <a:gd name="T44" fmla="*/ 3208 w 3388"/>
                <a:gd name="T45" fmla="*/ 2571 h 4166"/>
                <a:gd name="T46" fmla="*/ 3233 w 3388"/>
                <a:gd name="T47" fmla="*/ 2354 h 4166"/>
                <a:gd name="T48" fmla="*/ 3285 w 3388"/>
                <a:gd name="T49" fmla="*/ 2029 h 4166"/>
                <a:gd name="T50" fmla="*/ 3379 w 3388"/>
                <a:gd name="T51" fmla="*/ 1804 h 4166"/>
                <a:gd name="T52" fmla="*/ 3348 w 3388"/>
                <a:gd name="T53" fmla="*/ 1619 h 4166"/>
                <a:gd name="T54" fmla="*/ 3291 w 3388"/>
                <a:gd name="T55" fmla="*/ 1406 h 4166"/>
                <a:gd name="T56" fmla="*/ 3131 w 3388"/>
                <a:gd name="T57" fmla="*/ 1363 h 4166"/>
                <a:gd name="T58" fmla="*/ 3052 w 3388"/>
                <a:gd name="T59" fmla="*/ 1135 h 4166"/>
                <a:gd name="T60" fmla="*/ 3079 w 3388"/>
                <a:gd name="T61" fmla="*/ 884 h 4166"/>
                <a:gd name="T62" fmla="*/ 3085 w 3388"/>
                <a:gd name="T63" fmla="*/ 696 h 4166"/>
                <a:gd name="T64" fmla="*/ 3068 w 3388"/>
                <a:gd name="T65" fmla="*/ 480 h 4166"/>
                <a:gd name="T66" fmla="*/ 2576 w 3388"/>
                <a:gd name="T67" fmla="*/ 286 h 4166"/>
                <a:gd name="T68" fmla="*/ 2400 w 3388"/>
                <a:gd name="T69" fmla="*/ 302 h 4166"/>
                <a:gd name="T70" fmla="*/ 2240 w 3388"/>
                <a:gd name="T71" fmla="*/ 196 h 4166"/>
                <a:gd name="T72" fmla="*/ 1910 w 3388"/>
                <a:gd name="T73" fmla="*/ 132 h 4166"/>
                <a:gd name="T74" fmla="*/ 1769 w 3388"/>
                <a:gd name="T75" fmla="*/ 90 h 4166"/>
                <a:gd name="T76" fmla="*/ 1569 w 3388"/>
                <a:gd name="T77" fmla="*/ 156 h 4166"/>
                <a:gd name="T78" fmla="*/ 1473 w 3388"/>
                <a:gd name="T79" fmla="*/ 0 h 4166"/>
                <a:gd name="T80" fmla="*/ 1289 w 3388"/>
                <a:gd name="T81" fmla="*/ 120 h 4166"/>
                <a:gd name="T82" fmla="*/ 1192 w 3388"/>
                <a:gd name="T83" fmla="*/ 284 h 4166"/>
                <a:gd name="T84" fmla="*/ 1041 w 3388"/>
                <a:gd name="T85" fmla="*/ 526 h 4166"/>
                <a:gd name="T86" fmla="*/ 951 w 3388"/>
                <a:gd name="T87" fmla="*/ 681 h 4166"/>
                <a:gd name="T88" fmla="*/ 998 w 3388"/>
                <a:gd name="T89" fmla="*/ 733 h 4166"/>
                <a:gd name="T90" fmla="*/ 1006 w 3388"/>
                <a:gd name="T91" fmla="*/ 823 h 4166"/>
                <a:gd name="T92" fmla="*/ 952 w 3388"/>
                <a:gd name="T93" fmla="*/ 899 h 4166"/>
                <a:gd name="T94" fmla="*/ 923 w 3388"/>
                <a:gd name="T95" fmla="*/ 912 h 4166"/>
                <a:gd name="T96" fmla="*/ 836 w 3388"/>
                <a:gd name="T97" fmla="*/ 938 h 4166"/>
                <a:gd name="T98" fmla="*/ 692 w 3388"/>
                <a:gd name="T99" fmla="*/ 1019 h 4166"/>
                <a:gd name="T100" fmla="*/ 455 w 3388"/>
                <a:gd name="T101" fmla="*/ 1049 h 4166"/>
                <a:gd name="T102" fmla="*/ 414 w 3388"/>
                <a:gd name="T103" fmla="*/ 1179 h 4166"/>
                <a:gd name="T104" fmla="*/ 398 w 3388"/>
                <a:gd name="T105" fmla="*/ 1238 h 4166"/>
                <a:gd name="T106" fmla="*/ 495 w 3388"/>
                <a:gd name="T107" fmla="*/ 1333 h 4166"/>
                <a:gd name="T108" fmla="*/ 380 w 3388"/>
                <a:gd name="T109" fmla="*/ 1427 h 4166"/>
                <a:gd name="T110" fmla="*/ 372 w 3388"/>
                <a:gd name="T111" fmla="*/ 1579 h 4166"/>
                <a:gd name="T112" fmla="*/ 303 w 3388"/>
                <a:gd name="T113" fmla="*/ 1636 h 4166"/>
                <a:gd name="T114" fmla="*/ 210 w 3388"/>
                <a:gd name="T115" fmla="*/ 1790 h 4166"/>
                <a:gd name="T116" fmla="*/ 91 w 3388"/>
                <a:gd name="T117" fmla="*/ 1858 h 4166"/>
                <a:gd name="T118" fmla="*/ 61 w 3388"/>
                <a:gd name="T119" fmla="*/ 1952 h 4166"/>
                <a:gd name="T120" fmla="*/ 167 w 3388"/>
                <a:gd name="T121" fmla="*/ 2041 h 4166"/>
                <a:gd name="T122" fmla="*/ 105 w 3388"/>
                <a:gd name="T123" fmla="*/ 2174 h 4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88" h="4166">
                  <a:moveTo>
                    <a:pt x="0" y="2281"/>
                  </a:moveTo>
                  <a:lnTo>
                    <a:pt x="138" y="2286"/>
                  </a:lnTo>
                  <a:lnTo>
                    <a:pt x="171" y="2289"/>
                  </a:lnTo>
                  <a:lnTo>
                    <a:pt x="206" y="2293"/>
                  </a:lnTo>
                  <a:lnTo>
                    <a:pt x="223" y="2296"/>
                  </a:lnTo>
                  <a:lnTo>
                    <a:pt x="240" y="2300"/>
                  </a:lnTo>
                  <a:lnTo>
                    <a:pt x="258" y="2304"/>
                  </a:lnTo>
                  <a:lnTo>
                    <a:pt x="274" y="2309"/>
                  </a:lnTo>
                  <a:lnTo>
                    <a:pt x="290" y="2315"/>
                  </a:lnTo>
                  <a:lnTo>
                    <a:pt x="305" y="2322"/>
                  </a:lnTo>
                  <a:lnTo>
                    <a:pt x="320" y="2330"/>
                  </a:lnTo>
                  <a:lnTo>
                    <a:pt x="333" y="2340"/>
                  </a:lnTo>
                  <a:lnTo>
                    <a:pt x="347" y="2349"/>
                  </a:lnTo>
                  <a:lnTo>
                    <a:pt x="359" y="2361"/>
                  </a:lnTo>
                  <a:lnTo>
                    <a:pt x="370" y="2375"/>
                  </a:lnTo>
                  <a:lnTo>
                    <a:pt x="380" y="2390"/>
                  </a:lnTo>
                  <a:lnTo>
                    <a:pt x="385" y="2399"/>
                  </a:lnTo>
                  <a:lnTo>
                    <a:pt x="390" y="2407"/>
                  </a:lnTo>
                  <a:lnTo>
                    <a:pt x="397" y="2414"/>
                  </a:lnTo>
                  <a:lnTo>
                    <a:pt x="403" y="2421"/>
                  </a:lnTo>
                  <a:lnTo>
                    <a:pt x="417" y="2434"/>
                  </a:lnTo>
                  <a:lnTo>
                    <a:pt x="433" y="2444"/>
                  </a:lnTo>
                  <a:lnTo>
                    <a:pt x="449" y="2454"/>
                  </a:lnTo>
                  <a:lnTo>
                    <a:pt x="466" y="2462"/>
                  </a:lnTo>
                  <a:lnTo>
                    <a:pt x="484" y="2468"/>
                  </a:lnTo>
                  <a:lnTo>
                    <a:pt x="503" y="2473"/>
                  </a:lnTo>
                  <a:lnTo>
                    <a:pt x="522" y="2478"/>
                  </a:lnTo>
                  <a:lnTo>
                    <a:pt x="542" y="2481"/>
                  </a:lnTo>
                  <a:lnTo>
                    <a:pt x="561" y="2483"/>
                  </a:lnTo>
                  <a:lnTo>
                    <a:pt x="582" y="2485"/>
                  </a:lnTo>
                  <a:lnTo>
                    <a:pt x="619" y="2486"/>
                  </a:lnTo>
                  <a:lnTo>
                    <a:pt x="656" y="2486"/>
                  </a:lnTo>
                  <a:lnTo>
                    <a:pt x="668" y="2485"/>
                  </a:lnTo>
                  <a:lnTo>
                    <a:pt x="679" y="2485"/>
                  </a:lnTo>
                  <a:lnTo>
                    <a:pt x="690" y="2485"/>
                  </a:lnTo>
                  <a:lnTo>
                    <a:pt x="702" y="2485"/>
                  </a:lnTo>
                  <a:lnTo>
                    <a:pt x="724" y="2488"/>
                  </a:lnTo>
                  <a:lnTo>
                    <a:pt x="748" y="2491"/>
                  </a:lnTo>
                  <a:lnTo>
                    <a:pt x="771" y="2494"/>
                  </a:lnTo>
                  <a:lnTo>
                    <a:pt x="794" y="2496"/>
                  </a:lnTo>
                  <a:lnTo>
                    <a:pt x="806" y="2497"/>
                  </a:lnTo>
                  <a:lnTo>
                    <a:pt x="818" y="2496"/>
                  </a:lnTo>
                  <a:lnTo>
                    <a:pt x="831" y="2496"/>
                  </a:lnTo>
                  <a:lnTo>
                    <a:pt x="843" y="2494"/>
                  </a:lnTo>
                  <a:lnTo>
                    <a:pt x="868" y="2491"/>
                  </a:lnTo>
                  <a:lnTo>
                    <a:pt x="896" y="2488"/>
                  </a:lnTo>
                  <a:lnTo>
                    <a:pt x="910" y="2488"/>
                  </a:lnTo>
                  <a:lnTo>
                    <a:pt x="926" y="2486"/>
                  </a:lnTo>
                  <a:lnTo>
                    <a:pt x="941" y="2486"/>
                  </a:lnTo>
                  <a:lnTo>
                    <a:pt x="957" y="2488"/>
                  </a:lnTo>
                  <a:lnTo>
                    <a:pt x="972" y="2490"/>
                  </a:lnTo>
                  <a:lnTo>
                    <a:pt x="986" y="2492"/>
                  </a:lnTo>
                  <a:lnTo>
                    <a:pt x="1000" y="2495"/>
                  </a:lnTo>
                  <a:lnTo>
                    <a:pt x="1013" y="2500"/>
                  </a:lnTo>
                  <a:lnTo>
                    <a:pt x="1026" y="2506"/>
                  </a:lnTo>
                  <a:lnTo>
                    <a:pt x="1036" y="2513"/>
                  </a:lnTo>
                  <a:lnTo>
                    <a:pt x="1046" y="2522"/>
                  </a:lnTo>
                  <a:lnTo>
                    <a:pt x="1054" y="2532"/>
                  </a:lnTo>
                  <a:lnTo>
                    <a:pt x="1060" y="2542"/>
                  </a:lnTo>
                  <a:lnTo>
                    <a:pt x="1065" y="2552"/>
                  </a:lnTo>
                  <a:lnTo>
                    <a:pt x="1069" y="2564"/>
                  </a:lnTo>
                  <a:lnTo>
                    <a:pt x="1073" y="2576"/>
                  </a:lnTo>
                  <a:lnTo>
                    <a:pt x="1079" y="2601"/>
                  </a:lnTo>
                  <a:lnTo>
                    <a:pt x="1083" y="2628"/>
                  </a:lnTo>
                  <a:lnTo>
                    <a:pt x="1087" y="2655"/>
                  </a:lnTo>
                  <a:lnTo>
                    <a:pt x="1093" y="2681"/>
                  </a:lnTo>
                  <a:lnTo>
                    <a:pt x="1096" y="2694"/>
                  </a:lnTo>
                  <a:lnTo>
                    <a:pt x="1099" y="2707"/>
                  </a:lnTo>
                  <a:lnTo>
                    <a:pt x="1103" y="2719"/>
                  </a:lnTo>
                  <a:lnTo>
                    <a:pt x="1108" y="2729"/>
                  </a:lnTo>
                  <a:lnTo>
                    <a:pt x="1114" y="2743"/>
                  </a:lnTo>
                  <a:lnTo>
                    <a:pt x="1122" y="2756"/>
                  </a:lnTo>
                  <a:lnTo>
                    <a:pt x="1132" y="2772"/>
                  </a:lnTo>
                  <a:lnTo>
                    <a:pt x="1142" y="2787"/>
                  </a:lnTo>
                  <a:lnTo>
                    <a:pt x="1153" y="2801"/>
                  </a:lnTo>
                  <a:lnTo>
                    <a:pt x="1166" y="2816"/>
                  </a:lnTo>
                  <a:lnTo>
                    <a:pt x="1179" y="2831"/>
                  </a:lnTo>
                  <a:lnTo>
                    <a:pt x="1192" y="2845"/>
                  </a:lnTo>
                  <a:lnTo>
                    <a:pt x="1207" y="2859"/>
                  </a:lnTo>
                  <a:lnTo>
                    <a:pt x="1221" y="2872"/>
                  </a:lnTo>
                  <a:lnTo>
                    <a:pt x="1236" y="2883"/>
                  </a:lnTo>
                  <a:lnTo>
                    <a:pt x="1251" y="2894"/>
                  </a:lnTo>
                  <a:lnTo>
                    <a:pt x="1267" y="2903"/>
                  </a:lnTo>
                  <a:lnTo>
                    <a:pt x="1281" y="2910"/>
                  </a:lnTo>
                  <a:lnTo>
                    <a:pt x="1296" y="2916"/>
                  </a:lnTo>
                  <a:lnTo>
                    <a:pt x="1310" y="2920"/>
                  </a:lnTo>
                  <a:lnTo>
                    <a:pt x="1325" y="2921"/>
                  </a:lnTo>
                  <a:lnTo>
                    <a:pt x="1339" y="2921"/>
                  </a:lnTo>
                  <a:lnTo>
                    <a:pt x="1353" y="2920"/>
                  </a:lnTo>
                  <a:lnTo>
                    <a:pt x="1367" y="2917"/>
                  </a:lnTo>
                  <a:lnTo>
                    <a:pt x="1381" y="2914"/>
                  </a:lnTo>
                  <a:lnTo>
                    <a:pt x="1395" y="2912"/>
                  </a:lnTo>
                  <a:lnTo>
                    <a:pt x="1409" y="2910"/>
                  </a:lnTo>
                  <a:lnTo>
                    <a:pt x="1424" y="2909"/>
                  </a:lnTo>
                  <a:lnTo>
                    <a:pt x="1436" y="2909"/>
                  </a:lnTo>
                  <a:lnTo>
                    <a:pt x="1447" y="2910"/>
                  </a:lnTo>
                  <a:lnTo>
                    <a:pt x="1459" y="2913"/>
                  </a:lnTo>
                  <a:lnTo>
                    <a:pt x="1469" y="2916"/>
                  </a:lnTo>
                  <a:lnTo>
                    <a:pt x="1489" y="2925"/>
                  </a:lnTo>
                  <a:lnTo>
                    <a:pt x="1510" y="2935"/>
                  </a:lnTo>
                  <a:lnTo>
                    <a:pt x="1519" y="2940"/>
                  </a:lnTo>
                  <a:lnTo>
                    <a:pt x="1530" y="2944"/>
                  </a:lnTo>
                  <a:lnTo>
                    <a:pt x="1541" y="2949"/>
                  </a:lnTo>
                  <a:lnTo>
                    <a:pt x="1552" y="2952"/>
                  </a:lnTo>
                  <a:lnTo>
                    <a:pt x="1564" y="2954"/>
                  </a:lnTo>
                  <a:lnTo>
                    <a:pt x="1576" y="2955"/>
                  </a:lnTo>
                  <a:lnTo>
                    <a:pt x="1588" y="2955"/>
                  </a:lnTo>
                  <a:lnTo>
                    <a:pt x="1601" y="2954"/>
                  </a:lnTo>
                  <a:lnTo>
                    <a:pt x="1644" y="2947"/>
                  </a:lnTo>
                  <a:lnTo>
                    <a:pt x="1679" y="2943"/>
                  </a:lnTo>
                  <a:lnTo>
                    <a:pt x="1695" y="2942"/>
                  </a:lnTo>
                  <a:lnTo>
                    <a:pt x="1709" y="2943"/>
                  </a:lnTo>
                  <a:lnTo>
                    <a:pt x="1721" y="2945"/>
                  </a:lnTo>
                  <a:lnTo>
                    <a:pt x="1733" y="2950"/>
                  </a:lnTo>
                  <a:lnTo>
                    <a:pt x="1738" y="2952"/>
                  </a:lnTo>
                  <a:lnTo>
                    <a:pt x="1743" y="2955"/>
                  </a:lnTo>
                  <a:lnTo>
                    <a:pt x="1747" y="2958"/>
                  </a:lnTo>
                  <a:lnTo>
                    <a:pt x="1751" y="2963"/>
                  </a:lnTo>
                  <a:lnTo>
                    <a:pt x="1755" y="2967"/>
                  </a:lnTo>
                  <a:lnTo>
                    <a:pt x="1758" y="2972"/>
                  </a:lnTo>
                  <a:lnTo>
                    <a:pt x="1761" y="2978"/>
                  </a:lnTo>
                  <a:lnTo>
                    <a:pt x="1763" y="2984"/>
                  </a:lnTo>
                  <a:lnTo>
                    <a:pt x="1769" y="2998"/>
                  </a:lnTo>
                  <a:lnTo>
                    <a:pt x="1772" y="3016"/>
                  </a:lnTo>
                  <a:lnTo>
                    <a:pt x="1774" y="3035"/>
                  </a:lnTo>
                  <a:lnTo>
                    <a:pt x="1775" y="3059"/>
                  </a:lnTo>
                  <a:lnTo>
                    <a:pt x="1776" y="3076"/>
                  </a:lnTo>
                  <a:lnTo>
                    <a:pt x="1780" y="3092"/>
                  </a:lnTo>
                  <a:lnTo>
                    <a:pt x="1784" y="3106"/>
                  </a:lnTo>
                  <a:lnTo>
                    <a:pt x="1790" y="3120"/>
                  </a:lnTo>
                  <a:lnTo>
                    <a:pt x="1797" y="3132"/>
                  </a:lnTo>
                  <a:lnTo>
                    <a:pt x="1805" y="3145"/>
                  </a:lnTo>
                  <a:lnTo>
                    <a:pt x="1812" y="3156"/>
                  </a:lnTo>
                  <a:lnTo>
                    <a:pt x="1821" y="3168"/>
                  </a:lnTo>
                  <a:lnTo>
                    <a:pt x="1828" y="3179"/>
                  </a:lnTo>
                  <a:lnTo>
                    <a:pt x="1837" y="3191"/>
                  </a:lnTo>
                  <a:lnTo>
                    <a:pt x="1844" y="3202"/>
                  </a:lnTo>
                  <a:lnTo>
                    <a:pt x="1851" y="3215"/>
                  </a:lnTo>
                  <a:lnTo>
                    <a:pt x="1856" y="3229"/>
                  </a:lnTo>
                  <a:lnTo>
                    <a:pt x="1861" y="3245"/>
                  </a:lnTo>
                  <a:lnTo>
                    <a:pt x="1863" y="3261"/>
                  </a:lnTo>
                  <a:lnTo>
                    <a:pt x="1864" y="3278"/>
                  </a:lnTo>
                  <a:lnTo>
                    <a:pt x="1856" y="3304"/>
                  </a:lnTo>
                  <a:lnTo>
                    <a:pt x="1850" y="3329"/>
                  </a:lnTo>
                  <a:lnTo>
                    <a:pt x="1847" y="3341"/>
                  </a:lnTo>
                  <a:lnTo>
                    <a:pt x="1841" y="3353"/>
                  </a:lnTo>
                  <a:lnTo>
                    <a:pt x="1835" y="3363"/>
                  </a:lnTo>
                  <a:lnTo>
                    <a:pt x="1826" y="3375"/>
                  </a:lnTo>
                  <a:lnTo>
                    <a:pt x="1797" y="3403"/>
                  </a:lnTo>
                  <a:lnTo>
                    <a:pt x="1769" y="3429"/>
                  </a:lnTo>
                  <a:lnTo>
                    <a:pt x="1763" y="3436"/>
                  </a:lnTo>
                  <a:lnTo>
                    <a:pt x="1758" y="3443"/>
                  </a:lnTo>
                  <a:lnTo>
                    <a:pt x="1753" y="3451"/>
                  </a:lnTo>
                  <a:lnTo>
                    <a:pt x="1748" y="3458"/>
                  </a:lnTo>
                  <a:lnTo>
                    <a:pt x="1744" y="3467"/>
                  </a:lnTo>
                  <a:lnTo>
                    <a:pt x="1741" y="3477"/>
                  </a:lnTo>
                  <a:lnTo>
                    <a:pt x="1739" y="3488"/>
                  </a:lnTo>
                  <a:lnTo>
                    <a:pt x="1736" y="3498"/>
                  </a:lnTo>
                  <a:lnTo>
                    <a:pt x="1733" y="3526"/>
                  </a:lnTo>
                  <a:lnTo>
                    <a:pt x="1731" y="3558"/>
                  </a:lnTo>
                  <a:lnTo>
                    <a:pt x="1730" y="3575"/>
                  </a:lnTo>
                  <a:lnTo>
                    <a:pt x="1730" y="3590"/>
                  </a:lnTo>
                  <a:lnTo>
                    <a:pt x="1732" y="3604"/>
                  </a:lnTo>
                  <a:lnTo>
                    <a:pt x="1734" y="3616"/>
                  </a:lnTo>
                  <a:lnTo>
                    <a:pt x="1736" y="3622"/>
                  </a:lnTo>
                  <a:lnTo>
                    <a:pt x="1739" y="3626"/>
                  </a:lnTo>
                  <a:lnTo>
                    <a:pt x="1742" y="3630"/>
                  </a:lnTo>
                  <a:lnTo>
                    <a:pt x="1745" y="3634"/>
                  </a:lnTo>
                  <a:lnTo>
                    <a:pt x="1753" y="3642"/>
                  </a:lnTo>
                  <a:lnTo>
                    <a:pt x="1762" y="3647"/>
                  </a:lnTo>
                  <a:lnTo>
                    <a:pt x="1773" y="3653"/>
                  </a:lnTo>
                  <a:lnTo>
                    <a:pt x="1785" y="3657"/>
                  </a:lnTo>
                  <a:lnTo>
                    <a:pt x="1798" y="3660"/>
                  </a:lnTo>
                  <a:lnTo>
                    <a:pt x="1811" y="3664"/>
                  </a:lnTo>
                  <a:lnTo>
                    <a:pt x="1838" y="3670"/>
                  </a:lnTo>
                  <a:lnTo>
                    <a:pt x="1866" y="3676"/>
                  </a:lnTo>
                  <a:lnTo>
                    <a:pt x="1879" y="3680"/>
                  </a:lnTo>
                  <a:lnTo>
                    <a:pt x="1891" y="3683"/>
                  </a:lnTo>
                  <a:lnTo>
                    <a:pt x="1903" y="3688"/>
                  </a:lnTo>
                  <a:lnTo>
                    <a:pt x="1913" y="3694"/>
                  </a:lnTo>
                  <a:lnTo>
                    <a:pt x="1921" y="3700"/>
                  </a:lnTo>
                  <a:lnTo>
                    <a:pt x="1930" y="3708"/>
                  </a:lnTo>
                  <a:lnTo>
                    <a:pt x="1938" y="3715"/>
                  </a:lnTo>
                  <a:lnTo>
                    <a:pt x="1947" y="3725"/>
                  </a:lnTo>
                  <a:lnTo>
                    <a:pt x="1963" y="3746"/>
                  </a:lnTo>
                  <a:lnTo>
                    <a:pt x="1980" y="3768"/>
                  </a:lnTo>
                  <a:lnTo>
                    <a:pt x="2009" y="3815"/>
                  </a:lnTo>
                  <a:lnTo>
                    <a:pt x="2032" y="3855"/>
                  </a:lnTo>
                  <a:lnTo>
                    <a:pt x="2042" y="3869"/>
                  </a:lnTo>
                  <a:lnTo>
                    <a:pt x="2053" y="3882"/>
                  </a:lnTo>
                  <a:lnTo>
                    <a:pt x="2063" y="3893"/>
                  </a:lnTo>
                  <a:lnTo>
                    <a:pt x="2074" y="3902"/>
                  </a:lnTo>
                  <a:lnTo>
                    <a:pt x="2095" y="3922"/>
                  </a:lnTo>
                  <a:lnTo>
                    <a:pt x="2116" y="3940"/>
                  </a:lnTo>
                  <a:lnTo>
                    <a:pt x="2125" y="3950"/>
                  </a:lnTo>
                  <a:lnTo>
                    <a:pt x="2134" y="3960"/>
                  </a:lnTo>
                  <a:lnTo>
                    <a:pt x="2143" y="3970"/>
                  </a:lnTo>
                  <a:lnTo>
                    <a:pt x="2149" y="3983"/>
                  </a:lnTo>
                  <a:lnTo>
                    <a:pt x="2156" y="3996"/>
                  </a:lnTo>
                  <a:lnTo>
                    <a:pt x="2161" y="4012"/>
                  </a:lnTo>
                  <a:lnTo>
                    <a:pt x="2165" y="4030"/>
                  </a:lnTo>
                  <a:lnTo>
                    <a:pt x="2168" y="4049"/>
                  </a:lnTo>
                  <a:lnTo>
                    <a:pt x="2170" y="4066"/>
                  </a:lnTo>
                  <a:lnTo>
                    <a:pt x="2173" y="4082"/>
                  </a:lnTo>
                  <a:lnTo>
                    <a:pt x="2178" y="4096"/>
                  </a:lnTo>
                  <a:lnTo>
                    <a:pt x="2184" y="4108"/>
                  </a:lnTo>
                  <a:lnTo>
                    <a:pt x="2190" y="4118"/>
                  </a:lnTo>
                  <a:lnTo>
                    <a:pt x="2198" y="4128"/>
                  </a:lnTo>
                  <a:lnTo>
                    <a:pt x="2205" y="4137"/>
                  </a:lnTo>
                  <a:lnTo>
                    <a:pt x="2215" y="4144"/>
                  </a:lnTo>
                  <a:lnTo>
                    <a:pt x="2225" y="4151"/>
                  </a:lnTo>
                  <a:lnTo>
                    <a:pt x="2234" y="4155"/>
                  </a:lnTo>
                  <a:lnTo>
                    <a:pt x="2246" y="4159"/>
                  </a:lnTo>
                  <a:lnTo>
                    <a:pt x="2258" y="4163"/>
                  </a:lnTo>
                  <a:lnTo>
                    <a:pt x="2270" y="4165"/>
                  </a:lnTo>
                  <a:lnTo>
                    <a:pt x="2283" y="4166"/>
                  </a:lnTo>
                  <a:lnTo>
                    <a:pt x="2296" y="4166"/>
                  </a:lnTo>
                  <a:lnTo>
                    <a:pt x="2309" y="4166"/>
                  </a:lnTo>
                  <a:lnTo>
                    <a:pt x="2323" y="4165"/>
                  </a:lnTo>
                  <a:lnTo>
                    <a:pt x="2337" y="4163"/>
                  </a:lnTo>
                  <a:lnTo>
                    <a:pt x="2351" y="4159"/>
                  </a:lnTo>
                  <a:lnTo>
                    <a:pt x="2365" y="4157"/>
                  </a:lnTo>
                  <a:lnTo>
                    <a:pt x="2393" y="4150"/>
                  </a:lnTo>
                  <a:lnTo>
                    <a:pt x="2420" y="4140"/>
                  </a:lnTo>
                  <a:lnTo>
                    <a:pt x="2447" y="4129"/>
                  </a:lnTo>
                  <a:lnTo>
                    <a:pt x="2473" y="4118"/>
                  </a:lnTo>
                  <a:lnTo>
                    <a:pt x="2497" y="4106"/>
                  </a:lnTo>
                  <a:lnTo>
                    <a:pt x="2519" y="4096"/>
                  </a:lnTo>
                  <a:lnTo>
                    <a:pt x="2533" y="4087"/>
                  </a:lnTo>
                  <a:lnTo>
                    <a:pt x="2546" y="4079"/>
                  </a:lnTo>
                  <a:lnTo>
                    <a:pt x="2559" y="4071"/>
                  </a:lnTo>
                  <a:lnTo>
                    <a:pt x="2570" y="4061"/>
                  </a:lnTo>
                  <a:lnTo>
                    <a:pt x="2594" y="4043"/>
                  </a:lnTo>
                  <a:lnTo>
                    <a:pt x="2616" y="4022"/>
                  </a:lnTo>
                  <a:lnTo>
                    <a:pt x="2636" y="4001"/>
                  </a:lnTo>
                  <a:lnTo>
                    <a:pt x="2656" y="3978"/>
                  </a:lnTo>
                  <a:lnTo>
                    <a:pt x="2673" y="3954"/>
                  </a:lnTo>
                  <a:lnTo>
                    <a:pt x="2690" y="3930"/>
                  </a:lnTo>
                  <a:lnTo>
                    <a:pt x="2708" y="3906"/>
                  </a:lnTo>
                  <a:lnTo>
                    <a:pt x="2723" y="3880"/>
                  </a:lnTo>
                  <a:lnTo>
                    <a:pt x="2738" y="3854"/>
                  </a:lnTo>
                  <a:lnTo>
                    <a:pt x="2753" y="3828"/>
                  </a:lnTo>
                  <a:lnTo>
                    <a:pt x="2781" y="3775"/>
                  </a:lnTo>
                  <a:lnTo>
                    <a:pt x="2810" y="3722"/>
                  </a:lnTo>
                  <a:lnTo>
                    <a:pt x="2815" y="3719"/>
                  </a:lnTo>
                  <a:lnTo>
                    <a:pt x="2819" y="3714"/>
                  </a:lnTo>
                  <a:lnTo>
                    <a:pt x="2823" y="3710"/>
                  </a:lnTo>
                  <a:lnTo>
                    <a:pt x="2828" y="3705"/>
                  </a:lnTo>
                  <a:lnTo>
                    <a:pt x="2835" y="3693"/>
                  </a:lnTo>
                  <a:lnTo>
                    <a:pt x="2844" y="3683"/>
                  </a:lnTo>
                  <a:lnTo>
                    <a:pt x="2857" y="3673"/>
                  </a:lnTo>
                  <a:lnTo>
                    <a:pt x="2870" y="3666"/>
                  </a:lnTo>
                  <a:lnTo>
                    <a:pt x="2883" y="3658"/>
                  </a:lnTo>
                  <a:lnTo>
                    <a:pt x="2897" y="3653"/>
                  </a:lnTo>
                  <a:lnTo>
                    <a:pt x="2926" y="3641"/>
                  </a:lnTo>
                  <a:lnTo>
                    <a:pt x="2954" y="3628"/>
                  </a:lnTo>
                  <a:lnTo>
                    <a:pt x="2963" y="3623"/>
                  </a:lnTo>
                  <a:lnTo>
                    <a:pt x="2969" y="3615"/>
                  </a:lnTo>
                  <a:lnTo>
                    <a:pt x="2974" y="3606"/>
                  </a:lnTo>
                  <a:lnTo>
                    <a:pt x="2979" y="3598"/>
                  </a:lnTo>
                  <a:lnTo>
                    <a:pt x="2986" y="3578"/>
                  </a:lnTo>
                  <a:lnTo>
                    <a:pt x="2993" y="3559"/>
                  </a:lnTo>
                  <a:lnTo>
                    <a:pt x="2997" y="3546"/>
                  </a:lnTo>
                  <a:lnTo>
                    <a:pt x="3004" y="3533"/>
                  </a:lnTo>
                  <a:lnTo>
                    <a:pt x="3011" y="3520"/>
                  </a:lnTo>
                  <a:lnTo>
                    <a:pt x="3020" y="3507"/>
                  </a:lnTo>
                  <a:lnTo>
                    <a:pt x="3030" y="3493"/>
                  </a:lnTo>
                  <a:lnTo>
                    <a:pt x="3040" y="3479"/>
                  </a:lnTo>
                  <a:lnTo>
                    <a:pt x="3051" y="3466"/>
                  </a:lnTo>
                  <a:lnTo>
                    <a:pt x="3063" y="3453"/>
                  </a:lnTo>
                  <a:lnTo>
                    <a:pt x="3075" y="3440"/>
                  </a:lnTo>
                  <a:lnTo>
                    <a:pt x="3088" y="3427"/>
                  </a:lnTo>
                  <a:lnTo>
                    <a:pt x="3100" y="3415"/>
                  </a:lnTo>
                  <a:lnTo>
                    <a:pt x="3113" y="3404"/>
                  </a:lnTo>
                  <a:lnTo>
                    <a:pt x="3126" y="3395"/>
                  </a:lnTo>
                  <a:lnTo>
                    <a:pt x="3139" y="3386"/>
                  </a:lnTo>
                  <a:lnTo>
                    <a:pt x="3151" y="3377"/>
                  </a:lnTo>
                  <a:lnTo>
                    <a:pt x="3162" y="3371"/>
                  </a:lnTo>
                  <a:lnTo>
                    <a:pt x="3214" y="3362"/>
                  </a:lnTo>
                  <a:lnTo>
                    <a:pt x="3214" y="3362"/>
                  </a:lnTo>
                  <a:lnTo>
                    <a:pt x="3226" y="3329"/>
                  </a:lnTo>
                  <a:lnTo>
                    <a:pt x="3241" y="3295"/>
                  </a:lnTo>
                  <a:lnTo>
                    <a:pt x="3249" y="3278"/>
                  </a:lnTo>
                  <a:lnTo>
                    <a:pt x="3258" y="3262"/>
                  </a:lnTo>
                  <a:lnTo>
                    <a:pt x="3267" y="3247"/>
                  </a:lnTo>
                  <a:lnTo>
                    <a:pt x="3277" y="3232"/>
                  </a:lnTo>
                  <a:lnTo>
                    <a:pt x="3300" y="3199"/>
                  </a:lnTo>
                  <a:lnTo>
                    <a:pt x="3323" y="3161"/>
                  </a:lnTo>
                  <a:lnTo>
                    <a:pt x="3334" y="3142"/>
                  </a:lnTo>
                  <a:lnTo>
                    <a:pt x="3345" y="3121"/>
                  </a:lnTo>
                  <a:lnTo>
                    <a:pt x="3353" y="3103"/>
                  </a:lnTo>
                  <a:lnTo>
                    <a:pt x="3358" y="3085"/>
                  </a:lnTo>
                  <a:lnTo>
                    <a:pt x="3361" y="3072"/>
                  </a:lnTo>
                  <a:lnTo>
                    <a:pt x="3362" y="3058"/>
                  </a:lnTo>
                  <a:lnTo>
                    <a:pt x="3362" y="3045"/>
                  </a:lnTo>
                  <a:lnTo>
                    <a:pt x="3361" y="3032"/>
                  </a:lnTo>
                  <a:lnTo>
                    <a:pt x="3361" y="3019"/>
                  </a:lnTo>
                  <a:lnTo>
                    <a:pt x="3360" y="3006"/>
                  </a:lnTo>
                  <a:lnTo>
                    <a:pt x="3360" y="2993"/>
                  </a:lnTo>
                  <a:lnTo>
                    <a:pt x="3361" y="2980"/>
                  </a:lnTo>
                  <a:lnTo>
                    <a:pt x="3357" y="2965"/>
                  </a:lnTo>
                  <a:lnTo>
                    <a:pt x="3351" y="2950"/>
                  </a:lnTo>
                  <a:lnTo>
                    <a:pt x="3345" y="2936"/>
                  </a:lnTo>
                  <a:lnTo>
                    <a:pt x="3339" y="2923"/>
                  </a:lnTo>
                  <a:lnTo>
                    <a:pt x="3322" y="2898"/>
                  </a:lnTo>
                  <a:lnTo>
                    <a:pt x="3306" y="2873"/>
                  </a:lnTo>
                  <a:lnTo>
                    <a:pt x="3289" y="2849"/>
                  </a:lnTo>
                  <a:lnTo>
                    <a:pt x="3272" y="2826"/>
                  </a:lnTo>
                  <a:lnTo>
                    <a:pt x="3264" y="2813"/>
                  </a:lnTo>
                  <a:lnTo>
                    <a:pt x="3256" y="2799"/>
                  </a:lnTo>
                  <a:lnTo>
                    <a:pt x="3250" y="2785"/>
                  </a:lnTo>
                  <a:lnTo>
                    <a:pt x="3245" y="2770"/>
                  </a:lnTo>
                  <a:lnTo>
                    <a:pt x="3233" y="2736"/>
                  </a:lnTo>
                  <a:lnTo>
                    <a:pt x="3223" y="2702"/>
                  </a:lnTo>
                  <a:lnTo>
                    <a:pt x="3219" y="2686"/>
                  </a:lnTo>
                  <a:lnTo>
                    <a:pt x="3215" y="2670"/>
                  </a:lnTo>
                  <a:lnTo>
                    <a:pt x="3212" y="2654"/>
                  </a:lnTo>
                  <a:lnTo>
                    <a:pt x="3210" y="2638"/>
                  </a:lnTo>
                  <a:lnTo>
                    <a:pt x="3209" y="2620"/>
                  </a:lnTo>
                  <a:lnTo>
                    <a:pt x="3208" y="2604"/>
                  </a:lnTo>
                  <a:lnTo>
                    <a:pt x="3208" y="2588"/>
                  </a:lnTo>
                  <a:lnTo>
                    <a:pt x="3208" y="2571"/>
                  </a:lnTo>
                  <a:lnTo>
                    <a:pt x="3209" y="2553"/>
                  </a:lnTo>
                  <a:lnTo>
                    <a:pt x="3211" y="2536"/>
                  </a:lnTo>
                  <a:lnTo>
                    <a:pt x="3213" y="2519"/>
                  </a:lnTo>
                  <a:lnTo>
                    <a:pt x="3216" y="2500"/>
                  </a:lnTo>
                  <a:lnTo>
                    <a:pt x="3220" y="2480"/>
                  </a:lnTo>
                  <a:lnTo>
                    <a:pt x="3221" y="2458"/>
                  </a:lnTo>
                  <a:lnTo>
                    <a:pt x="3222" y="2448"/>
                  </a:lnTo>
                  <a:lnTo>
                    <a:pt x="3223" y="2437"/>
                  </a:lnTo>
                  <a:lnTo>
                    <a:pt x="3224" y="2427"/>
                  </a:lnTo>
                  <a:lnTo>
                    <a:pt x="3227" y="2418"/>
                  </a:lnTo>
                  <a:lnTo>
                    <a:pt x="3227" y="2402"/>
                  </a:lnTo>
                  <a:lnTo>
                    <a:pt x="3228" y="2386"/>
                  </a:lnTo>
                  <a:lnTo>
                    <a:pt x="3231" y="2370"/>
                  </a:lnTo>
                  <a:lnTo>
                    <a:pt x="3233" y="2354"/>
                  </a:lnTo>
                  <a:lnTo>
                    <a:pt x="3238" y="2321"/>
                  </a:lnTo>
                  <a:lnTo>
                    <a:pt x="3243" y="2289"/>
                  </a:lnTo>
                  <a:lnTo>
                    <a:pt x="3246" y="2273"/>
                  </a:lnTo>
                  <a:lnTo>
                    <a:pt x="3247" y="2256"/>
                  </a:lnTo>
                  <a:lnTo>
                    <a:pt x="3248" y="2240"/>
                  </a:lnTo>
                  <a:lnTo>
                    <a:pt x="3248" y="2224"/>
                  </a:lnTo>
                  <a:lnTo>
                    <a:pt x="3248" y="2192"/>
                  </a:lnTo>
                  <a:lnTo>
                    <a:pt x="3250" y="2159"/>
                  </a:lnTo>
                  <a:lnTo>
                    <a:pt x="3252" y="2142"/>
                  </a:lnTo>
                  <a:lnTo>
                    <a:pt x="3255" y="2125"/>
                  </a:lnTo>
                  <a:lnTo>
                    <a:pt x="3260" y="2107"/>
                  </a:lnTo>
                  <a:lnTo>
                    <a:pt x="3263" y="2091"/>
                  </a:lnTo>
                  <a:lnTo>
                    <a:pt x="3274" y="2059"/>
                  </a:lnTo>
                  <a:lnTo>
                    <a:pt x="3285" y="2029"/>
                  </a:lnTo>
                  <a:lnTo>
                    <a:pt x="3299" y="1998"/>
                  </a:lnTo>
                  <a:lnTo>
                    <a:pt x="3314" y="1968"/>
                  </a:lnTo>
                  <a:lnTo>
                    <a:pt x="3330" y="1939"/>
                  </a:lnTo>
                  <a:lnTo>
                    <a:pt x="3348" y="1908"/>
                  </a:lnTo>
                  <a:lnTo>
                    <a:pt x="3351" y="1900"/>
                  </a:lnTo>
                  <a:lnTo>
                    <a:pt x="3356" y="1890"/>
                  </a:lnTo>
                  <a:lnTo>
                    <a:pt x="3359" y="1878"/>
                  </a:lnTo>
                  <a:lnTo>
                    <a:pt x="3361" y="1867"/>
                  </a:lnTo>
                  <a:lnTo>
                    <a:pt x="3364" y="1856"/>
                  </a:lnTo>
                  <a:lnTo>
                    <a:pt x="3368" y="1846"/>
                  </a:lnTo>
                  <a:lnTo>
                    <a:pt x="3370" y="1838"/>
                  </a:lnTo>
                  <a:lnTo>
                    <a:pt x="3372" y="1834"/>
                  </a:lnTo>
                  <a:lnTo>
                    <a:pt x="3374" y="1818"/>
                  </a:lnTo>
                  <a:lnTo>
                    <a:pt x="3379" y="1804"/>
                  </a:lnTo>
                  <a:lnTo>
                    <a:pt x="3382" y="1791"/>
                  </a:lnTo>
                  <a:lnTo>
                    <a:pt x="3386" y="1778"/>
                  </a:lnTo>
                  <a:lnTo>
                    <a:pt x="3388" y="1765"/>
                  </a:lnTo>
                  <a:lnTo>
                    <a:pt x="3388" y="1751"/>
                  </a:lnTo>
                  <a:lnTo>
                    <a:pt x="3388" y="1744"/>
                  </a:lnTo>
                  <a:lnTo>
                    <a:pt x="3386" y="1737"/>
                  </a:lnTo>
                  <a:lnTo>
                    <a:pt x="3384" y="1729"/>
                  </a:lnTo>
                  <a:lnTo>
                    <a:pt x="3381" y="1721"/>
                  </a:lnTo>
                  <a:lnTo>
                    <a:pt x="3373" y="1703"/>
                  </a:lnTo>
                  <a:lnTo>
                    <a:pt x="3367" y="1686"/>
                  </a:lnTo>
                  <a:lnTo>
                    <a:pt x="3360" y="1670"/>
                  </a:lnTo>
                  <a:lnTo>
                    <a:pt x="3356" y="1653"/>
                  </a:lnTo>
                  <a:lnTo>
                    <a:pt x="3351" y="1636"/>
                  </a:lnTo>
                  <a:lnTo>
                    <a:pt x="3348" y="1619"/>
                  </a:lnTo>
                  <a:lnTo>
                    <a:pt x="3346" y="1601"/>
                  </a:lnTo>
                  <a:lnTo>
                    <a:pt x="3344" y="1581"/>
                  </a:lnTo>
                  <a:lnTo>
                    <a:pt x="3342" y="1540"/>
                  </a:lnTo>
                  <a:lnTo>
                    <a:pt x="3339" y="1503"/>
                  </a:lnTo>
                  <a:lnTo>
                    <a:pt x="3335" y="1485"/>
                  </a:lnTo>
                  <a:lnTo>
                    <a:pt x="3331" y="1469"/>
                  </a:lnTo>
                  <a:lnTo>
                    <a:pt x="3327" y="1454"/>
                  </a:lnTo>
                  <a:lnTo>
                    <a:pt x="3320" y="1440"/>
                  </a:lnTo>
                  <a:lnTo>
                    <a:pt x="3316" y="1433"/>
                  </a:lnTo>
                  <a:lnTo>
                    <a:pt x="3313" y="1428"/>
                  </a:lnTo>
                  <a:lnTo>
                    <a:pt x="3307" y="1422"/>
                  </a:lnTo>
                  <a:lnTo>
                    <a:pt x="3303" y="1416"/>
                  </a:lnTo>
                  <a:lnTo>
                    <a:pt x="3297" y="1412"/>
                  </a:lnTo>
                  <a:lnTo>
                    <a:pt x="3291" y="1406"/>
                  </a:lnTo>
                  <a:lnTo>
                    <a:pt x="3285" y="1402"/>
                  </a:lnTo>
                  <a:lnTo>
                    <a:pt x="3278" y="1399"/>
                  </a:lnTo>
                  <a:lnTo>
                    <a:pt x="3270" y="1396"/>
                  </a:lnTo>
                  <a:lnTo>
                    <a:pt x="3262" y="1392"/>
                  </a:lnTo>
                  <a:lnTo>
                    <a:pt x="3253" y="1390"/>
                  </a:lnTo>
                  <a:lnTo>
                    <a:pt x="3243" y="1388"/>
                  </a:lnTo>
                  <a:lnTo>
                    <a:pt x="3223" y="1385"/>
                  </a:lnTo>
                  <a:lnTo>
                    <a:pt x="3199" y="1384"/>
                  </a:lnTo>
                  <a:lnTo>
                    <a:pt x="3185" y="1384"/>
                  </a:lnTo>
                  <a:lnTo>
                    <a:pt x="3172" y="1382"/>
                  </a:lnTo>
                  <a:lnTo>
                    <a:pt x="3160" y="1378"/>
                  </a:lnTo>
                  <a:lnTo>
                    <a:pt x="3149" y="1374"/>
                  </a:lnTo>
                  <a:lnTo>
                    <a:pt x="3140" y="1369"/>
                  </a:lnTo>
                  <a:lnTo>
                    <a:pt x="3131" y="1363"/>
                  </a:lnTo>
                  <a:lnTo>
                    <a:pt x="3124" y="1356"/>
                  </a:lnTo>
                  <a:lnTo>
                    <a:pt x="3117" y="1347"/>
                  </a:lnTo>
                  <a:lnTo>
                    <a:pt x="3113" y="1338"/>
                  </a:lnTo>
                  <a:lnTo>
                    <a:pt x="3108" y="1329"/>
                  </a:lnTo>
                  <a:lnTo>
                    <a:pt x="3104" y="1318"/>
                  </a:lnTo>
                  <a:lnTo>
                    <a:pt x="3102" y="1307"/>
                  </a:lnTo>
                  <a:lnTo>
                    <a:pt x="3101" y="1294"/>
                  </a:lnTo>
                  <a:lnTo>
                    <a:pt x="3100" y="1282"/>
                  </a:lnTo>
                  <a:lnTo>
                    <a:pt x="3100" y="1268"/>
                  </a:lnTo>
                  <a:lnTo>
                    <a:pt x="3100" y="1254"/>
                  </a:lnTo>
                  <a:lnTo>
                    <a:pt x="3083" y="1214"/>
                  </a:lnTo>
                  <a:lnTo>
                    <a:pt x="3066" y="1175"/>
                  </a:lnTo>
                  <a:lnTo>
                    <a:pt x="3059" y="1155"/>
                  </a:lnTo>
                  <a:lnTo>
                    <a:pt x="3052" y="1135"/>
                  </a:lnTo>
                  <a:lnTo>
                    <a:pt x="3047" y="1116"/>
                  </a:lnTo>
                  <a:lnTo>
                    <a:pt x="3043" y="1095"/>
                  </a:lnTo>
                  <a:lnTo>
                    <a:pt x="3038" y="1076"/>
                  </a:lnTo>
                  <a:lnTo>
                    <a:pt x="3036" y="1055"/>
                  </a:lnTo>
                  <a:lnTo>
                    <a:pt x="3035" y="1035"/>
                  </a:lnTo>
                  <a:lnTo>
                    <a:pt x="3036" y="1014"/>
                  </a:lnTo>
                  <a:lnTo>
                    <a:pt x="3038" y="994"/>
                  </a:lnTo>
                  <a:lnTo>
                    <a:pt x="3041" y="972"/>
                  </a:lnTo>
                  <a:lnTo>
                    <a:pt x="3047" y="951"/>
                  </a:lnTo>
                  <a:lnTo>
                    <a:pt x="3054" y="929"/>
                  </a:lnTo>
                  <a:lnTo>
                    <a:pt x="3060" y="917"/>
                  </a:lnTo>
                  <a:lnTo>
                    <a:pt x="3065" y="905"/>
                  </a:lnTo>
                  <a:lnTo>
                    <a:pt x="3073" y="895"/>
                  </a:lnTo>
                  <a:lnTo>
                    <a:pt x="3079" y="884"/>
                  </a:lnTo>
                  <a:lnTo>
                    <a:pt x="3086" y="872"/>
                  </a:lnTo>
                  <a:lnTo>
                    <a:pt x="3092" y="860"/>
                  </a:lnTo>
                  <a:lnTo>
                    <a:pt x="3097" y="848"/>
                  </a:lnTo>
                  <a:lnTo>
                    <a:pt x="3099" y="835"/>
                  </a:lnTo>
                  <a:lnTo>
                    <a:pt x="3099" y="826"/>
                  </a:lnTo>
                  <a:lnTo>
                    <a:pt x="3099" y="817"/>
                  </a:lnTo>
                  <a:lnTo>
                    <a:pt x="3099" y="807"/>
                  </a:lnTo>
                  <a:lnTo>
                    <a:pt x="3097" y="796"/>
                  </a:lnTo>
                  <a:lnTo>
                    <a:pt x="3093" y="776"/>
                  </a:lnTo>
                  <a:lnTo>
                    <a:pt x="3090" y="755"/>
                  </a:lnTo>
                  <a:lnTo>
                    <a:pt x="3087" y="735"/>
                  </a:lnTo>
                  <a:lnTo>
                    <a:pt x="3085" y="715"/>
                  </a:lnTo>
                  <a:lnTo>
                    <a:pt x="3085" y="706"/>
                  </a:lnTo>
                  <a:lnTo>
                    <a:pt x="3085" y="696"/>
                  </a:lnTo>
                  <a:lnTo>
                    <a:pt x="3086" y="686"/>
                  </a:lnTo>
                  <a:lnTo>
                    <a:pt x="3088" y="677"/>
                  </a:lnTo>
                  <a:lnTo>
                    <a:pt x="3093" y="649"/>
                  </a:lnTo>
                  <a:lnTo>
                    <a:pt x="3097" y="617"/>
                  </a:lnTo>
                  <a:lnTo>
                    <a:pt x="3098" y="600"/>
                  </a:lnTo>
                  <a:lnTo>
                    <a:pt x="3098" y="583"/>
                  </a:lnTo>
                  <a:lnTo>
                    <a:pt x="3098" y="566"/>
                  </a:lnTo>
                  <a:lnTo>
                    <a:pt x="3097" y="550"/>
                  </a:lnTo>
                  <a:lnTo>
                    <a:pt x="3093" y="534"/>
                  </a:lnTo>
                  <a:lnTo>
                    <a:pt x="3089" y="519"/>
                  </a:lnTo>
                  <a:lnTo>
                    <a:pt x="3084" y="505"/>
                  </a:lnTo>
                  <a:lnTo>
                    <a:pt x="3077" y="492"/>
                  </a:lnTo>
                  <a:lnTo>
                    <a:pt x="3073" y="485"/>
                  </a:lnTo>
                  <a:lnTo>
                    <a:pt x="3068" y="480"/>
                  </a:lnTo>
                  <a:lnTo>
                    <a:pt x="3063" y="474"/>
                  </a:lnTo>
                  <a:lnTo>
                    <a:pt x="3058" y="469"/>
                  </a:lnTo>
                  <a:lnTo>
                    <a:pt x="3052" y="465"/>
                  </a:lnTo>
                  <a:lnTo>
                    <a:pt x="3046" y="461"/>
                  </a:lnTo>
                  <a:lnTo>
                    <a:pt x="3038" y="458"/>
                  </a:lnTo>
                  <a:lnTo>
                    <a:pt x="3031" y="455"/>
                  </a:lnTo>
                  <a:lnTo>
                    <a:pt x="2712" y="348"/>
                  </a:lnTo>
                  <a:lnTo>
                    <a:pt x="2685" y="338"/>
                  </a:lnTo>
                  <a:lnTo>
                    <a:pt x="2660" y="326"/>
                  </a:lnTo>
                  <a:lnTo>
                    <a:pt x="2635" y="313"/>
                  </a:lnTo>
                  <a:lnTo>
                    <a:pt x="2612" y="302"/>
                  </a:lnTo>
                  <a:lnTo>
                    <a:pt x="2600" y="296"/>
                  </a:lnTo>
                  <a:lnTo>
                    <a:pt x="2588" y="291"/>
                  </a:lnTo>
                  <a:lnTo>
                    <a:pt x="2576" y="286"/>
                  </a:lnTo>
                  <a:lnTo>
                    <a:pt x="2564" y="282"/>
                  </a:lnTo>
                  <a:lnTo>
                    <a:pt x="2551" y="280"/>
                  </a:lnTo>
                  <a:lnTo>
                    <a:pt x="2539" y="278"/>
                  </a:lnTo>
                  <a:lnTo>
                    <a:pt x="2526" y="278"/>
                  </a:lnTo>
                  <a:lnTo>
                    <a:pt x="2512" y="278"/>
                  </a:lnTo>
                  <a:lnTo>
                    <a:pt x="2497" y="280"/>
                  </a:lnTo>
                  <a:lnTo>
                    <a:pt x="2482" y="284"/>
                  </a:lnTo>
                  <a:lnTo>
                    <a:pt x="2467" y="290"/>
                  </a:lnTo>
                  <a:lnTo>
                    <a:pt x="2452" y="295"/>
                  </a:lnTo>
                  <a:lnTo>
                    <a:pt x="2436" y="299"/>
                  </a:lnTo>
                  <a:lnTo>
                    <a:pt x="2422" y="302"/>
                  </a:lnTo>
                  <a:lnTo>
                    <a:pt x="2415" y="303"/>
                  </a:lnTo>
                  <a:lnTo>
                    <a:pt x="2407" y="303"/>
                  </a:lnTo>
                  <a:lnTo>
                    <a:pt x="2400" y="302"/>
                  </a:lnTo>
                  <a:lnTo>
                    <a:pt x="2392" y="301"/>
                  </a:lnTo>
                  <a:lnTo>
                    <a:pt x="2386" y="298"/>
                  </a:lnTo>
                  <a:lnTo>
                    <a:pt x="2379" y="295"/>
                  </a:lnTo>
                  <a:lnTo>
                    <a:pt x="2373" y="291"/>
                  </a:lnTo>
                  <a:lnTo>
                    <a:pt x="2366" y="286"/>
                  </a:lnTo>
                  <a:lnTo>
                    <a:pt x="2353" y="276"/>
                  </a:lnTo>
                  <a:lnTo>
                    <a:pt x="2339" y="265"/>
                  </a:lnTo>
                  <a:lnTo>
                    <a:pt x="2314" y="240"/>
                  </a:lnTo>
                  <a:lnTo>
                    <a:pt x="2291" y="220"/>
                  </a:lnTo>
                  <a:lnTo>
                    <a:pt x="2283" y="214"/>
                  </a:lnTo>
                  <a:lnTo>
                    <a:pt x="2276" y="209"/>
                  </a:lnTo>
                  <a:lnTo>
                    <a:pt x="2267" y="205"/>
                  </a:lnTo>
                  <a:lnTo>
                    <a:pt x="2258" y="201"/>
                  </a:lnTo>
                  <a:lnTo>
                    <a:pt x="2240" y="196"/>
                  </a:lnTo>
                  <a:lnTo>
                    <a:pt x="2220" y="191"/>
                  </a:lnTo>
                  <a:lnTo>
                    <a:pt x="2182" y="185"/>
                  </a:lnTo>
                  <a:lnTo>
                    <a:pt x="2145" y="177"/>
                  </a:lnTo>
                  <a:lnTo>
                    <a:pt x="2108" y="176"/>
                  </a:lnTo>
                  <a:lnTo>
                    <a:pt x="2071" y="174"/>
                  </a:lnTo>
                  <a:lnTo>
                    <a:pt x="2053" y="172"/>
                  </a:lnTo>
                  <a:lnTo>
                    <a:pt x="2034" y="169"/>
                  </a:lnTo>
                  <a:lnTo>
                    <a:pt x="2015" y="166"/>
                  </a:lnTo>
                  <a:lnTo>
                    <a:pt x="1997" y="162"/>
                  </a:lnTo>
                  <a:lnTo>
                    <a:pt x="1980" y="157"/>
                  </a:lnTo>
                  <a:lnTo>
                    <a:pt x="1961" y="153"/>
                  </a:lnTo>
                  <a:lnTo>
                    <a:pt x="1944" y="146"/>
                  </a:lnTo>
                  <a:lnTo>
                    <a:pt x="1927" y="140"/>
                  </a:lnTo>
                  <a:lnTo>
                    <a:pt x="1910" y="132"/>
                  </a:lnTo>
                  <a:lnTo>
                    <a:pt x="1894" y="123"/>
                  </a:lnTo>
                  <a:lnTo>
                    <a:pt x="1878" y="114"/>
                  </a:lnTo>
                  <a:lnTo>
                    <a:pt x="1863" y="104"/>
                  </a:lnTo>
                  <a:lnTo>
                    <a:pt x="1854" y="99"/>
                  </a:lnTo>
                  <a:lnTo>
                    <a:pt x="1844" y="93"/>
                  </a:lnTo>
                  <a:lnTo>
                    <a:pt x="1836" y="90"/>
                  </a:lnTo>
                  <a:lnTo>
                    <a:pt x="1827" y="87"/>
                  </a:lnTo>
                  <a:lnTo>
                    <a:pt x="1819" y="86"/>
                  </a:lnTo>
                  <a:lnTo>
                    <a:pt x="1810" y="85"/>
                  </a:lnTo>
                  <a:lnTo>
                    <a:pt x="1801" y="85"/>
                  </a:lnTo>
                  <a:lnTo>
                    <a:pt x="1794" y="85"/>
                  </a:lnTo>
                  <a:lnTo>
                    <a:pt x="1785" y="86"/>
                  </a:lnTo>
                  <a:lnTo>
                    <a:pt x="1776" y="88"/>
                  </a:lnTo>
                  <a:lnTo>
                    <a:pt x="1769" y="90"/>
                  </a:lnTo>
                  <a:lnTo>
                    <a:pt x="1760" y="93"/>
                  </a:lnTo>
                  <a:lnTo>
                    <a:pt x="1744" y="100"/>
                  </a:lnTo>
                  <a:lnTo>
                    <a:pt x="1728" y="108"/>
                  </a:lnTo>
                  <a:lnTo>
                    <a:pt x="1695" y="127"/>
                  </a:lnTo>
                  <a:lnTo>
                    <a:pt x="1663" y="144"/>
                  </a:lnTo>
                  <a:lnTo>
                    <a:pt x="1647" y="151"/>
                  </a:lnTo>
                  <a:lnTo>
                    <a:pt x="1630" y="157"/>
                  </a:lnTo>
                  <a:lnTo>
                    <a:pt x="1622" y="159"/>
                  </a:lnTo>
                  <a:lnTo>
                    <a:pt x="1613" y="160"/>
                  </a:lnTo>
                  <a:lnTo>
                    <a:pt x="1605" y="161"/>
                  </a:lnTo>
                  <a:lnTo>
                    <a:pt x="1596" y="161"/>
                  </a:lnTo>
                  <a:lnTo>
                    <a:pt x="1586" y="160"/>
                  </a:lnTo>
                  <a:lnTo>
                    <a:pt x="1578" y="159"/>
                  </a:lnTo>
                  <a:lnTo>
                    <a:pt x="1569" y="156"/>
                  </a:lnTo>
                  <a:lnTo>
                    <a:pt x="1561" y="153"/>
                  </a:lnTo>
                  <a:lnTo>
                    <a:pt x="1554" y="148"/>
                  </a:lnTo>
                  <a:lnTo>
                    <a:pt x="1547" y="143"/>
                  </a:lnTo>
                  <a:lnTo>
                    <a:pt x="1541" y="136"/>
                  </a:lnTo>
                  <a:lnTo>
                    <a:pt x="1536" y="131"/>
                  </a:lnTo>
                  <a:lnTo>
                    <a:pt x="1530" y="123"/>
                  </a:lnTo>
                  <a:lnTo>
                    <a:pt x="1526" y="116"/>
                  </a:lnTo>
                  <a:lnTo>
                    <a:pt x="1523" y="108"/>
                  </a:lnTo>
                  <a:lnTo>
                    <a:pt x="1518" y="101"/>
                  </a:lnTo>
                  <a:lnTo>
                    <a:pt x="1516" y="92"/>
                  </a:lnTo>
                  <a:lnTo>
                    <a:pt x="1514" y="83"/>
                  </a:lnTo>
                  <a:lnTo>
                    <a:pt x="1513" y="76"/>
                  </a:lnTo>
                  <a:lnTo>
                    <a:pt x="1512" y="67"/>
                  </a:lnTo>
                  <a:lnTo>
                    <a:pt x="1473" y="0"/>
                  </a:lnTo>
                  <a:lnTo>
                    <a:pt x="1473" y="0"/>
                  </a:lnTo>
                  <a:lnTo>
                    <a:pt x="1465" y="11"/>
                  </a:lnTo>
                  <a:lnTo>
                    <a:pt x="1457" y="22"/>
                  </a:lnTo>
                  <a:lnTo>
                    <a:pt x="1448" y="32"/>
                  </a:lnTo>
                  <a:lnTo>
                    <a:pt x="1438" y="41"/>
                  </a:lnTo>
                  <a:lnTo>
                    <a:pt x="1420" y="59"/>
                  </a:lnTo>
                  <a:lnTo>
                    <a:pt x="1404" y="73"/>
                  </a:lnTo>
                  <a:lnTo>
                    <a:pt x="1393" y="82"/>
                  </a:lnTo>
                  <a:lnTo>
                    <a:pt x="1381" y="90"/>
                  </a:lnTo>
                  <a:lnTo>
                    <a:pt x="1370" y="96"/>
                  </a:lnTo>
                  <a:lnTo>
                    <a:pt x="1358" y="102"/>
                  </a:lnTo>
                  <a:lnTo>
                    <a:pt x="1335" y="109"/>
                  </a:lnTo>
                  <a:lnTo>
                    <a:pt x="1312" y="115"/>
                  </a:lnTo>
                  <a:lnTo>
                    <a:pt x="1289" y="120"/>
                  </a:lnTo>
                  <a:lnTo>
                    <a:pt x="1268" y="128"/>
                  </a:lnTo>
                  <a:lnTo>
                    <a:pt x="1257" y="132"/>
                  </a:lnTo>
                  <a:lnTo>
                    <a:pt x="1247" y="137"/>
                  </a:lnTo>
                  <a:lnTo>
                    <a:pt x="1237" y="144"/>
                  </a:lnTo>
                  <a:lnTo>
                    <a:pt x="1228" y="153"/>
                  </a:lnTo>
                  <a:lnTo>
                    <a:pt x="1222" y="159"/>
                  </a:lnTo>
                  <a:lnTo>
                    <a:pt x="1218" y="167"/>
                  </a:lnTo>
                  <a:lnTo>
                    <a:pt x="1213" y="174"/>
                  </a:lnTo>
                  <a:lnTo>
                    <a:pt x="1209" y="183"/>
                  </a:lnTo>
                  <a:lnTo>
                    <a:pt x="1203" y="202"/>
                  </a:lnTo>
                  <a:lnTo>
                    <a:pt x="1198" y="223"/>
                  </a:lnTo>
                  <a:lnTo>
                    <a:pt x="1195" y="244"/>
                  </a:lnTo>
                  <a:lnTo>
                    <a:pt x="1193" y="265"/>
                  </a:lnTo>
                  <a:lnTo>
                    <a:pt x="1192" y="284"/>
                  </a:lnTo>
                  <a:lnTo>
                    <a:pt x="1191" y="303"/>
                  </a:lnTo>
                  <a:lnTo>
                    <a:pt x="1190" y="313"/>
                  </a:lnTo>
                  <a:lnTo>
                    <a:pt x="1189" y="324"/>
                  </a:lnTo>
                  <a:lnTo>
                    <a:pt x="1187" y="334"/>
                  </a:lnTo>
                  <a:lnTo>
                    <a:pt x="1183" y="345"/>
                  </a:lnTo>
                  <a:lnTo>
                    <a:pt x="1177" y="364"/>
                  </a:lnTo>
                  <a:lnTo>
                    <a:pt x="1168" y="383"/>
                  </a:lnTo>
                  <a:lnTo>
                    <a:pt x="1157" y="400"/>
                  </a:lnTo>
                  <a:lnTo>
                    <a:pt x="1146" y="417"/>
                  </a:lnTo>
                  <a:lnTo>
                    <a:pt x="1133" y="433"/>
                  </a:lnTo>
                  <a:lnTo>
                    <a:pt x="1119" y="450"/>
                  </a:lnTo>
                  <a:lnTo>
                    <a:pt x="1088" y="481"/>
                  </a:lnTo>
                  <a:lnTo>
                    <a:pt x="1057" y="511"/>
                  </a:lnTo>
                  <a:lnTo>
                    <a:pt x="1041" y="526"/>
                  </a:lnTo>
                  <a:lnTo>
                    <a:pt x="1026" y="541"/>
                  </a:lnTo>
                  <a:lnTo>
                    <a:pt x="1012" y="556"/>
                  </a:lnTo>
                  <a:lnTo>
                    <a:pt x="998" y="573"/>
                  </a:lnTo>
                  <a:lnTo>
                    <a:pt x="989" y="583"/>
                  </a:lnTo>
                  <a:lnTo>
                    <a:pt x="982" y="595"/>
                  </a:lnTo>
                  <a:lnTo>
                    <a:pt x="978" y="607"/>
                  </a:lnTo>
                  <a:lnTo>
                    <a:pt x="974" y="618"/>
                  </a:lnTo>
                  <a:lnTo>
                    <a:pt x="971" y="630"/>
                  </a:lnTo>
                  <a:lnTo>
                    <a:pt x="967" y="641"/>
                  </a:lnTo>
                  <a:lnTo>
                    <a:pt x="963" y="653"/>
                  </a:lnTo>
                  <a:lnTo>
                    <a:pt x="958" y="666"/>
                  </a:lnTo>
                  <a:lnTo>
                    <a:pt x="957" y="670"/>
                  </a:lnTo>
                  <a:lnTo>
                    <a:pt x="954" y="675"/>
                  </a:lnTo>
                  <a:lnTo>
                    <a:pt x="951" y="681"/>
                  </a:lnTo>
                  <a:lnTo>
                    <a:pt x="948" y="687"/>
                  </a:lnTo>
                  <a:lnTo>
                    <a:pt x="940" y="698"/>
                  </a:lnTo>
                  <a:lnTo>
                    <a:pt x="934" y="709"/>
                  </a:lnTo>
                  <a:lnTo>
                    <a:pt x="932" y="714"/>
                  </a:lnTo>
                  <a:lnTo>
                    <a:pt x="931" y="718"/>
                  </a:lnTo>
                  <a:lnTo>
                    <a:pt x="932" y="723"/>
                  </a:lnTo>
                  <a:lnTo>
                    <a:pt x="933" y="726"/>
                  </a:lnTo>
                  <a:lnTo>
                    <a:pt x="937" y="729"/>
                  </a:lnTo>
                  <a:lnTo>
                    <a:pt x="942" y="731"/>
                  </a:lnTo>
                  <a:lnTo>
                    <a:pt x="950" y="733"/>
                  </a:lnTo>
                  <a:lnTo>
                    <a:pt x="961" y="733"/>
                  </a:lnTo>
                  <a:lnTo>
                    <a:pt x="977" y="733"/>
                  </a:lnTo>
                  <a:lnTo>
                    <a:pt x="989" y="733"/>
                  </a:lnTo>
                  <a:lnTo>
                    <a:pt x="998" y="733"/>
                  </a:lnTo>
                  <a:lnTo>
                    <a:pt x="1003" y="734"/>
                  </a:lnTo>
                  <a:lnTo>
                    <a:pt x="1004" y="735"/>
                  </a:lnTo>
                  <a:lnTo>
                    <a:pt x="1005" y="738"/>
                  </a:lnTo>
                  <a:lnTo>
                    <a:pt x="1006" y="740"/>
                  </a:lnTo>
                  <a:lnTo>
                    <a:pt x="1006" y="744"/>
                  </a:lnTo>
                  <a:lnTo>
                    <a:pt x="1005" y="754"/>
                  </a:lnTo>
                  <a:lnTo>
                    <a:pt x="1003" y="769"/>
                  </a:lnTo>
                  <a:lnTo>
                    <a:pt x="1003" y="777"/>
                  </a:lnTo>
                  <a:lnTo>
                    <a:pt x="1003" y="785"/>
                  </a:lnTo>
                  <a:lnTo>
                    <a:pt x="1003" y="793"/>
                  </a:lnTo>
                  <a:lnTo>
                    <a:pt x="1004" y="801"/>
                  </a:lnTo>
                  <a:lnTo>
                    <a:pt x="1005" y="808"/>
                  </a:lnTo>
                  <a:lnTo>
                    <a:pt x="1006" y="816"/>
                  </a:lnTo>
                  <a:lnTo>
                    <a:pt x="1006" y="823"/>
                  </a:lnTo>
                  <a:lnTo>
                    <a:pt x="1005" y="831"/>
                  </a:lnTo>
                  <a:lnTo>
                    <a:pt x="1003" y="835"/>
                  </a:lnTo>
                  <a:lnTo>
                    <a:pt x="1001" y="839"/>
                  </a:lnTo>
                  <a:lnTo>
                    <a:pt x="999" y="844"/>
                  </a:lnTo>
                  <a:lnTo>
                    <a:pt x="995" y="847"/>
                  </a:lnTo>
                  <a:lnTo>
                    <a:pt x="988" y="853"/>
                  </a:lnTo>
                  <a:lnTo>
                    <a:pt x="980" y="860"/>
                  </a:lnTo>
                  <a:lnTo>
                    <a:pt x="973" y="868"/>
                  </a:lnTo>
                  <a:lnTo>
                    <a:pt x="965" y="874"/>
                  </a:lnTo>
                  <a:lnTo>
                    <a:pt x="962" y="877"/>
                  </a:lnTo>
                  <a:lnTo>
                    <a:pt x="960" y="880"/>
                  </a:lnTo>
                  <a:lnTo>
                    <a:pt x="958" y="885"/>
                  </a:lnTo>
                  <a:lnTo>
                    <a:pt x="957" y="889"/>
                  </a:lnTo>
                  <a:lnTo>
                    <a:pt x="952" y="899"/>
                  </a:lnTo>
                  <a:lnTo>
                    <a:pt x="946" y="912"/>
                  </a:lnTo>
                  <a:lnTo>
                    <a:pt x="937" y="925"/>
                  </a:lnTo>
                  <a:lnTo>
                    <a:pt x="928" y="936"/>
                  </a:lnTo>
                  <a:lnTo>
                    <a:pt x="925" y="940"/>
                  </a:lnTo>
                  <a:lnTo>
                    <a:pt x="921" y="943"/>
                  </a:lnTo>
                  <a:lnTo>
                    <a:pt x="918" y="945"/>
                  </a:lnTo>
                  <a:lnTo>
                    <a:pt x="915" y="946"/>
                  </a:lnTo>
                  <a:lnTo>
                    <a:pt x="913" y="944"/>
                  </a:lnTo>
                  <a:lnTo>
                    <a:pt x="912" y="941"/>
                  </a:lnTo>
                  <a:lnTo>
                    <a:pt x="913" y="936"/>
                  </a:lnTo>
                  <a:lnTo>
                    <a:pt x="914" y="928"/>
                  </a:lnTo>
                  <a:lnTo>
                    <a:pt x="917" y="922"/>
                  </a:lnTo>
                  <a:lnTo>
                    <a:pt x="920" y="916"/>
                  </a:lnTo>
                  <a:lnTo>
                    <a:pt x="923" y="912"/>
                  </a:lnTo>
                  <a:lnTo>
                    <a:pt x="926" y="906"/>
                  </a:lnTo>
                  <a:lnTo>
                    <a:pt x="928" y="902"/>
                  </a:lnTo>
                  <a:lnTo>
                    <a:pt x="932" y="897"/>
                  </a:lnTo>
                  <a:lnTo>
                    <a:pt x="933" y="891"/>
                  </a:lnTo>
                  <a:lnTo>
                    <a:pt x="934" y="885"/>
                  </a:lnTo>
                  <a:lnTo>
                    <a:pt x="927" y="884"/>
                  </a:lnTo>
                  <a:lnTo>
                    <a:pt x="921" y="884"/>
                  </a:lnTo>
                  <a:lnTo>
                    <a:pt x="913" y="886"/>
                  </a:lnTo>
                  <a:lnTo>
                    <a:pt x="907" y="888"/>
                  </a:lnTo>
                  <a:lnTo>
                    <a:pt x="891" y="895"/>
                  </a:lnTo>
                  <a:lnTo>
                    <a:pt x="875" y="904"/>
                  </a:lnTo>
                  <a:lnTo>
                    <a:pt x="860" y="915"/>
                  </a:lnTo>
                  <a:lnTo>
                    <a:pt x="846" y="927"/>
                  </a:lnTo>
                  <a:lnTo>
                    <a:pt x="836" y="938"/>
                  </a:lnTo>
                  <a:lnTo>
                    <a:pt x="827" y="947"/>
                  </a:lnTo>
                  <a:lnTo>
                    <a:pt x="818" y="958"/>
                  </a:lnTo>
                  <a:lnTo>
                    <a:pt x="811" y="967"/>
                  </a:lnTo>
                  <a:lnTo>
                    <a:pt x="802" y="976"/>
                  </a:lnTo>
                  <a:lnTo>
                    <a:pt x="793" y="983"/>
                  </a:lnTo>
                  <a:lnTo>
                    <a:pt x="785" y="990"/>
                  </a:lnTo>
                  <a:lnTo>
                    <a:pt x="775" y="995"/>
                  </a:lnTo>
                  <a:lnTo>
                    <a:pt x="766" y="1000"/>
                  </a:lnTo>
                  <a:lnTo>
                    <a:pt x="757" y="1005"/>
                  </a:lnTo>
                  <a:lnTo>
                    <a:pt x="747" y="1008"/>
                  </a:lnTo>
                  <a:lnTo>
                    <a:pt x="736" y="1011"/>
                  </a:lnTo>
                  <a:lnTo>
                    <a:pt x="725" y="1014"/>
                  </a:lnTo>
                  <a:lnTo>
                    <a:pt x="715" y="1015"/>
                  </a:lnTo>
                  <a:lnTo>
                    <a:pt x="692" y="1019"/>
                  </a:lnTo>
                  <a:lnTo>
                    <a:pt x="666" y="1019"/>
                  </a:lnTo>
                  <a:lnTo>
                    <a:pt x="636" y="1019"/>
                  </a:lnTo>
                  <a:lnTo>
                    <a:pt x="596" y="1018"/>
                  </a:lnTo>
                  <a:lnTo>
                    <a:pt x="574" y="1019"/>
                  </a:lnTo>
                  <a:lnTo>
                    <a:pt x="551" y="1020"/>
                  </a:lnTo>
                  <a:lnTo>
                    <a:pt x="530" y="1022"/>
                  </a:lnTo>
                  <a:lnTo>
                    <a:pt x="509" y="1025"/>
                  </a:lnTo>
                  <a:lnTo>
                    <a:pt x="500" y="1027"/>
                  </a:lnTo>
                  <a:lnTo>
                    <a:pt x="490" y="1030"/>
                  </a:lnTo>
                  <a:lnTo>
                    <a:pt x="481" y="1033"/>
                  </a:lnTo>
                  <a:lnTo>
                    <a:pt x="474" y="1036"/>
                  </a:lnTo>
                  <a:lnTo>
                    <a:pt x="466" y="1039"/>
                  </a:lnTo>
                  <a:lnTo>
                    <a:pt x="461" y="1045"/>
                  </a:lnTo>
                  <a:lnTo>
                    <a:pt x="455" y="1049"/>
                  </a:lnTo>
                  <a:lnTo>
                    <a:pt x="451" y="1054"/>
                  </a:lnTo>
                  <a:lnTo>
                    <a:pt x="448" y="1061"/>
                  </a:lnTo>
                  <a:lnTo>
                    <a:pt x="446" y="1067"/>
                  </a:lnTo>
                  <a:lnTo>
                    <a:pt x="446" y="1075"/>
                  </a:lnTo>
                  <a:lnTo>
                    <a:pt x="446" y="1082"/>
                  </a:lnTo>
                  <a:lnTo>
                    <a:pt x="449" y="1091"/>
                  </a:lnTo>
                  <a:lnTo>
                    <a:pt x="452" y="1101"/>
                  </a:lnTo>
                  <a:lnTo>
                    <a:pt x="457" y="1112"/>
                  </a:lnTo>
                  <a:lnTo>
                    <a:pt x="465" y="1122"/>
                  </a:lnTo>
                  <a:lnTo>
                    <a:pt x="452" y="1149"/>
                  </a:lnTo>
                  <a:lnTo>
                    <a:pt x="443" y="1157"/>
                  </a:lnTo>
                  <a:lnTo>
                    <a:pt x="435" y="1166"/>
                  </a:lnTo>
                  <a:lnTo>
                    <a:pt x="425" y="1172"/>
                  </a:lnTo>
                  <a:lnTo>
                    <a:pt x="414" y="1179"/>
                  </a:lnTo>
                  <a:lnTo>
                    <a:pt x="404" y="1182"/>
                  </a:lnTo>
                  <a:lnTo>
                    <a:pt x="393" y="1186"/>
                  </a:lnTo>
                  <a:lnTo>
                    <a:pt x="386" y="1188"/>
                  </a:lnTo>
                  <a:lnTo>
                    <a:pt x="382" y="1192"/>
                  </a:lnTo>
                  <a:lnTo>
                    <a:pt x="377" y="1195"/>
                  </a:lnTo>
                  <a:lnTo>
                    <a:pt x="376" y="1199"/>
                  </a:lnTo>
                  <a:lnTo>
                    <a:pt x="375" y="1206"/>
                  </a:lnTo>
                  <a:lnTo>
                    <a:pt x="376" y="1211"/>
                  </a:lnTo>
                  <a:lnTo>
                    <a:pt x="377" y="1216"/>
                  </a:lnTo>
                  <a:lnTo>
                    <a:pt x="381" y="1222"/>
                  </a:lnTo>
                  <a:lnTo>
                    <a:pt x="384" y="1226"/>
                  </a:lnTo>
                  <a:lnTo>
                    <a:pt x="387" y="1230"/>
                  </a:lnTo>
                  <a:lnTo>
                    <a:pt x="393" y="1234"/>
                  </a:lnTo>
                  <a:lnTo>
                    <a:pt x="398" y="1238"/>
                  </a:lnTo>
                  <a:lnTo>
                    <a:pt x="421" y="1250"/>
                  </a:lnTo>
                  <a:lnTo>
                    <a:pt x="441" y="1260"/>
                  </a:lnTo>
                  <a:lnTo>
                    <a:pt x="452" y="1266"/>
                  </a:lnTo>
                  <a:lnTo>
                    <a:pt x="464" y="1271"/>
                  </a:lnTo>
                  <a:lnTo>
                    <a:pt x="476" y="1277"/>
                  </a:lnTo>
                  <a:lnTo>
                    <a:pt x="485" y="1283"/>
                  </a:lnTo>
                  <a:lnTo>
                    <a:pt x="492" y="1289"/>
                  </a:lnTo>
                  <a:lnTo>
                    <a:pt x="496" y="1294"/>
                  </a:lnTo>
                  <a:lnTo>
                    <a:pt x="500" y="1300"/>
                  </a:lnTo>
                  <a:lnTo>
                    <a:pt x="501" y="1305"/>
                  </a:lnTo>
                  <a:lnTo>
                    <a:pt x="501" y="1311"/>
                  </a:lnTo>
                  <a:lnTo>
                    <a:pt x="500" y="1318"/>
                  </a:lnTo>
                  <a:lnTo>
                    <a:pt x="497" y="1324"/>
                  </a:lnTo>
                  <a:lnTo>
                    <a:pt x="495" y="1333"/>
                  </a:lnTo>
                  <a:lnTo>
                    <a:pt x="490" y="1347"/>
                  </a:lnTo>
                  <a:lnTo>
                    <a:pt x="484" y="1360"/>
                  </a:lnTo>
                  <a:lnTo>
                    <a:pt x="478" y="1370"/>
                  </a:lnTo>
                  <a:lnTo>
                    <a:pt x="470" y="1378"/>
                  </a:lnTo>
                  <a:lnTo>
                    <a:pt x="454" y="1393"/>
                  </a:lnTo>
                  <a:lnTo>
                    <a:pt x="431" y="1412"/>
                  </a:lnTo>
                  <a:lnTo>
                    <a:pt x="426" y="1415"/>
                  </a:lnTo>
                  <a:lnTo>
                    <a:pt x="421" y="1418"/>
                  </a:lnTo>
                  <a:lnTo>
                    <a:pt x="415" y="1419"/>
                  </a:lnTo>
                  <a:lnTo>
                    <a:pt x="410" y="1422"/>
                  </a:lnTo>
                  <a:lnTo>
                    <a:pt x="399" y="1423"/>
                  </a:lnTo>
                  <a:lnTo>
                    <a:pt x="388" y="1425"/>
                  </a:lnTo>
                  <a:lnTo>
                    <a:pt x="384" y="1426"/>
                  </a:lnTo>
                  <a:lnTo>
                    <a:pt x="380" y="1427"/>
                  </a:lnTo>
                  <a:lnTo>
                    <a:pt x="375" y="1430"/>
                  </a:lnTo>
                  <a:lnTo>
                    <a:pt x="371" y="1433"/>
                  </a:lnTo>
                  <a:lnTo>
                    <a:pt x="369" y="1438"/>
                  </a:lnTo>
                  <a:lnTo>
                    <a:pt x="366" y="1444"/>
                  </a:lnTo>
                  <a:lnTo>
                    <a:pt x="363" y="1452"/>
                  </a:lnTo>
                  <a:lnTo>
                    <a:pt x="362" y="1460"/>
                  </a:lnTo>
                  <a:lnTo>
                    <a:pt x="362" y="1469"/>
                  </a:lnTo>
                  <a:lnTo>
                    <a:pt x="363" y="1480"/>
                  </a:lnTo>
                  <a:lnTo>
                    <a:pt x="365" y="1491"/>
                  </a:lnTo>
                  <a:lnTo>
                    <a:pt x="366" y="1503"/>
                  </a:lnTo>
                  <a:lnTo>
                    <a:pt x="370" y="1528"/>
                  </a:lnTo>
                  <a:lnTo>
                    <a:pt x="373" y="1554"/>
                  </a:lnTo>
                  <a:lnTo>
                    <a:pt x="373" y="1567"/>
                  </a:lnTo>
                  <a:lnTo>
                    <a:pt x="372" y="1579"/>
                  </a:lnTo>
                  <a:lnTo>
                    <a:pt x="371" y="1590"/>
                  </a:lnTo>
                  <a:lnTo>
                    <a:pt x="368" y="1600"/>
                  </a:lnTo>
                  <a:lnTo>
                    <a:pt x="366" y="1604"/>
                  </a:lnTo>
                  <a:lnTo>
                    <a:pt x="363" y="1608"/>
                  </a:lnTo>
                  <a:lnTo>
                    <a:pt x="360" y="1612"/>
                  </a:lnTo>
                  <a:lnTo>
                    <a:pt x="357" y="1615"/>
                  </a:lnTo>
                  <a:lnTo>
                    <a:pt x="353" y="1618"/>
                  </a:lnTo>
                  <a:lnTo>
                    <a:pt x="348" y="1620"/>
                  </a:lnTo>
                  <a:lnTo>
                    <a:pt x="343" y="1622"/>
                  </a:lnTo>
                  <a:lnTo>
                    <a:pt x="337" y="1624"/>
                  </a:lnTo>
                  <a:lnTo>
                    <a:pt x="326" y="1626"/>
                  </a:lnTo>
                  <a:lnTo>
                    <a:pt x="316" y="1629"/>
                  </a:lnTo>
                  <a:lnTo>
                    <a:pt x="308" y="1632"/>
                  </a:lnTo>
                  <a:lnTo>
                    <a:pt x="303" y="1636"/>
                  </a:lnTo>
                  <a:lnTo>
                    <a:pt x="299" y="1641"/>
                  </a:lnTo>
                  <a:lnTo>
                    <a:pt x="296" y="1646"/>
                  </a:lnTo>
                  <a:lnTo>
                    <a:pt x="295" y="1652"/>
                  </a:lnTo>
                  <a:lnTo>
                    <a:pt x="294" y="1657"/>
                  </a:lnTo>
                  <a:lnTo>
                    <a:pt x="293" y="1670"/>
                  </a:lnTo>
                  <a:lnTo>
                    <a:pt x="292" y="1684"/>
                  </a:lnTo>
                  <a:lnTo>
                    <a:pt x="291" y="1692"/>
                  </a:lnTo>
                  <a:lnTo>
                    <a:pt x="289" y="1699"/>
                  </a:lnTo>
                  <a:lnTo>
                    <a:pt x="285" y="1707"/>
                  </a:lnTo>
                  <a:lnTo>
                    <a:pt x="279" y="1714"/>
                  </a:lnTo>
                  <a:lnTo>
                    <a:pt x="263" y="1735"/>
                  </a:lnTo>
                  <a:lnTo>
                    <a:pt x="247" y="1754"/>
                  </a:lnTo>
                  <a:lnTo>
                    <a:pt x="229" y="1773"/>
                  </a:lnTo>
                  <a:lnTo>
                    <a:pt x="210" y="1790"/>
                  </a:lnTo>
                  <a:lnTo>
                    <a:pt x="200" y="1797"/>
                  </a:lnTo>
                  <a:lnTo>
                    <a:pt x="191" y="1804"/>
                  </a:lnTo>
                  <a:lnTo>
                    <a:pt x="180" y="1809"/>
                  </a:lnTo>
                  <a:lnTo>
                    <a:pt x="168" y="1815"/>
                  </a:lnTo>
                  <a:lnTo>
                    <a:pt x="156" y="1819"/>
                  </a:lnTo>
                  <a:lnTo>
                    <a:pt x="144" y="1822"/>
                  </a:lnTo>
                  <a:lnTo>
                    <a:pt x="131" y="1824"/>
                  </a:lnTo>
                  <a:lnTo>
                    <a:pt x="117" y="1824"/>
                  </a:lnTo>
                  <a:lnTo>
                    <a:pt x="112" y="1825"/>
                  </a:lnTo>
                  <a:lnTo>
                    <a:pt x="107" y="1828"/>
                  </a:lnTo>
                  <a:lnTo>
                    <a:pt x="103" y="1831"/>
                  </a:lnTo>
                  <a:lnTo>
                    <a:pt x="100" y="1834"/>
                  </a:lnTo>
                  <a:lnTo>
                    <a:pt x="94" y="1845"/>
                  </a:lnTo>
                  <a:lnTo>
                    <a:pt x="91" y="1858"/>
                  </a:lnTo>
                  <a:lnTo>
                    <a:pt x="88" y="1871"/>
                  </a:lnTo>
                  <a:lnTo>
                    <a:pt x="85" y="1884"/>
                  </a:lnTo>
                  <a:lnTo>
                    <a:pt x="83" y="1889"/>
                  </a:lnTo>
                  <a:lnTo>
                    <a:pt x="79" y="1895"/>
                  </a:lnTo>
                  <a:lnTo>
                    <a:pt x="76" y="1900"/>
                  </a:lnTo>
                  <a:lnTo>
                    <a:pt x="73" y="1903"/>
                  </a:lnTo>
                  <a:lnTo>
                    <a:pt x="65" y="1910"/>
                  </a:lnTo>
                  <a:lnTo>
                    <a:pt x="60" y="1916"/>
                  </a:lnTo>
                  <a:lnTo>
                    <a:pt x="57" y="1922"/>
                  </a:lnTo>
                  <a:lnTo>
                    <a:pt x="54" y="1928"/>
                  </a:lnTo>
                  <a:lnTo>
                    <a:pt x="54" y="1935"/>
                  </a:lnTo>
                  <a:lnTo>
                    <a:pt x="56" y="1940"/>
                  </a:lnTo>
                  <a:lnTo>
                    <a:pt x="58" y="1946"/>
                  </a:lnTo>
                  <a:lnTo>
                    <a:pt x="61" y="1952"/>
                  </a:lnTo>
                  <a:lnTo>
                    <a:pt x="65" y="1957"/>
                  </a:lnTo>
                  <a:lnTo>
                    <a:pt x="71" y="1963"/>
                  </a:lnTo>
                  <a:lnTo>
                    <a:pt x="76" y="1967"/>
                  </a:lnTo>
                  <a:lnTo>
                    <a:pt x="83" y="1971"/>
                  </a:lnTo>
                  <a:lnTo>
                    <a:pt x="94" y="1980"/>
                  </a:lnTo>
                  <a:lnTo>
                    <a:pt x="106" y="1986"/>
                  </a:lnTo>
                  <a:lnTo>
                    <a:pt x="128" y="1995"/>
                  </a:lnTo>
                  <a:lnTo>
                    <a:pt x="146" y="2005"/>
                  </a:lnTo>
                  <a:lnTo>
                    <a:pt x="153" y="2010"/>
                  </a:lnTo>
                  <a:lnTo>
                    <a:pt x="159" y="2018"/>
                  </a:lnTo>
                  <a:lnTo>
                    <a:pt x="161" y="2023"/>
                  </a:lnTo>
                  <a:lnTo>
                    <a:pt x="164" y="2029"/>
                  </a:lnTo>
                  <a:lnTo>
                    <a:pt x="166" y="2035"/>
                  </a:lnTo>
                  <a:lnTo>
                    <a:pt x="167" y="2041"/>
                  </a:lnTo>
                  <a:lnTo>
                    <a:pt x="168" y="2051"/>
                  </a:lnTo>
                  <a:lnTo>
                    <a:pt x="168" y="2062"/>
                  </a:lnTo>
                  <a:lnTo>
                    <a:pt x="167" y="2072"/>
                  </a:lnTo>
                  <a:lnTo>
                    <a:pt x="165" y="2083"/>
                  </a:lnTo>
                  <a:lnTo>
                    <a:pt x="161" y="2093"/>
                  </a:lnTo>
                  <a:lnTo>
                    <a:pt x="157" y="2103"/>
                  </a:lnTo>
                  <a:lnTo>
                    <a:pt x="153" y="2114"/>
                  </a:lnTo>
                  <a:lnTo>
                    <a:pt x="147" y="2124"/>
                  </a:lnTo>
                  <a:lnTo>
                    <a:pt x="142" y="2133"/>
                  </a:lnTo>
                  <a:lnTo>
                    <a:pt x="135" y="2142"/>
                  </a:lnTo>
                  <a:lnTo>
                    <a:pt x="128" y="2151"/>
                  </a:lnTo>
                  <a:lnTo>
                    <a:pt x="120" y="2159"/>
                  </a:lnTo>
                  <a:lnTo>
                    <a:pt x="113" y="2167"/>
                  </a:lnTo>
                  <a:lnTo>
                    <a:pt x="105" y="2174"/>
                  </a:lnTo>
                  <a:lnTo>
                    <a:pt x="97" y="2181"/>
                  </a:lnTo>
                  <a:lnTo>
                    <a:pt x="89" y="2186"/>
                  </a:lnTo>
                  <a:lnTo>
                    <a:pt x="53" y="2206"/>
                  </a:lnTo>
                  <a:lnTo>
                    <a:pt x="27" y="2218"/>
                  </a:lnTo>
                  <a:lnTo>
                    <a:pt x="23" y="2221"/>
                  </a:lnTo>
                  <a:lnTo>
                    <a:pt x="19" y="2226"/>
                  </a:lnTo>
                  <a:lnTo>
                    <a:pt x="14" y="2232"/>
                  </a:lnTo>
                  <a:lnTo>
                    <a:pt x="11" y="2238"/>
                  </a:lnTo>
                  <a:lnTo>
                    <a:pt x="8" y="2247"/>
                  </a:lnTo>
                  <a:lnTo>
                    <a:pt x="5" y="2256"/>
                  </a:lnTo>
                  <a:lnTo>
                    <a:pt x="3" y="2268"/>
                  </a:lnTo>
                  <a:lnTo>
                    <a:pt x="0" y="2281"/>
                  </a:lnTo>
                  <a:lnTo>
                    <a:pt x="0" y="2281"/>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15" name="Freeform 22">
              <a:extLst>
                <a:ext uri="{FF2B5EF4-FFF2-40B4-BE49-F238E27FC236}">
                  <a16:creationId xmlns:a16="http://schemas.microsoft.com/office/drawing/2014/main" id="{A8AB3B53-9CB6-44D9-BEFF-EBFDEF736BDF}"/>
                </a:ext>
              </a:extLst>
            </p:cNvPr>
            <p:cNvSpPr>
              <a:spLocks/>
            </p:cNvSpPr>
            <p:nvPr/>
          </p:nvSpPr>
          <p:spPr bwMode="auto">
            <a:xfrm>
              <a:off x="1013525" y="3890987"/>
              <a:ext cx="1804717" cy="1707429"/>
            </a:xfrm>
            <a:custGeom>
              <a:avLst/>
              <a:gdLst>
                <a:gd name="T0" fmla="*/ 736 w 3960"/>
                <a:gd name="T1" fmla="*/ 4110 h 4278"/>
                <a:gd name="T2" fmla="*/ 860 w 3960"/>
                <a:gd name="T3" fmla="*/ 3879 h 4278"/>
                <a:gd name="T4" fmla="*/ 1078 w 3960"/>
                <a:gd name="T5" fmla="*/ 3799 h 4278"/>
                <a:gd name="T6" fmla="*/ 1281 w 3960"/>
                <a:gd name="T7" fmla="*/ 3677 h 4278"/>
                <a:gd name="T8" fmla="*/ 1536 w 3960"/>
                <a:gd name="T9" fmla="*/ 3536 h 4278"/>
                <a:gd name="T10" fmla="*/ 1729 w 3960"/>
                <a:gd name="T11" fmla="*/ 3481 h 4278"/>
                <a:gd name="T12" fmla="*/ 2049 w 3960"/>
                <a:gd name="T13" fmla="*/ 3358 h 4278"/>
                <a:gd name="T14" fmla="*/ 2255 w 3960"/>
                <a:gd name="T15" fmla="*/ 3265 h 4278"/>
                <a:gd name="T16" fmla="*/ 2589 w 3960"/>
                <a:gd name="T17" fmla="*/ 2968 h 4278"/>
                <a:gd name="T18" fmla="*/ 3891 w 3960"/>
                <a:gd name="T19" fmla="*/ 1514 h 4278"/>
                <a:gd name="T20" fmla="*/ 3691 w 3960"/>
                <a:gd name="T21" fmla="*/ 1159 h 4278"/>
                <a:gd name="T22" fmla="*/ 3477 w 3960"/>
                <a:gd name="T23" fmla="*/ 1159 h 4278"/>
                <a:gd name="T24" fmla="*/ 3356 w 3960"/>
                <a:gd name="T25" fmla="*/ 1347 h 4278"/>
                <a:gd name="T26" fmla="*/ 3140 w 3960"/>
                <a:gd name="T27" fmla="*/ 1573 h 4278"/>
                <a:gd name="T28" fmla="*/ 2875 w 3960"/>
                <a:gd name="T29" fmla="*/ 1837 h 4278"/>
                <a:gd name="T30" fmla="*/ 2627 w 3960"/>
                <a:gd name="T31" fmla="*/ 1870 h 4278"/>
                <a:gd name="T32" fmla="*/ 2536 w 3960"/>
                <a:gd name="T33" fmla="*/ 1679 h 4278"/>
                <a:gd name="T34" fmla="*/ 2323 w 3960"/>
                <a:gd name="T35" fmla="*/ 1419 h 4278"/>
                <a:gd name="T36" fmla="*/ 2141 w 3960"/>
                <a:gd name="T37" fmla="*/ 1345 h 4278"/>
                <a:gd name="T38" fmla="*/ 2165 w 3960"/>
                <a:gd name="T39" fmla="*/ 1155 h 4278"/>
                <a:gd name="T40" fmla="*/ 2239 w 3960"/>
                <a:gd name="T41" fmla="*/ 910 h 4278"/>
                <a:gd name="T42" fmla="*/ 2163 w 3960"/>
                <a:gd name="T43" fmla="*/ 697 h 4278"/>
                <a:gd name="T44" fmla="*/ 1978 w 3960"/>
                <a:gd name="T45" fmla="*/ 674 h 4278"/>
                <a:gd name="T46" fmla="*/ 1783 w 3960"/>
                <a:gd name="T47" fmla="*/ 633 h 4278"/>
                <a:gd name="T48" fmla="*/ 1568 w 3960"/>
                <a:gd name="T49" fmla="*/ 535 h 4278"/>
                <a:gd name="T50" fmla="*/ 1471 w 3960"/>
                <a:gd name="T51" fmla="*/ 283 h 4278"/>
                <a:gd name="T52" fmla="*/ 1298 w 3960"/>
                <a:gd name="T53" fmla="*/ 207 h 4278"/>
                <a:gd name="T54" fmla="*/ 1021 w 3960"/>
                <a:gd name="T55" fmla="*/ 205 h 4278"/>
                <a:gd name="T56" fmla="*/ 782 w 3960"/>
                <a:gd name="T57" fmla="*/ 109 h 4278"/>
                <a:gd name="T58" fmla="*/ 402 w 3960"/>
                <a:gd name="T59" fmla="*/ 0 h 4278"/>
                <a:gd name="T60" fmla="*/ 304 w 3960"/>
                <a:gd name="T61" fmla="*/ 321 h 4278"/>
                <a:gd name="T62" fmla="*/ 91 w 3960"/>
                <a:gd name="T63" fmla="*/ 772 h 4278"/>
                <a:gd name="T64" fmla="*/ 27 w 3960"/>
                <a:gd name="T65" fmla="*/ 1184 h 4278"/>
                <a:gd name="T66" fmla="*/ 38 w 3960"/>
                <a:gd name="T67" fmla="*/ 1539 h 4278"/>
                <a:gd name="T68" fmla="*/ 79 w 3960"/>
                <a:gd name="T69" fmla="*/ 1692 h 4278"/>
                <a:gd name="T70" fmla="*/ 270 w 3960"/>
                <a:gd name="T71" fmla="*/ 1725 h 4278"/>
                <a:gd name="T72" fmla="*/ 455 w 3960"/>
                <a:gd name="T73" fmla="*/ 1909 h 4278"/>
                <a:gd name="T74" fmla="*/ 653 w 3960"/>
                <a:gd name="T75" fmla="*/ 1846 h 4278"/>
                <a:gd name="T76" fmla="*/ 731 w 3960"/>
                <a:gd name="T77" fmla="*/ 1949 h 4278"/>
                <a:gd name="T78" fmla="*/ 801 w 3960"/>
                <a:gd name="T79" fmla="*/ 2044 h 4278"/>
                <a:gd name="T80" fmla="*/ 770 w 3960"/>
                <a:gd name="T81" fmla="*/ 2270 h 4278"/>
                <a:gd name="T82" fmla="*/ 673 w 3960"/>
                <a:gd name="T83" fmla="*/ 2456 h 4278"/>
                <a:gd name="T84" fmla="*/ 609 w 3960"/>
                <a:gd name="T85" fmla="*/ 2618 h 4278"/>
                <a:gd name="T86" fmla="*/ 467 w 3960"/>
                <a:gd name="T87" fmla="*/ 2832 h 4278"/>
                <a:gd name="T88" fmla="*/ 517 w 3960"/>
                <a:gd name="T89" fmla="*/ 3030 h 4278"/>
                <a:gd name="T90" fmla="*/ 702 w 3960"/>
                <a:gd name="T91" fmla="*/ 3087 h 4278"/>
                <a:gd name="T92" fmla="*/ 859 w 3960"/>
                <a:gd name="T93" fmla="*/ 3121 h 4278"/>
                <a:gd name="T94" fmla="*/ 978 w 3960"/>
                <a:gd name="T95" fmla="*/ 3197 h 4278"/>
                <a:gd name="T96" fmla="*/ 1055 w 3960"/>
                <a:gd name="T97" fmla="*/ 3192 h 4278"/>
                <a:gd name="T98" fmla="*/ 1026 w 3960"/>
                <a:gd name="T99" fmla="*/ 3289 h 4278"/>
                <a:gd name="T100" fmla="*/ 867 w 3960"/>
                <a:gd name="T101" fmla="*/ 3281 h 4278"/>
                <a:gd name="T102" fmla="*/ 841 w 3960"/>
                <a:gd name="T103" fmla="*/ 3559 h 4278"/>
                <a:gd name="T104" fmla="*/ 680 w 3960"/>
                <a:gd name="T105" fmla="*/ 3644 h 4278"/>
                <a:gd name="T106" fmla="*/ 572 w 3960"/>
                <a:gd name="T107" fmla="*/ 3513 h 4278"/>
                <a:gd name="T108" fmla="*/ 512 w 3960"/>
                <a:gd name="T109" fmla="*/ 3619 h 4278"/>
                <a:gd name="T110" fmla="*/ 424 w 3960"/>
                <a:gd name="T111" fmla="*/ 3530 h 4278"/>
                <a:gd name="T112" fmla="*/ 253 w 3960"/>
                <a:gd name="T113" fmla="*/ 3715 h 4278"/>
                <a:gd name="T114" fmla="*/ 169 w 3960"/>
                <a:gd name="T115" fmla="*/ 3847 h 4278"/>
                <a:gd name="T116" fmla="*/ 123 w 3960"/>
                <a:gd name="T117" fmla="*/ 3817 h 4278"/>
                <a:gd name="T118" fmla="*/ 100 w 3960"/>
                <a:gd name="T119" fmla="*/ 3957 h 4278"/>
                <a:gd name="T120" fmla="*/ 334 w 3960"/>
                <a:gd name="T121" fmla="*/ 4117 h 4278"/>
                <a:gd name="T122" fmla="*/ 459 w 3960"/>
                <a:gd name="T123" fmla="*/ 4182 h 4278"/>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56 w 10000"/>
                <a:gd name="connsiteY750" fmla="*/ 7693 h 10000"/>
                <a:gd name="connsiteX751" fmla="*/ 2518 w 10000"/>
                <a:gd name="connsiteY751" fmla="*/ 7693 h 10000"/>
                <a:gd name="connsiteX752" fmla="*/ 2482 w 10000"/>
                <a:gd name="connsiteY752" fmla="*/ 7691 h 10000"/>
                <a:gd name="connsiteX753" fmla="*/ 2419 w 10000"/>
                <a:gd name="connsiteY753" fmla="*/ 7686 h 10000"/>
                <a:gd name="connsiteX754" fmla="*/ 2361 w 10000"/>
                <a:gd name="connsiteY754" fmla="*/ 7669 h 10000"/>
                <a:gd name="connsiteX755" fmla="*/ 2295 w 10000"/>
                <a:gd name="connsiteY755" fmla="*/ 7651 h 10000"/>
                <a:gd name="connsiteX756" fmla="*/ 2283 w 10000"/>
                <a:gd name="connsiteY756" fmla="*/ 7644 h 10000"/>
                <a:gd name="connsiteX757" fmla="*/ 2265 w 10000"/>
                <a:gd name="connsiteY757" fmla="*/ 7641 h 10000"/>
                <a:gd name="connsiteX758" fmla="*/ 2253 w 10000"/>
                <a:gd name="connsiteY758" fmla="*/ 7641 h 10000"/>
                <a:gd name="connsiteX759" fmla="*/ 2235 w 10000"/>
                <a:gd name="connsiteY759" fmla="*/ 7641 h 10000"/>
                <a:gd name="connsiteX760" fmla="*/ 2222 w 10000"/>
                <a:gd name="connsiteY760" fmla="*/ 7648 h 10000"/>
                <a:gd name="connsiteX761" fmla="*/ 2212 w 10000"/>
                <a:gd name="connsiteY761" fmla="*/ 7653 h 10000"/>
                <a:gd name="connsiteX762" fmla="*/ 2199 w 10000"/>
                <a:gd name="connsiteY762" fmla="*/ 7660 h 10000"/>
                <a:gd name="connsiteX763" fmla="*/ 2189 w 10000"/>
                <a:gd name="connsiteY763" fmla="*/ 7669 h 10000"/>
                <a:gd name="connsiteX764" fmla="*/ 2182 w 10000"/>
                <a:gd name="connsiteY764" fmla="*/ 7688 h 10000"/>
                <a:gd name="connsiteX765" fmla="*/ 2172 w 10000"/>
                <a:gd name="connsiteY765" fmla="*/ 7714 h 10000"/>
                <a:gd name="connsiteX766" fmla="*/ 2167 w 10000"/>
                <a:gd name="connsiteY766" fmla="*/ 7742 h 10000"/>
                <a:gd name="connsiteX767" fmla="*/ 2162 w 10000"/>
                <a:gd name="connsiteY767" fmla="*/ 7775 h 10000"/>
                <a:gd name="connsiteX768" fmla="*/ 2159 w 10000"/>
                <a:gd name="connsiteY768" fmla="*/ 7833 h 10000"/>
                <a:gd name="connsiteX769" fmla="*/ 2157 w 10000"/>
                <a:gd name="connsiteY769" fmla="*/ 7882 h 10000"/>
                <a:gd name="connsiteX770" fmla="*/ 2157 w 10000"/>
                <a:gd name="connsiteY770" fmla="*/ 7938 h 10000"/>
                <a:gd name="connsiteX771" fmla="*/ 2159 w 10000"/>
                <a:gd name="connsiteY771" fmla="*/ 8006 h 10000"/>
                <a:gd name="connsiteX772" fmla="*/ 2162 w 10000"/>
                <a:gd name="connsiteY772" fmla="*/ 8079 h 10000"/>
                <a:gd name="connsiteX773" fmla="*/ 2159 w 10000"/>
                <a:gd name="connsiteY773" fmla="*/ 8156 h 10000"/>
                <a:gd name="connsiteX774" fmla="*/ 2157 w 10000"/>
                <a:gd name="connsiteY774" fmla="*/ 8193 h 10000"/>
                <a:gd name="connsiteX775" fmla="*/ 2154 w 10000"/>
                <a:gd name="connsiteY775" fmla="*/ 8228 h 10000"/>
                <a:gd name="connsiteX776" fmla="*/ 2146 w 10000"/>
                <a:gd name="connsiteY776" fmla="*/ 8261 h 10000"/>
                <a:gd name="connsiteX777" fmla="*/ 2136 w 10000"/>
                <a:gd name="connsiteY777" fmla="*/ 8291 h 10000"/>
                <a:gd name="connsiteX778" fmla="*/ 2124 w 10000"/>
                <a:gd name="connsiteY778" fmla="*/ 8319 h 10000"/>
                <a:gd name="connsiteX779" fmla="*/ 2109 w 10000"/>
                <a:gd name="connsiteY779" fmla="*/ 8345 h 10000"/>
                <a:gd name="connsiteX780" fmla="*/ 2098 w 10000"/>
                <a:gd name="connsiteY780" fmla="*/ 8354 h 10000"/>
                <a:gd name="connsiteX781" fmla="*/ 2088 w 10000"/>
                <a:gd name="connsiteY781" fmla="*/ 8364 h 10000"/>
                <a:gd name="connsiteX782" fmla="*/ 2078 w 10000"/>
                <a:gd name="connsiteY782" fmla="*/ 8373 h 10000"/>
                <a:gd name="connsiteX783" fmla="*/ 2063 w 10000"/>
                <a:gd name="connsiteY783" fmla="*/ 8380 h 10000"/>
                <a:gd name="connsiteX784" fmla="*/ 1990 w 10000"/>
                <a:gd name="connsiteY784" fmla="*/ 8422 h 10000"/>
                <a:gd name="connsiteX785" fmla="*/ 1904 w 10000"/>
                <a:gd name="connsiteY785" fmla="*/ 8481 h 10000"/>
                <a:gd name="connsiteX786" fmla="*/ 1856 w 10000"/>
                <a:gd name="connsiteY786" fmla="*/ 8506 h 10000"/>
                <a:gd name="connsiteX787" fmla="*/ 1816 w 10000"/>
                <a:gd name="connsiteY787" fmla="*/ 8527 h 10000"/>
                <a:gd name="connsiteX788" fmla="*/ 1793 w 10000"/>
                <a:gd name="connsiteY788" fmla="*/ 8539 h 10000"/>
                <a:gd name="connsiteX789" fmla="*/ 1775 w 10000"/>
                <a:gd name="connsiteY789" fmla="*/ 8546 h 10000"/>
                <a:gd name="connsiteX790" fmla="*/ 1758 w 10000"/>
                <a:gd name="connsiteY790" fmla="*/ 8548 h 10000"/>
                <a:gd name="connsiteX791" fmla="*/ 1742 w 10000"/>
                <a:gd name="connsiteY791" fmla="*/ 8551 h 10000"/>
                <a:gd name="connsiteX792" fmla="*/ 1727 w 10000"/>
                <a:gd name="connsiteY792" fmla="*/ 8537 h 10000"/>
                <a:gd name="connsiteX793" fmla="*/ 1717 w 10000"/>
                <a:gd name="connsiteY793" fmla="*/ 8518 h 10000"/>
                <a:gd name="connsiteX794" fmla="*/ 1710 w 10000"/>
                <a:gd name="connsiteY794" fmla="*/ 8499 h 10000"/>
                <a:gd name="connsiteX795" fmla="*/ 1702 w 10000"/>
                <a:gd name="connsiteY795" fmla="*/ 8476 h 10000"/>
                <a:gd name="connsiteX796" fmla="*/ 1684 w 10000"/>
                <a:gd name="connsiteY796" fmla="*/ 8429 h 10000"/>
                <a:gd name="connsiteX797" fmla="*/ 1674 w 10000"/>
                <a:gd name="connsiteY797" fmla="*/ 8380 h 10000"/>
                <a:gd name="connsiteX798" fmla="*/ 1667 w 10000"/>
                <a:gd name="connsiteY798" fmla="*/ 8329 h 10000"/>
                <a:gd name="connsiteX799" fmla="*/ 1659 w 10000"/>
                <a:gd name="connsiteY799" fmla="*/ 8282 h 10000"/>
                <a:gd name="connsiteX800" fmla="*/ 1657 w 10000"/>
                <a:gd name="connsiteY800" fmla="*/ 8235 h 10000"/>
                <a:gd name="connsiteX801" fmla="*/ 1657 w 10000"/>
                <a:gd name="connsiteY801" fmla="*/ 8195 h 10000"/>
                <a:gd name="connsiteX802" fmla="*/ 1652 w 10000"/>
                <a:gd name="connsiteY802" fmla="*/ 8191 h 10000"/>
                <a:gd name="connsiteX803" fmla="*/ 1586 w 10000"/>
                <a:gd name="connsiteY803" fmla="*/ 8188 h 10000"/>
                <a:gd name="connsiteX804" fmla="*/ 1525 w 10000"/>
                <a:gd name="connsiteY804" fmla="*/ 8186 h 10000"/>
                <a:gd name="connsiteX805" fmla="*/ 1500 w 10000"/>
                <a:gd name="connsiteY805" fmla="*/ 8191 h 10000"/>
                <a:gd name="connsiteX806" fmla="*/ 1472 w 10000"/>
                <a:gd name="connsiteY806" fmla="*/ 8198 h 10000"/>
                <a:gd name="connsiteX807" fmla="*/ 1457 w 10000"/>
                <a:gd name="connsiteY807" fmla="*/ 8205 h 10000"/>
                <a:gd name="connsiteX808" fmla="*/ 1444 w 10000"/>
                <a:gd name="connsiteY808" fmla="*/ 8212 h 10000"/>
                <a:gd name="connsiteX809" fmla="*/ 1434 w 10000"/>
                <a:gd name="connsiteY809" fmla="*/ 8223 h 10000"/>
                <a:gd name="connsiteX810" fmla="*/ 1419 w 10000"/>
                <a:gd name="connsiteY810" fmla="*/ 8233 h 10000"/>
                <a:gd name="connsiteX811" fmla="*/ 1412 w 10000"/>
                <a:gd name="connsiteY811" fmla="*/ 8247 h 10000"/>
                <a:gd name="connsiteX812" fmla="*/ 1402 w 10000"/>
                <a:gd name="connsiteY812" fmla="*/ 8261 h 10000"/>
                <a:gd name="connsiteX813" fmla="*/ 1394 w 10000"/>
                <a:gd name="connsiteY813" fmla="*/ 8275 h 10000"/>
                <a:gd name="connsiteX814" fmla="*/ 1386 w 10000"/>
                <a:gd name="connsiteY814" fmla="*/ 8294 h 10000"/>
                <a:gd name="connsiteX815" fmla="*/ 1374 w 10000"/>
                <a:gd name="connsiteY815" fmla="*/ 8331 h 10000"/>
                <a:gd name="connsiteX816" fmla="*/ 1361 w 10000"/>
                <a:gd name="connsiteY816" fmla="*/ 8368 h 10000"/>
                <a:gd name="connsiteX817" fmla="*/ 1354 w 10000"/>
                <a:gd name="connsiteY817" fmla="*/ 8387 h 10000"/>
                <a:gd name="connsiteX818" fmla="*/ 1346 w 10000"/>
                <a:gd name="connsiteY818" fmla="*/ 8406 h 10000"/>
                <a:gd name="connsiteX819" fmla="*/ 1338 w 10000"/>
                <a:gd name="connsiteY819" fmla="*/ 8420 h 10000"/>
                <a:gd name="connsiteX820" fmla="*/ 1328 w 10000"/>
                <a:gd name="connsiteY820" fmla="*/ 8436 h 10000"/>
                <a:gd name="connsiteX821" fmla="*/ 1316 w 10000"/>
                <a:gd name="connsiteY821" fmla="*/ 8446 h 10000"/>
                <a:gd name="connsiteX822" fmla="*/ 1306 w 10000"/>
                <a:gd name="connsiteY822" fmla="*/ 8453 h 10000"/>
                <a:gd name="connsiteX823" fmla="*/ 1293 w 10000"/>
                <a:gd name="connsiteY823" fmla="*/ 8460 h 10000"/>
                <a:gd name="connsiteX824" fmla="*/ 1275 w 10000"/>
                <a:gd name="connsiteY824" fmla="*/ 8460 h 10000"/>
                <a:gd name="connsiteX825" fmla="*/ 1265 w 10000"/>
                <a:gd name="connsiteY825" fmla="*/ 8450 h 10000"/>
                <a:gd name="connsiteX826" fmla="*/ 1258 w 10000"/>
                <a:gd name="connsiteY826" fmla="*/ 8441 h 10000"/>
                <a:gd name="connsiteX827" fmla="*/ 1245 w 10000"/>
                <a:gd name="connsiteY827" fmla="*/ 8424 h 10000"/>
                <a:gd name="connsiteX828" fmla="*/ 1237 w 10000"/>
                <a:gd name="connsiteY828" fmla="*/ 8408 h 10000"/>
                <a:gd name="connsiteX829" fmla="*/ 1217 w 10000"/>
                <a:gd name="connsiteY829" fmla="*/ 8373 h 10000"/>
                <a:gd name="connsiteX830" fmla="*/ 1202 w 10000"/>
                <a:gd name="connsiteY830" fmla="*/ 8333 h 10000"/>
                <a:gd name="connsiteX831" fmla="*/ 1182 w 10000"/>
                <a:gd name="connsiteY831" fmla="*/ 8296 h 10000"/>
                <a:gd name="connsiteX832" fmla="*/ 1162 w 10000"/>
                <a:gd name="connsiteY832" fmla="*/ 8268 h 10000"/>
                <a:gd name="connsiteX833" fmla="*/ 1149 w 10000"/>
                <a:gd name="connsiteY833" fmla="*/ 8256 h 10000"/>
                <a:gd name="connsiteX834" fmla="*/ 1139 w 10000"/>
                <a:gd name="connsiteY834" fmla="*/ 8249 h 10000"/>
                <a:gd name="connsiteX835" fmla="*/ 1126 w 10000"/>
                <a:gd name="connsiteY835" fmla="*/ 8240 h 10000"/>
                <a:gd name="connsiteX836" fmla="*/ 1114 w 10000"/>
                <a:gd name="connsiteY836" fmla="*/ 8240 h 10000"/>
                <a:gd name="connsiteX837" fmla="*/ 1091 w 10000"/>
                <a:gd name="connsiteY837" fmla="*/ 8242 h 10000"/>
                <a:gd name="connsiteX838" fmla="*/ 1071 w 10000"/>
                <a:gd name="connsiteY838" fmla="*/ 8252 h 10000"/>
                <a:gd name="connsiteX839" fmla="*/ 1048 w 10000"/>
                <a:gd name="connsiteY839" fmla="*/ 8261 h 10000"/>
                <a:gd name="connsiteX840" fmla="*/ 1030 w 10000"/>
                <a:gd name="connsiteY840" fmla="*/ 8273 h 10000"/>
                <a:gd name="connsiteX841" fmla="*/ 1010 w 10000"/>
                <a:gd name="connsiteY841" fmla="*/ 8287 h 10000"/>
                <a:gd name="connsiteX842" fmla="*/ 995 w 10000"/>
                <a:gd name="connsiteY842" fmla="*/ 8303 h 10000"/>
                <a:gd name="connsiteX843" fmla="*/ 975 w 10000"/>
                <a:gd name="connsiteY843" fmla="*/ 8322 h 10000"/>
                <a:gd name="connsiteX844" fmla="*/ 960 w 10000"/>
                <a:gd name="connsiteY844" fmla="*/ 8343 h 10000"/>
                <a:gd name="connsiteX845" fmla="*/ 927 w 10000"/>
                <a:gd name="connsiteY845" fmla="*/ 8380 h 10000"/>
                <a:gd name="connsiteX846" fmla="*/ 891 w 10000"/>
                <a:gd name="connsiteY846" fmla="*/ 8417 h 10000"/>
                <a:gd name="connsiteX847" fmla="*/ 874 w 10000"/>
                <a:gd name="connsiteY847" fmla="*/ 8436 h 10000"/>
                <a:gd name="connsiteX848" fmla="*/ 859 w 10000"/>
                <a:gd name="connsiteY848" fmla="*/ 8450 h 10000"/>
                <a:gd name="connsiteX849" fmla="*/ 838 w 10000"/>
                <a:gd name="connsiteY849" fmla="*/ 8462 h 10000"/>
                <a:gd name="connsiteX850" fmla="*/ 821 w 10000"/>
                <a:gd name="connsiteY850" fmla="*/ 8476 h 10000"/>
                <a:gd name="connsiteX851" fmla="*/ 742 w 10000"/>
                <a:gd name="connsiteY851" fmla="*/ 8562 h 10000"/>
                <a:gd name="connsiteX852" fmla="*/ 672 w 10000"/>
                <a:gd name="connsiteY852" fmla="*/ 8644 h 10000"/>
                <a:gd name="connsiteX853" fmla="*/ 639 w 10000"/>
                <a:gd name="connsiteY853" fmla="*/ 8684 h 10000"/>
                <a:gd name="connsiteX854" fmla="*/ 609 w 10000"/>
                <a:gd name="connsiteY854" fmla="*/ 8731 h 10000"/>
                <a:gd name="connsiteX855" fmla="*/ 583 w 10000"/>
                <a:gd name="connsiteY855" fmla="*/ 8777 h 10000"/>
                <a:gd name="connsiteX856" fmla="*/ 556 w 10000"/>
                <a:gd name="connsiteY856" fmla="*/ 8831 h 10000"/>
                <a:gd name="connsiteX857" fmla="*/ 545 w 10000"/>
                <a:gd name="connsiteY857" fmla="*/ 8852 h 10000"/>
                <a:gd name="connsiteX858" fmla="*/ 525 w 10000"/>
                <a:gd name="connsiteY858" fmla="*/ 8885 h 10000"/>
                <a:gd name="connsiteX859" fmla="*/ 503 w 10000"/>
                <a:gd name="connsiteY859" fmla="*/ 8925 h 10000"/>
                <a:gd name="connsiteX860" fmla="*/ 480 w 10000"/>
                <a:gd name="connsiteY860" fmla="*/ 8962 h 10000"/>
                <a:gd name="connsiteX861" fmla="*/ 465 w 10000"/>
                <a:gd name="connsiteY861" fmla="*/ 8981 h 10000"/>
                <a:gd name="connsiteX862" fmla="*/ 455 w 10000"/>
                <a:gd name="connsiteY862" fmla="*/ 8993 h 10000"/>
                <a:gd name="connsiteX863" fmla="*/ 444 w 10000"/>
                <a:gd name="connsiteY863" fmla="*/ 9000 h 10000"/>
                <a:gd name="connsiteX864" fmla="*/ 434 w 10000"/>
                <a:gd name="connsiteY864" fmla="*/ 9007 h 10000"/>
                <a:gd name="connsiteX865" fmla="*/ 432 w 10000"/>
                <a:gd name="connsiteY865" fmla="*/ 9007 h 10000"/>
                <a:gd name="connsiteX866" fmla="*/ 429 w 10000"/>
                <a:gd name="connsiteY866" fmla="*/ 9004 h 10000"/>
                <a:gd name="connsiteX867" fmla="*/ 427 w 10000"/>
                <a:gd name="connsiteY867" fmla="*/ 8997 h 10000"/>
                <a:gd name="connsiteX868" fmla="*/ 427 w 10000"/>
                <a:gd name="connsiteY868" fmla="*/ 8993 h 10000"/>
                <a:gd name="connsiteX869" fmla="*/ 424 w 10000"/>
                <a:gd name="connsiteY869" fmla="*/ 8976 h 10000"/>
                <a:gd name="connsiteX870" fmla="*/ 427 w 10000"/>
                <a:gd name="connsiteY870" fmla="*/ 8948 h 10000"/>
                <a:gd name="connsiteX871" fmla="*/ 437 w 10000"/>
                <a:gd name="connsiteY871" fmla="*/ 8913 h 10000"/>
                <a:gd name="connsiteX872" fmla="*/ 455 w 10000"/>
                <a:gd name="connsiteY872" fmla="*/ 8859 h 10000"/>
                <a:gd name="connsiteX873" fmla="*/ 462 w 10000"/>
                <a:gd name="connsiteY873" fmla="*/ 8834 h 10000"/>
                <a:gd name="connsiteX874" fmla="*/ 470 w 10000"/>
                <a:gd name="connsiteY874" fmla="*/ 8810 h 10000"/>
                <a:gd name="connsiteX875" fmla="*/ 472 w 10000"/>
                <a:gd name="connsiteY875" fmla="*/ 8794 h 10000"/>
                <a:gd name="connsiteX876" fmla="*/ 472 w 10000"/>
                <a:gd name="connsiteY876" fmla="*/ 8780 h 10000"/>
                <a:gd name="connsiteX877" fmla="*/ 462 w 10000"/>
                <a:gd name="connsiteY877" fmla="*/ 8784 h 10000"/>
                <a:gd name="connsiteX878" fmla="*/ 452 w 10000"/>
                <a:gd name="connsiteY878" fmla="*/ 8787 h 10000"/>
                <a:gd name="connsiteX879" fmla="*/ 437 w 10000"/>
                <a:gd name="connsiteY879" fmla="*/ 8794 h 10000"/>
                <a:gd name="connsiteX880" fmla="*/ 424 w 10000"/>
                <a:gd name="connsiteY880" fmla="*/ 8803 h 10000"/>
                <a:gd name="connsiteX881" fmla="*/ 394 w 10000"/>
                <a:gd name="connsiteY881" fmla="*/ 8829 h 10000"/>
                <a:gd name="connsiteX882" fmla="*/ 364 w 10000"/>
                <a:gd name="connsiteY882" fmla="*/ 8859 h 10000"/>
                <a:gd name="connsiteX883" fmla="*/ 311 w 10000"/>
                <a:gd name="connsiteY883" fmla="*/ 8922 h 10000"/>
                <a:gd name="connsiteX884" fmla="*/ 268 w 10000"/>
                <a:gd name="connsiteY884" fmla="*/ 8964 h 10000"/>
                <a:gd name="connsiteX885" fmla="*/ 205 w 10000"/>
                <a:gd name="connsiteY885" fmla="*/ 9016 h 10000"/>
                <a:gd name="connsiteX886" fmla="*/ 146 w 10000"/>
                <a:gd name="connsiteY886" fmla="*/ 9053 h 10000"/>
                <a:gd name="connsiteX887" fmla="*/ 139 w 10000"/>
                <a:gd name="connsiteY887" fmla="*/ 9063 h 10000"/>
                <a:gd name="connsiteX888" fmla="*/ 129 w 10000"/>
                <a:gd name="connsiteY888" fmla="*/ 9077 h 10000"/>
                <a:gd name="connsiteX889" fmla="*/ 126 w 10000"/>
                <a:gd name="connsiteY889" fmla="*/ 9086 h 10000"/>
                <a:gd name="connsiteX890" fmla="*/ 126 w 10000"/>
                <a:gd name="connsiteY890" fmla="*/ 9102 h 10000"/>
                <a:gd name="connsiteX891" fmla="*/ 129 w 10000"/>
                <a:gd name="connsiteY891" fmla="*/ 9116 h 10000"/>
                <a:gd name="connsiteX892" fmla="*/ 139 w 10000"/>
                <a:gd name="connsiteY892" fmla="*/ 9135 h 10000"/>
                <a:gd name="connsiteX893" fmla="*/ 149 w 10000"/>
                <a:gd name="connsiteY893" fmla="*/ 9151 h 10000"/>
                <a:gd name="connsiteX894" fmla="*/ 164 w 10000"/>
                <a:gd name="connsiteY894" fmla="*/ 9175 h 10000"/>
                <a:gd name="connsiteX895" fmla="*/ 184 w 10000"/>
                <a:gd name="connsiteY895" fmla="*/ 9196 h 10000"/>
                <a:gd name="connsiteX896" fmla="*/ 207 w 10000"/>
                <a:gd name="connsiteY896" fmla="*/ 9215 h 10000"/>
                <a:gd name="connsiteX897" fmla="*/ 227 w 10000"/>
                <a:gd name="connsiteY897" fmla="*/ 9233 h 10000"/>
                <a:gd name="connsiteX898" fmla="*/ 253 w 10000"/>
                <a:gd name="connsiteY898" fmla="*/ 9250 h 10000"/>
                <a:gd name="connsiteX899" fmla="*/ 303 w 10000"/>
                <a:gd name="connsiteY899" fmla="*/ 9282 h 10000"/>
                <a:gd name="connsiteX900" fmla="*/ 351 w 10000"/>
                <a:gd name="connsiteY900" fmla="*/ 9315 h 10000"/>
                <a:gd name="connsiteX901" fmla="*/ 414 w 10000"/>
                <a:gd name="connsiteY901" fmla="*/ 9364 h 10000"/>
                <a:gd name="connsiteX902" fmla="*/ 480 w 10000"/>
                <a:gd name="connsiteY902" fmla="*/ 9416 h 10000"/>
                <a:gd name="connsiteX903" fmla="*/ 513 w 10000"/>
                <a:gd name="connsiteY903" fmla="*/ 9437 h 10000"/>
                <a:gd name="connsiteX904" fmla="*/ 548 w 10000"/>
                <a:gd name="connsiteY904" fmla="*/ 9462 h 10000"/>
                <a:gd name="connsiteX905" fmla="*/ 581 w 10000"/>
                <a:gd name="connsiteY905" fmla="*/ 9483 h 10000"/>
                <a:gd name="connsiteX906" fmla="*/ 614 w 10000"/>
                <a:gd name="connsiteY906" fmla="*/ 9502 h 10000"/>
                <a:gd name="connsiteX907" fmla="*/ 641 w 10000"/>
                <a:gd name="connsiteY907" fmla="*/ 9525 h 10000"/>
                <a:gd name="connsiteX908" fmla="*/ 672 w 10000"/>
                <a:gd name="connsiteY908" fmla="*/ 9549 h 10000"/>
                <a:gd name="connsiteX909" fmla="*/ 702 w 10000"/>
                <a:gd name="connsiteY909" fmla="*/ 9568 h 10000"/>
                <a:gd name="connsiteX910" fmla="*/ 737 w 10000"/>
                <a:gd name="connsiteY910" fmla="*/ 9589 h 10000"/>
                <a:gd name="connsiteX911" fmla="*/ 770 w 10000"/>
                <a:gd name="connsiteY911" fmla="*/ 9605 h 10000"/>
                <a:gd name="connsiteX912" fmla="*/ 808 w 10000"/>
                <a:gd name="connsiteY912" fmla="*/ 9617 h 10000"/>
                <a:gd name="connsiteX913" fmla="*/ 843 w 10000"/>
                <a:gd name="connsiteY913" fmla="*/ 9624 h 10000"/>
                <a:gd name="connsiteX914" fmla="*/ 884 w 10000"/>
                <a:gd name="connsiteY914" fmla="*/ 9628 h 10000"/>
                <a:gd name="connsiteX915" fmla="*/ 902 w 10000"/>
                <a:gd name="connsiteY915" fmla="*/ 9628 h 10000"/>
                <a:gd name="connsiteX916" fmla="*/ 914 w 10000"/>
                <a:gd name="connsiteY916" fmla="*/ 9631 h 10000"/>
                <a:gd name="connsiteX917" fmla="*/ 932 w 10000"/>
                <a:gd name="connsiteY917" fmla="*/ 9638 h 10000"/>
                <a:gd name="connsiteX918" fmla="*/ 942 w 10000"/>
                <a:gd name="connsiteY918" fmla="*/ 9642 h 10000"/>
                <a:gd name="connsiteX919" fmla="*/ 967 w 10000"/>
                <a:gd name="connsiteY919" fmla="*/ 9652 h 10000"/>
                <a:gd name="connsiteX920" fmla="*/ 987 w 10000"/>
                <a:gd name="connsiteY920" fmla="*/ 9668 h 10000"/>
                <a:gd name="connsiteX921" fmla="*/ 1005 w 10000"/>
                <a:gd name="connsiteY921" fmla="*/ 9682 h 10000"/>
                <a:gd name="connsiteX922" fmla="*/ 1025 w 10000"/>
                <a:gd name="connsiteY922" fmla="*/ 9698 h 10000"/>
                <a:gd name="connsiteX923" fmla="*/ 1045 w 10000"/>
                <a:gd name="connsiteY923" fmla="*/ 9712 h 10000"/>
                <a:gd name="connsiteX924" fmla="*/ 1073 w 10000"/>
                <a:gd name="connsiteY924" fmla="*/ 9724 h 10000"/>
                <a:gd name="connsiteX925" fmla="*/ 1098 w 10000"/>
                <a:gd name="connsiteY925" fmla="*/ 9738 h 10000"/>
                <a:gd name="connsiteX926" fmla="*/ 1121 w 10000"/>
                <a:gd name="connsiteY926" fmla="*/ 9750 h 10000"/>
                <a:gd name="connsiteX927" fmla="*/ 1141 w 10000"/>
                <a:gd name="connsiteY927" fmla="*/ 9762 h 10000"/>
                <a:gd name="connsiteX928" fmla="*/ 1159 w 10000"/>
                <a:gd name="connsiteY928" fmla="*/ 9776 h 10000"/>
                <a:gd name="connsiteX929" fmla="*/ 1172 w 10000"/>
                <a:gd name="connsiteY929" fmla="*/ 9787 h 10000"/>
                <a:gd name="connsiteX930" fmla="*/ 1182 w 10000"/>
                <a:gd name="connsiteY930" fmla="*/ 9804 h 10000"/>
                <a:gd name="connsiteX931" fmla="*/ 1194 w 10000"/>
                <a:gd name="connsiteY931" fmla="*/ 9818 h 10000"/>
                <a:gd name="connsiteX932" fmla="*/ 1202 w 10000"/>
                <a:gd name="connsiteY932" fmla="*/ 9834 h 10000"/>
                <a:gd name="connsiteX933" fmla="*/ 1212 w 10000"/>
                <a:gd name="connsiteY933" fmla="*/ 9869 h 10000"/>
                <a:gd name="connsiteX934" fmla="*/ 1220 w 10000"/>
                <a:gd name="connsiteY934" fmla="*/ 9906 h 10000"/>
                <a:gd name="connsiteX935" fmla="*/ 1230 w 10000"/>
                <a:gd name="connsiteY935" fmla="*/ 9951 h 10000"/>
                <a:gd name="connsiteX936" fmla="*/ 1237 w 10000"/>
                <a:gd name="connsiteY936" fmla="*/ 10000 h 10000"/>
                <a:gd name="connsiteX937" fmla="*/ 1237 w 10000"/>
                <a:gd name="connsiteY93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56 w 10000"/>
                <a:gd name="connsiteY750" fmla="*/ 7693 h 10000"/>
                <a:gd name="connsiteX751" fmla="*/ 2518 w 10000"/>
                <a:gd name="connsiteY751" fmla="*/ 7693 h 10000"/>
                <a:gd name="connsiteX752" fmla="*/ 2419 w 10000"/>
                <a:gd name="connsiteY752" fmla="*/ 7686 h 10000"/>
                <a:gd name="connsiteX753" fmla="*/ 2361 w 10000"/>
                <a:gd name="connsiteY753" fmla="*/ 7669 h 10000"/>
                <a:gd name="connsiteX754" fmla="*/ 2295 w 10000"/>
                <a:gd name="connsiteY754" fmla="*/ 7651 h 10000"/>
                <a:gd name="connsiteX755" fmla="*/ 2283 w 10000"/>
                <a:gd name="connsiteY755" fmla="*/ 7644 h 10000"/>
                <a:gd name="connsiteX756" fmla="*/ 2265 w 10000"/>
                <a:gd name="connsiteY756" fmla="*/ 7641 h 10000"/>
                <a:gd name="connsiteX757" fmla="*/ 2253 w 10000"/>
                <a:gd name="connsiteY757" fmla="*/ 7641 h 10000"/>
                <a:gd name="connsiteX758" fmla="*/ 2235 w 10000"/>
                <a:gd name="connsiteY758" fmla="*/ 7641 h 10000"/>
                <a:gd name="connsiteX759" fmla="*/ 2222 w 10000"/>
                <a:gd name="connsiteY759" fmla="*/ 7648 h 10000"/>
                <a:gd name="connsiteX760" fmla="*/ 2212 w 10000"/>
                <a:gd name="connsiteY760" fmla="*/ 7653 h 10000"/>
                <a:gd name="connsiteX761" fmla="*/ 2199 w 10000"/>
                <a:gd name="connsiteY761" fmla="*/ 7660 h 10000"/>
                <a:gd name="connsiteX762" fmla="*/ 2189 w 10000"/>
                <a:gd name="connsiteY762" fmla="*/ 7669 h 10000"/>
                <a:gd name="connsiteX763" fmla="*/ 2182 w 10000"/>
                <a:gd name="connsiteY763" fmla="*/ 7688 h 10000"/>
                <a:gd name="connsiteX764" fmla="*/ 2172 w 10000"/>
                <a:gd name="connsiteY764" fmla="*/ 7714 h 10000"/>
                <a:gd name="connsiteX765" fmla="*/ 2167 w 10000"/>
                <a:gd name="connsiteY765" fmla="*/ 7742 h 10000"/>
                <a:gd name="connsiteX766" fmla="*/ 2162 w 10000"/>
                <a:gd name="connsiteY766" fmla="*/ 7775 h 10000"/>
                <a:gd name="connsiteX767" fmla="*/ 2159 w 10000"/>
                <a:gd name="connsiteY767" fmla="*/ 7833 h 10000"/>
                <a:gd name="connsiteX768" fmla="*/ 2157 w 10000"/>
                <a:gd name="connsiteY768" fmla="*/ 7882 h 10000"/>
                <a:gd name="connsiteX769" fmla="*/ 2157 w 10000"/>
                <a:gd name="connsiteY769" fmla="*/ 7938 h 10000"/>
                <a:gd name="connsiteX770" fmla="*/ 2159 w 10000"/>
                <a:gd name="connsiteY770" fmla="*/ 8006 h 10000"/>
                <a:gd name="connsiteX771" fmla="*/ 2162 w 10000"/>
                <a:gd name="connsiteY771" fmla="*/ 8079 h 10000"/>
                <a:gd name="connsiteX772" fmla="*/ 2159 w 10000"/>
                <a:gd name="connsiteY772" fmla="*/ 8156 h 10000"/>
                <a:gd name="connsiteX773" fmla="*/ 2157 w 10000"/>
                <a:gd name="connsiteY773" fmla="*/ 8193 h 10000"/>
                <a:gd name="connsiteX774" fmla="*/ 2154 w 10000"/>
                <a:gd name="connsiteY774" fmla="*/ 8228 h 10000"/>
                <a:gd name="connsiteX775" fmla="*/ 2146 w 10000"/>
                <a:gd name="connsiteY775" fmla="*/ 8261 h 10000"/>
                <a:gd name="connsiteX776" fmla="*/ 2136 w 10000"/>
                <a:gd name="connsiteY776" fmla="*/ 8291 h 10000"/>
                <a:gd name="connsiteX777" fmla="*/ 2124 w 10000"/>
                <a:gd name="connsiteY777" fmla="*/ 8319 h 10000"/>
                <a:gd name="connsiteX778" fmla="*/ 2109 w 10000"/>
                <a:gd name="connsiteY778" fmla="*/ 8345 h 10000"/>
                <a:gd name="connsiteX779" fmla="*/ 2098 w 10000"/>
                <a:gd name="connsiteY779" fmla="*/ 8354 h 10000"/>
                <a:gd name="connsiteX780" fmla="*/ 2088 w 10000"/>
                <a:gd name="connsiteY780" fmla="*/ 8364 h 10000"/>
                <a:gd name="connsiteX781" fmla="*/ 2078 w 10000"/>
                <a:gd name="connsiteY781" fmla="*/ 8373 h 10000"/>
                <a:gd name="connsiteX782" fmla="*/ 2063 w 10000"/>
                <a:gd name="connsiteY782" fmla="*/ 8380 h 10000"/>
                <a:gd name="connsiteX783" fmla="*/ 1990 w 10000"/>
                <a:gd name="connsiteY783" fmla="*/ 8422 h 10000"/>
                <a:gd name="connsiteX784" fmla="*/ 1904 w 10000"/>
                <a:gd name="connsiteY784" fmla="*/ 8481 h 10000"/>
                <a:gd name="connsiteX785" fmla="*/ 1856 w 10000"/>
                <a:gd name="connsiteY785" fmla="*/ 8506 h 10000"/>
                <a:gd name="connsiteX786" fmla="*/ 1816 w 10000"/>
                <a:gd name="connsiteY786" fmla="*/ 8527 h 10000"/>
                <a:gd name="connsiteX787" fmla="*/ 1793 w 10000"/>
                <a:gd name="connsiteY787" fmla="*/ 8539 h 10000"/>
                <a:gd name="connsiteX788" fmla="*/ 1775 w 10000"/>
                <a:gd name="connsiteY788" fmla="*/ 8546 h 10000"/>
                <a:gd name="connsiteX789" fmla="*/ 1758 w 10000"/>
                <a:gd name="connsiteY789" fmla="*/ 8548 h 10000"/>
                <a:gd name="connsiteX790" fmla="*/ 1742 w 10000"/>
                <a:gd name="connsiteY790" fmla="*/ 8551 h 10000"/>
                <a:gd name="connsiteX791" fmla="*/ 1727 w 10000"/>
                <a:gd name="connsiteY791" fmla="*/ 8537 h 10000"/>
                <a:gd name="connsiteX792" fmla="*/ 1717 w 10000"/>
                <a:gd name="connsiteY792" fmla="*/ 8518 h 10000"/>
                <a:gd name="connsiteX793" fmla="*/ 1710 w 10000"/>
                <a:gd name="connsiteY793" fmla="*/ 8499 h 10000"/>
                <a:gd name="connsiteX794" fmla="*/ 1702 w 10000"/>
                <a:gd name="connsiteY794" fmla="*/ 8476 h 10000"/>
                <a:gd name="connsiteX795" fmla="*/ 1684 w 10000"/>
                <a:gd name="connsiteY795" fmla="*/ 8429 h 10000"/>
                <a:gd name="connsiteX796" fmla="*/ 1674 w 10000"/>
                <a:gd name="connsiteY796" fmla="*/ 8380 h 10000"/>
                <a:gd name="connsiteX797" fmla="*/ 1667 w 10000"/>
                <a:gd name="connsiteY797" fmla="*/ 8329 h 10000"/>
                <a:gd name="connsiteX798" fmla="*/ 1659 w 10000"/>
                <a:gd name="connsiteY798" fmla="*/ 8282 h 10000"/>
                <a:gd name="connsiteX799" fmla="*/ 1657 w 10000"/>
                <a:gd name="connsiteY799" fmla="*/ 8235 h 10000"/>
                <a:gd name="connsiteX800" fmla="*/ 1657 w 10000"/>
                <a:gd name="connsiteY800" fmla="*/ 8195 h 10000"/>
                <a:gd name="connsiteX801" fmla="*/ 1652 w 10000"/>
                <a:gd name="connsiteY801" fmla="*/ 8191 h 10000"/>
                <a:gd name="connsiteX802" fmla="*/ 1586 w 10000"/>
                <a:gd name="connsiteY802" fmla="*/ 8188 h 10000"/>
                <a:gd name="connsiteX803" fmla="*/ 1525 w 10000"/>
                <a:gd name="connsiteY803" fmla="*/ 8186 h 10000"/>
                <a:gd name="connsiteX804" fmla="*/ 1500 w 10000"/>
                <a:gd name="connsiteY804" fmla="*/ 8191 h 10000"/>
                <a:gd name="connsiteX805" fmla="*/ 1472 w 10000"/>
                <a:gd name="connsiteY805" fmla="*/ 8198 h 10000"/>
                <a:gd name="connsiteX806" fmla="*/ 1457 w 10000"/>
                <a:gd name="connsiteY806" fmla="*/ 8205 h 10000"/>
                <a:gd name="connsiteX807" fmla="*/ 1444 w 10000"/>
                <a:gd name="connsiteY807" fmla="*/ 8212 h 10000"/>
                <a:gd name="connsiteX808" fmla="*/ 1434 w 10000"/>
                <a:gd name="connsiteY808" fmla="*/ 8223 h 10000"/>
                <a:gd name="connsiteX809" fmla="*/ 1419 w 10000"/>
                <a:gd name="connsiteY809" fmla="*/ 8233 h 10000"/>
                <a:gd name="connsiteX810" fmla="*/ 1412 w 10000"/>
                <a:gd name="connsiteY810" fmla="*/ 8247 h 10000"/>
                <a:gd name="connsiteX811" fmla="*/ 1402 w 10000"/>
                <a:gd name="connsiteY811" fmla="*/ 8261 h 10000"/>
                <a:gd name="connsiteX812" fmla="*/ 1394 w 10000"/>
                <a:gd name="connsiteY812" fmla="*/ 8275 h 10000"/>
                <a:gd name="connsiteX813" fmla="*/ 1386 w 10000"/>
                <a:gd name="connsiteY813" fmla="*/ 8294 h 10000"/>
                <a:gd name="connsiteX814" fmla="*/ 1374 w 10000"/>
                <a:gd name="connsiteY814" fmla="*/ 8331 h 10000"/>
                <a:gd name="connsiteX815" fmla="*/ 1361 w 10000"/>
                <a:gd name="connsiteY815" fmla="*/ 8368 h 10000"/>
                <a:gd name="connsiteX816" fmla="*/ 1354 w 10000"/>
                <a:gd name="connsiteY816" fmla="*/ 8387 h 10000"/>
                <a:gd name="connsiteX817" fmla="*/ 1346 w 10000"/>
                <a:gd name="connsiteY817" fmla="*/ 8406 h 10000"/>
                <a:gd name="connsiteX818" fmla="*/ 1338 w 10000"/>
                <a:gd name="connsiteY818" fmla="*/ 8420 h 10000"/>
                <a:gd name="connsiteX819" fmla="*/ 1328 w 10000"/>
                <a:gd name="connsiteY819" fmla="*/ 8436 h 10000"/>
                <a:gd name="connsiteX820" fmla="*/ 1316 w 10000"/>
                <a:gd name="connsiteY820" fmla="*/ 8446 h 10000"/>
                <a:gd name="connsiteX821" fmla="*/ 1306 w 10000"/>
                <a:gd name="connsiteY821" fmla="*/ 8453 h 10000"/>
                <a:gd name="connsiteX822" fmla="*/ 1293 w 10000"/>
                <a:gd name="connsiteY822" fmla="*/ 8460 h 10000"/>
                <a:gd name="connsiteX823" fmla="*/ 1275 w 10000"/>
                <a:gd name="connsiteY823" fmla="*/ 8460 h 10000"/>
                <a:gd name="connsiteX824" fmla="*/ 1265 w 10000"/>
                <a:gd name="connsiteY824" fmla="*/ 8450 h 10000"/>
                <a:gd name="connsiteX825" fmla="*/ 1258 w 10000"/>
                <a:gd name="connsiteY825" fmla="*/ 8441 h 10000"/>
                <a:gd name="connsiteX826" fmla="*/ 1245 w 10000"/>
                <a:gd name="connsiteY826" fmla="*/ 8424 h 10000"/>
                <a:gd name="connsiteX827" fmla="*/ 1237 w 10000"/>
                <a:gd name="connsiteY827" fmla="*/ 8408 h 10000"/>
                <a:gd name="connsiteX828" fmla="*/ 1217 w 10000"/>
                <a:gd name="connsiteY828" fmla="*/ 8373 h 10000"/>
                <a:gd name="connsiteX829" fmla="*/ 1202 w 10000"/>
                <a:gd name="connsiteY829" fmla="*/ 8333 h 10000"/>
                <a:gd name="connsiteX830" fmla="*/ 1182 w 10000"/>
                <a:gd name="connsiteY830" fmla="*/ 8296 h 10000"/>
                <a:gd name="connsiteX831" fmla="*/ 1162 w 10000"/>
                <a:gd name="connsiteY831" fmla="*/ 8268 h 10000"/>
                <a:gd name="connsiteX832" fmla="*/ 1149 w 10000"/>
                <a:gd name="connsiteY832" fmla="*/ 8256 h 10000"/>
                <a:gd name="connsiteX833" fmla="*/ 1139 w 10000"/>
                <a:gd name="connsiteY833" fmla="*/ 8249 h 10000"/>
                <a:gd name="connsiteX834" fmla="*/ 1126 w 10000"/>
                <a:gd name="connsiteY834" fmla="*/ 8240 h 10000"/>
                <a:gd name="connsiteX835" fmla="*/ 1114 w 10000"/>
                <a:gd name="connsiteY835" fmla="*/ 8240 h 10000"/>
                <a:gd name="connsiteX836" fmla="*/ 1091 w 10000"/>
                <a:gd name="connsiteY836" fmla="*/ 8242 h 10000"/>
                <a:gd name="connsiteX837" fmla="*/ 1071 w 10000"/>
                <a:gd name="connsiteY837" fmla="*/ 8252 h 10000"/>
                <a:gd name="connsiteX838" fmla="*/ 1048 w 10000"/>
                <a:gd name="connsiteY838" fmla="*/ 8261 h 10000"/>
                <a:gd name="connsiteX839" fmla="*/ 1030 w 10000"/>
                <a:gd name="connsiteY839" fmla="*/ 8273 h 10000"/>
                <a:gd name="connsiteX840" fmla="*/ 1010 w 10000"/>
                <a:gd name="connsiteY840" fmla="*/ 8287 h 10000"/>
                <a:gd name="connsiteX841" fmla="*/ 995 w 10000"/>
                <a:gd name="connsiteY841" fmla="*/ 8303 h 10000"/>
                <a:gd name="connsiteX842" fmla="*/ 975 w 10000"/>
                <a:gd name="connsiteY842" fmla="*/ 8322 h 10000"/>
                <a:gd name="connsiteX843" fmla="*/ 960 w 10000"/>
                <a:gd name="connsiteY843" fmla="*/ 8343 h 10000"/>
                <a:gd name="connsiteX844" fmla="*/ 927 w 10000"/>
                <a:gd name="connsiteY844" fmla="*/ 8380 h 10000"/>
                <a:gd name="connsiteX845" fmla="*/ 891 w 10000"/>
                <a:gd name="connsiteY845" fmla="*/ 8417 h 10000"/>
                <a:gd name="connsiteX846" fmla="*/ 874 w 10000"/>
                <a:gd name="connsiteY846" fmla="*/ 8436 h 10000"/>
                <a:gd name="connsiteX847" fmla="*/ 859 w 10000"/>
                <a:gd name="connsiteY847" fmla="*/ 8450 h 10000"/>
                <a:gd name="connsiteX848" fmla="*/ 838 w 10000"/>
                <a:gd name="connsiteY848" fmla="*/ 8462 h 10000"/>
                <a:gd name="connsiteX849" fmla="*/ 821 w 10000"/>
                <a:gd name="connsiteY849" fmla="*/ 8476 h 10000"/>
                <a:gd name="connsiteX850" fmla="*/ 742 w 10000"/>
                <a:gd name="connsiteY850" fmla="*/ 8562 h 10000"/>
                <a:gd name="connsiteX851" fmla="*/ 672 w 10000"/>
                <a:gd name="connsiteY851" fmla="*/ 8644 h 10000"/>
                <a:gd name="connsiteX852" fmla="*/ 639 w 10000"/>
                <a:gd name="connsiteY852" fmla="*/ 8684 h 10000"/>
                <a:gd name="connsiteX853" fmla="*/ 609 w 10000"/>
                <a:gd name="connsiteY853" fmla="*/ 8731 h 10000"/>
                <a:gd name="connsiteX854" fmla="*/ 583 w 10000"/>
                <a:gd name="connsiteY854" fmla="*/ 8777 h 10000"/>
                <a:gd name="connsiteX855" fmla="*/ 556 w 10000"/>
                <a:gd name="connsiteY855" fmla="*/ 8831 h 10000"/>
                <a:gd name="connsiteX856" fmla="*/ 545 w 10000"/>
                <a:gd name="connsiteY856" fmla="*/ 8852 h 10000"/>
                <a:gd name="connsiteX857" fmla="*/ 525 w 10000"/>
                <a:gd name="connsiteY857" fmla="*/ 8885 h 10000"/>
                <a:gd name="connsiteX858" fmla="*/ 503 w 10000"/>
                <a:gd name="connsiteY858" fmla="*/ 8925 h 10000"/>
                <a:gd name="connsiteX859" fmla="*/ 480 w 10000"/>
                <a:gd name="connsiteY859" fmla="*/ 8962 h 10000"/>
                <a:gd name="connsiteX860" fmla="*/ 465 w 10000"/>
                <a:gd name="connsiteY860" fmla="*/ 8981 h 10000"/>
                <a:gd name="connsiteX861" fmla="*/ 455 w 10000"/>
                <a:gd name="connsiteY861" fmla="*/ 8993 h 10000"/>
                <a:gd name="connsiteX862" fmla="*/ 444 w 10000"/>
                <a:gd name="connsiteY862" fmla="*/ 9000 h 10000"/>
                <a:gd name="connsiteX863" fmla="*/ 434 w 10000"/>
                <a:gd name="connsiteY863" fmla="*/ 9007 h 10000"/>
                <a:gd name="connsiteX864" fmla="*/ 432 w 10000"/>
                <a:gd name="connsiteY864" fmla="*/ 9007 h 10000"/>
                <a:gd name="connsiteX865" fmla="*/ 429 w 10000"/>
                <a:gd name="connsiteY865" fmla="*/ 9004 h 10000"/>
                <a:gd name="connsiteX866" fmla="*/ 427 w 10000"/>
                <a:gd name="connsiteY866" fmla="*/ 8997 h 10000"/>
                <a:gd name="connsiteX867" fmla="*/ 427 w 10000"/>
                <a:gd name="connsiteY867" fmla="*/ 8993 h 10000"/>
                <a:gd name="connsiteX868" fmla="*/ 424 w 10000"/>
                <a:gd name="connsiteY868" fmla="*/ 8976 h 10000"/>
                <a:gd name="connsiteX869" fmla="*/ 427 w 10000"/>
                <a:gd name="connsiteY869" fmla="*/ 8948 h 10000"/>
                <a:gd name="connsiteX870" fmla="*/ 437 w 10000"/>
                <a:gd name="connsiteY870" fmla="*/ 8913 h 10000"/>
                <a:gd name="connsiteX871" fmla="*/ 455 w 10000"/>
                <a:gd name="connsiteY871" fmla="*/ 8859 h 10000"/>
                <a:gd name="connsiteX872" fmla="*/ 462 w 10000"/>
                <a:gd name="connsiteY872" fmla="*/ 8834 h 10000"/>
                <a:gd name="connsiteX873" fmla="*/ 470 w 10000"/>
                <a:gd name="connsiteY873" fmla="*/ 8810 h 10000"/>
                <a:gd name="connsiteX874" fmla="*/ 472 w 10000"/>
                <a:gd name="connsiteY874" fmla="*/ 8794 h 10000"/>
                <a:gd name="connsiteX875" fmla="*/ 472 w 10000"/>
                <a:gd name="connsiteY875" fmla="*/ 8780 h 10000"/>
                <a:gd name="connsiteX876" fmla="*/ 462 w 10000"/>
                <a:gd name="connsiteY876" fmla="*/ 8784 h 10000"/>
                <a:gd name="connsiteX877" fmla="*/ 452 w 10000"/>
                <a:gd name="connsiteY877" fmla="*/ 8787 h 10000"/>
                <a:gd name="connsiteX878" fmla="*/ 437 w 10000"/>
                <a:gd name="connsiteY878" fmla="*/ 8794 h 10000"/>
                <a:gd name="connsiteX879" fmla="*/ 424 w 10000"/>
                <a:gd name="connsiteY879" fmla="*/ 8803 h 10000"/>
                <a:gd name="connsiteX880" fmla="*/ 394 w 10000"/>
                <a:gd name="connsiteY880" fmla="*/ 8829 h 10000"/>
                <a:gd name="connsiteX881" fmla="*/ 364 w 10000"/>
                <a:gd name="connsiteY881" fmla="*/ 8859 h 10000"/>
                <a:gd name="connsiteX882" fmla="*/ 311 w 10000"/>
                <a:gd name="connsiteY882" fmla="*/ 8922 h 10000"/>
                <a:gd name="connsiteX883" fmla="*/ 268 w 10000"/>
                <a:gd name="connsiteY883" fmla="*/ 8964 h 10000"/>
                <a:gd name="connsiteX884" fmla="*/ 205 w 10000"/>
                <a:gd name="connsiteY884" fmla="*/ 9016 h 10000"/>
                <a:gd name="connsiteX885" fmla="*/ 146 w 10000"/>
                <a:gd name="connsiteY885" fmla="*/ 9053 h 10000"/>
                <a:gd name="connsiteX886" fmla="*/ 139 w 10000"/>
                <a:gd name="connsiteY886" fmla="*/ 9063 h 10000"/>
                <a:gd name="connsiteX887" fmla="*/ 129 w 10000"/>
                <a:gd name="connsiteY887" fmla="*/ 9077 h 10000"/>
                <a:gd name="connsiteX888" fmla="*/ 126 w 10000"/>
                <a:gd name="connsiteY888" fmla="*/ 9086 h 10000"/>
                <a:gd name="connsiteX889" fmla="*/ 126 w 10000"/>
                <a:gd name="connsiteY889" fmla="*/ 9102 h 10000"/>
                <a:gd name="connsiteX890" fmla="*/ 129 w 10000"/>
                <a:gd name="connsiteY890" fmla="*/ 9116 h 10000"/>
                <a:gd name="connsiteX891" fmla="*/ 139 w 10000"/>
                <a:gd name="connsiteY891" fmla="*/ 9135 h 10000"/>
                <a:gd name="connsiteX892" fmla="*/ 149 w 10000"/>
                <a:gd name="connsiteY892" fmla="*/ 9151 h 10000"/>
                <a:gd name="connsiteX893" fmla="*/ 164 w 10000"/>
                <a:gd name="connsiteY893" fmla="*/ 9175 h 10000"/>
                <a:gd name="connsiteX894" fmla="*/ 184 w 10000"/>
                <a:gd name="connsiteY894" fmla="*/ 9196 h 10000"/>
                <a:gd name="connsiteX895" fmla="*/ 207 w 10000"/>
                <a:gd name="connsiteY895" fmla="*/ 9215 h 10000"/>
                <a:gd name="connsiteX896" fmla="*/ 227 w 10000"/>
                <a:gd name="connsiteY896" fmla="*/ 9233 h 10000"/>
                <a:gd name="connsiteX897" fmla="*/ 253 w 10000"/>
                <a:gd name="connsiteY897" fmla="*/ 9250 h 10000"/>
                <a:gd name="connsiteX898" fmla="*/ 303 w 10000"/>
                <a:gd name="connsiteY898" fmla="*/ 9282 h 10000"/>
                <a:gd name="connsiteX899" fmla="*/ 351 w 10000"/>
                <a:gd name="connsiteY899" fmla="*/ 9315 h 10000"/>
                <a:gd name="connsiteX900" fmla="*/ 414 w 10000"/>
                <a:gd name="connsiteY900" fmla="*/ 9364 h 10000"/>
                <a:gd name="connsiteX901" fmla="*/ 480 w 10000"/>
                <a:gd name="connsiteY901" fmla="*/ 9416 h 10000"/>
                <a:gd name="connsiteX902" fmla="*/ 513 w 10000"/>
                <a:gd name="connsiteY902" fmla="*/ 9437 h 10000"/>
                <a:gd name="connsiteX903" fmla="*/ 548 w 10000"/>
                <a:gd name="connsiteY903" fmla="*/ 9462 h 10000"/>
                <a:gd name="connsiteX904" fmla="*/ 581 w 10000"/>
                <a:gd name="connsiteY904" fmla="*/ 9483 h 10000"/>
                <a:gd name="connsiteX905" fmla="*/ 614 w 10000"/>
                <a:gd name="connsiteY905" fmla="*/ 9502 h 10000"/>
                <a:gd name="connsiteX906" fmla="*/ 641 w 10000"/>
                <a:gd name="connsiteY906" fmla="*/ 9525 h 10000"/>
                <a:gd name="connsiteX907" fmla="*/ 672 w 10000"/>
                <a:gd name="connsiteY907" fmla="*/ 9549 h 10000"/>
                <a:gd name="connsiteX908" fmla="*/ 702 w 10000"/>
                <a:gd name="connsiteY908" fmla="*/ 9568 h 10000"/>
                <a:gd name="connsiteX909" fmla="*/ 737 w 10000"/>
                <a:gd name="connsiteY909" fmla="*/ 9589 h 10000"/>
                <a:gd name="connsiteX910" fmla="*/ 770 w 10000"/>
                <a:gd name="connsiteY910" fmla="*/ 9605 h 10000"/>
                <a:gd name="connsiteX911" fmla="*/ 808 w 10000"/>
                <a:gd name="connsiteY911" fmla="*/ 9617 h 10000"/>
                <a:gd name="connsiteX912" fmla="*/ 843 w 10000"/>
                <a:gd name="connsiteY912" fmla="*/ 9624 h 10000"/>
                <a:gd name="connsiteX913" fmla="*/ 884 w 10000"/>
                <a:gd name="connsiteY913" fmla="*/ 9628 h 10000"/>
                <a:gd name="connsiteX914" fmla="*/ 902 w 10000"/>
                <a:gd name="connsiteY914" fmla="*/ 9628 h 10000"/>
                <a:gd name="connsiteX915" fmla="*/ 914 w 10000"/>
                <a:gd name="connsiteY915" fmla="*/ 9631 h 10000"/>
                <a:gd name="connsiteX916" fmla="*/ 932 w 10000"/>
                <a:gd name="connsiteY916" fmla="*/ 9638 h 10000"/>
                <a:gd name="connsiteX917" fmla="*/ 942 w 10000"/>
                <a:gd name="connsiteY917" fmla="*/ 9642 h 10000"/>
                <a:gd name="connsiteX918" fmla="*/ 967 w 10000"/>
                <a:gd name="connsiteY918" fmla="*/ 9652 h 10000"/>
                <a:gd name="connsiteX919" fmla="*/ 987 w 10000"/>
                <a:gd name="connsiteY919" fmla="*/ 9668 h 10000"/>
                <a:gd name="connsiteX920" fmla="*/ 1005 w 10000"/>
                <a:gd name="connsiteY920" fmla="*/ 9682 h 10000"/>
                <a:gd name="connsiteX921" fmla="*/ 1025 w 10000"/>
                <a:gd name="connsiteY921" fmla="*/ 9698 h 10000"/>
                <a:gd name="connsiteX922" fmla="*/ 1045 w 10000"/>
                <a:gd name="connsiteY922" fmla="*/ 9712 h 10000"/>
                <a:gd name="connsiteX923" fmla="*/ 1073 w 10000"/>
                <a:gd name="connsiteY923" fmla="*/ 9724 h 10000"/>
                <a:gd name="connsiteX924" fmla="*/ 1098 w 10000"/>
                <a:gd name="connsiteY924" fmla="*/ 9738 h 10000"/>
                <a:gd name="connsiteX925" fmla="*/ 1121 w 10000"/>
                <a:gd name="connsiteY925" fmla="*/ 9750 h 10000"/>
                <a:gd name="connsiteX926" fmla="*/ 1141 w 10000"/>
                <a:gd name="connsiteY926" fmla="*/ 9762 h 10000"/>
                <a:gd name="connsiteX927" fmla="*/ 1159 w 10000"/>
                <a:gd name="connsiteY927" fmla="*/ 9776 h 10000"/>
                <a:gd name="connsiteX928" fmla="*/ 1172 w 10000"/>
                <a:gd name="connsiteY928" fmla="*/ 9787 h 10000"/>
                <a:gd name="connsiteX929" fmla="*/ 1182 w 10000"/>
                <a:gd name="connsiteY929" fmla="*/ 9804 h 10000"/>
                <a:gd name="connsiteX930" fmla="*/ 1194 w 10000"/>
                <a:gd name="connsiteY930" fmla="*/ 9818 h 10000"/>
                <a:gd name="connsiteX931" fmla="*/ 1202 w 10000"/>
                <a:gd name="connsiteY931" fmla="*/ 9834 h 10000"/>
                <a:gd name="connsiteX932" fmla="*/ 1212 w 10000"/>
                <a:gd name="connsiteY932" fmla="*/ 9869 h 10000"/>
                <a:gd name="connsiteX933" fmla="*/ 1220 w 10000"/>
                <a:gd name="connsiteY933" fmla="*/ 9906 h 10000"/>
                <a:gd name="connsiteX934" fmla="*/ 1230 w 10000"/>
                <a:gd name="connsiteY934" fmla="*/ 9951 h 10000"/>
                <a:gd name="connsiteX935" fmla="*/ 1237 w 10000"/>
                <a:gd name="connsiteY935" fmla="*/ 10000 h 10000"/>
                <a:gd name="connsiteX936" fmla="*/ 1237 w 10000"/>
                <a:gd name="connsiteY93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56 w 10000"/>
                <a:gd name="connsiteY750" fmla="*/ 7693 h 10000"/>
                <a:gd name="connsiteX751" fmla="*/ 2518 w 10000"/>
                <a:gd name="connsiteY751" fmla="*/ 7693 h 10000"/>
                <a:gd name="connsiteX752" fmla="*/ 2469 w 10000"/>
                <a:gd name="connsiteY752" fmla="*/ 7687 h 10000"/>
                <a:gd name="connsiteX753" fmla="*/ 2419 w 10000"/>
                <a:gd name="connsiteY753" fmla="*/ 7686 h 10000"/>
                <a:gd name="connsiteX754" fmla="*/ 2361 w 10000"/>
                <a:gd name="connsiteY754" fmla="*/ 7669 h 10000"/>
                <a:gd name="connsiteX755" fmla="*/ 2295 w 10000"/>
                <a:gd name="connsiteY755" fmla="*/ 7651 h 10000"/>
                <a:gd name="connsiteX756" fmla="*/ 2283 w 10000"/>
                <a:gd name="connsiteY756" fmla="*/ 7644 h 10000"/>
                <a:gd name="connsiteX757" fmla="*/ 2265 w 10000"/>
                <a:gd name="connsiteY757" fmla="*/ 7641 h 10000"/>
                <a:gd name="connsiteX758" fmla="*/ 2253 w 10000"/>
                <a:gd name="connsiteY758" fmla="*/ 7641 h 10000"/>
                <a:gd name="connsiteX759" fmla="*/ 2235 w 10000"/>
                <a:gd name="connsiteY759" fmla="*/ 7641 h 10000"/>
                <a:gd name="connsiteX760" fmla="*/ 2222 w 10000"/>
                <a:gd name="connsiteY760" fmla="*/ 7648 h 10000"/>
                <a:gd name="connsiteX761" fmla="*/ 2212 w 10000"/>
                <a:gd name="connsiteY761" fmla="*/ 7653 h 10000"/>
                <a:gd name="connsiteX762" fmla="*/ 2199 w 10000"/>
                <a:gd name="connsiteY762" fmla="*/ 7660 h 10000"/>
                <a:gd name="connsiteX763" fmla="*/ 2189 w 10000"/>
                <a:gd name="connsiteY763" fmla="*/ 7669 h 10000"/>
                <a:gd name="connsiteX764" fmla="*/ 2182 w 10000"/>
                <a:gd name="connsiteY764" fmla="*/ 7688 h 10000"/>
                <a:gd name="connsiteX765" fmla="*/ 2172 w 10000"/>
                <a:gd name="connsiteY765" fmla="*/ 7714 h 10000"/>
                <a:gd name="connsiteX766" fmla="*/ 2167 w 10000"/>
                <a:gd name="connsiteY766" fmla="*/ 7742 h 10000"/>
                <a:gd name="connsiteX767" fmla="*/ 2162 w 10000"/>
                <a:gd name="connsiteY767" fmla="*/ 7775 h 10000"/>
                <a:gd name="connsiteX768" fmla="*/ 2159 w 10000"/>
                <a:gd name="connsiteY768" fmla="*/ 7833 h 10000"/>
                <a:gd name="connsiteX769" fmla="*/ 2157 w 10000"/>
                <a:gd name="connsiteY769" fmla="*/ 7882 h 10000"/>
                <a:gd name="connsiteX770" fmla="*/ 2157 w 10000"/>
                <a:gd name="connsiteY770" fmla="*/ 7938 h 10000"/>
                <a:gd name="connsiteX771" fmla="*/ 2159 w 10000"/>
                <a:gd name="connsiteY771" fmla="*/ 8006 h 10000"/>
                <a:gd name="connsiteX772" fmla="*/ 2162 w 10000"/>
                <a:gd name="connsiteY772" fmla="*/ 8079 h 10000"/>
                <a:gd name="connsiteX773" fmla="*/ 2159 w 10000"/>
                <a:gd name="connsiteY773" fmla="*/ 8156 h 10000"/>
                <a:gd name="connsiteX774" fmla="*/ 2157 w 10000"/>
                <a:gd name="connsiteY774" fmla="*/ 8193 h 10000"/>
                <a:gd name="connsiteX775" fmla="*/ 2154 w 10000"/>
                <a:gd name="connsiteY775" fmla="*/ 8228 h 10000"/>
                <a:gd name="connsiteX776" fmla="*/ 2146 w 10000"/>
                <a:gd name="connsiteY776" fmla="*/ 8261 h 10000"/>
                <a:gd name="connsiteX777" fmla="*/ 2136 w 10000"/>
                <a:gd name="connsiteY777" fmla="*/ 8291 h 10000"/>
                <a:gd name="connsiteX778" fmla="*/ 2124 w 10000"/>
                <a:gd name="connsiteY778" fmla="*/ 8319 h 10000"/>
                <a:gd name="connsiteX779" fmla="*/ 2109 w 10000"/>
                <a:gd name="connsiteY779" fmla="*/ 8345 h 10000"/>
                <a:gd name="connsiteX780" fmla="*/ 2098 w 10000"/>
                <a:gd name="connsiteY780" fmla="*/ 8354 h 10000"/>
                <a:gd name="connsiteX781" fmla="*/ 2088 w 10000"/>
                <a:gd name="connsiteY781" fmla="*/ 8364 h 10000"/>
                <a:gd name="connsiteX782" fmla="*/ 2078 w 10000"/>
                <a:gd name="connsiteY782" fmla="*/ 8373 h 10000"/>
                <a:gd name="connsiteX783" fmla="*/ 2063 w 10000"/>
                <a:gd name="connsiteY783" fmla="*/ 8380 h 10000"/>
                <a:gd name="connsiteX784" fmla="*/ 1990 w 10000"/>
                <a:gd name="connsiteY784" fmla="*/ 8422 h 10000"/>
                <a:gd name="connsiteX785" fmla="*/ 1904 w 10000"/>
                <a:gd name="connsiteY785" fmla="*/ 8481 h 10000"/>
                <a:gd name="connsiteX786" fmla="*/ 1856 w 10000"/>
                <a:gd name="connsiteY786" fmla="*/ 8506 h 10000"/>
                <a:gd name="connsiteX787" fmla="*/ 1816 w 10000"/>
                <a:gd name="connsiteY787" fmla="*/ 8527 h 10000"/>
                <a:gd name="connsiteX788" fmla="*/ 1793 w 10000"/>
                <a:gd name="connsiteY788" fmla="*/ 8539 h 10000"/>
                <a:gd name="connsiteX789" fmla="*/ 1775 w 10000"/>
                <a:gd name="connsiteY789" fmla="*/ 8546 h 10000"/>
                <a:gd name="connsiteX790" fmla="*/ 1758 w 10000"/>
                <a:gd name="connsiteY790" fmla="*/ 8548 h 10000"/>
                <a:gd name="connsiteX791" fmla="*/ 1742 w 10000"/>
                <a:gd name="connsiteY791" fmla="*/ 8551 h 10000"/>
                <a:gd name="connsiteX792" fmla="*/ 1727 w 10000"/>
                <a:gd name="connsiteY792" fmla="*/ 8537 h 10000"/>
                <a:gd name="connsiteX793" fmla="*/ 1717 w 10000"/>
                <a:gd name="connsiteY793" fmla="*/ 8518 h 10000"/>
                <a:gd name="connsiteX794" fmla="*/ 1710 w 10000"/>
                <a:gd name="connsiteY794" fmla="*/ 8499 h 10000"/>
                <a:gd name="connsiteX795" fmla="*/ 1702 w 10000"/>
                <a:gd name="connsiteY795" fmla="*/ 8476 h 10000"/>
                <a:gd name="connsiteX796" fmla="*/ 1684 w 10000"/>
                <a:gd name="connsiteY796" fmla="*/ 8429 h 10000"/>
                <a:gd name="connsiteX797" fmla="*/ 1674 w 10000"/>
                <a:gd name="connsiteY797" fmla="*/ 8380 h 10000"/>
                <a:gd name="connsiteX798" fmla="*/ 1667 w 10000"/>
                <a:gd name="connsiteY798" fmla="*/ 8329 h 10000"/>
                <a:gd name="connsiteX799" fmla="*/ 1659 w 10000"/>
                <a:gd name="connsiteY799" fmla="*/ 8282 h 10000"/>
                <a:gd name="connsiteX800" fmla="*/ 1657 w 10000"/>
                <a:gd name="connsiteY800" fmla="*/ 8235 h 10000"/>
                <a:gd name="connsiteX801" fmla="*/ 1657 w 10000"/>
                <a:gd name="connsiteY801" fmla="*/ 8195 h 10000"/>
                <a:gd name="connsiteX802" fmla="*/ 1652 w 10000"/>
                <a:gd name="connsiteY802" fmla="*/ 8191 h 10000"/>
                <a:gd name="connsiteX803" fmla="*/ 1586 w 10000"/>
                <a:gd name="connsiteY803" fmla="*/ 8188 h 10000"/>
                <a:gd name="connsiteX804" fmla="*/ 1525 w 10000"/>
                <a:gd name="connsiteY804" fmla="*/ 8186 h 10000"/>
                <a:gd name="connsiteX805" fmla="*/ 1500 w 10000"/>
                <a:gd name="connsiteY805" fmla="*/ 8191 h 10000"/>
                <a:gd name="connsiteX806" fmla="*/ 1472 w 10000"/>
                <a:gd name="connsiteY806" fmla="*/ 8198 h 10000"/>
                <a:gd name="connsiteX807" fmla="*/ 1457 w 10000"/>
                <a:gd name="connsiteY807" fmla="*/ 8205 h 10000"/>
                <a:gd name="connsiteX808" fmla="*/ 1444 w 10000"/>
                <a:gd name="connsiteY808" fmla="*/ 8212 h 10000"/>
                <a:gd name="connsiteX809" fmla="*/ 1434 w 10000"/>
                <a:gd name="connsiteY809" fmla="*/ 8223 h 10000"/>
                <a:gd name="connsiteX810" fmla="*/ 1419 w 10000"/>
                <a:gd name="connsiteY810" fmla="*/ 8233 h 10000"/>
                <a:gd name="connsiteX811" fmla="*/ 1412 w 10000"/>
                <a:gd name="connsiteY811" fmla="*/ 8247 h 10000"/>
                <a:gd name="connsiteX812" fmla="*/ 1402 w 10000"/>
                <a:gd name="connsiteY812" fmla="*/ 8261 h 10000"/>
                <a:gd name="connsiteX813" fmla="*/ 1394 w 10000"/>
                <a:gd name="connsiteY813" fmla="*/ 8275 h 10000"/>
                <a:gd name="connsiteX814" fmla="*/ 1386 w 10000"/>
                <a:gd name="connsiteY814" fmla="*/ 8294 h 10000"/>
                <a:gd name="connsiteX815" fmla="*/ 1374 w 10000"/>
                <a:gd name="connsiteY815" fmla="*/ 8331 h 10000"/>
                <a:gd name="connsiteX816" fmla="*/ 1361 w 10000"/>
                <a:gd name="connsiteY816" fmla="*/ 8368 h 10000"/>
                <a:gd name="connsiteX817" fmla="*/ 1354 w 10000"/>
                <a:gd name="connsiteY817" fmla="*/ 8387 h 10000"/>
                <a:gd name="connsiteX818" fmla="*/ 1346 w 10000"/>
                <a:gd name="connsiteY818" fmla="*/ 8406 h 10000"/>
                <a:gd name="connsiteX819" fmla="*/ 1338 w 10000"/>
                <a:gd name="connsiteY819" fmla="*/ 8420 h 10000"/>
                <a:gd name="connsiteX820" fmla="*/ 1328 w 10000"/>
                <a:gd name="connsiteY820" fmla="*/ 8436 h 10000"/>
                <a:gd name="connsiteX821" fmla="*/ 1316 w 10000"/>
                <a:gd name="connsiteY821" fmla="*/ 8446 h 10000"/>
                <a:gd name="connsiteX822" fmla="*/ 1306 w 10000"/>
                <a:gd name="connsiteY822" fmla="*/ 8453 h 10000"/>
                <a:gd name="connsiteX823" fmla="*/ 1293 w 10000"/>
                <a:gd name="connsiteY823" fmla="*/ 8460 h 10000"/>
                <a:gd name="connsiteX824" fmla="*/ 1275 w 10000"/>
                <a:gd name="connsiteY824" fmla="*/ 8460 h 10000"/>
                <a:gd name="connsiteX825" fmla="*/ 1265 w 10000"/>
                <a:gd name="connsiteY825" fmla="*/ 8450 h 10000"/>
                <a:gd name="connsiteX826" fmla="*/ 1258 w 10000"/>
                <a:gd name="connsiteY826" fmla="*/ 8441 h 10000"/>
                <a:gd name="connsiteX827" fmla="*/ 1245 w 10000"/>
                <a:gd name="connsiteY827" fmla="*/ 8424 h 10000"/>
                <a:gd name="connsiteX828" fmla="*/ 1237 w 10000"/>
                <a:gd name="connsiteY828" fmla="*/ 8408 h 10000"/>
                <a:gd name="connsiteX829" fmla="*/ 1217 w 10000"/>
                <a:gd name="connsiteY829" fmla="*/ 8373 h 10000"/>
                <a:gd name="connsiteX830" fmla="*/ 1202 w 10000"/>
                <a:gd name="connsiteY830" fmla="*/ 8333 h 10000"/>
                <a:gd name="connsiteX831" fmla="*/ 1182 w 10000"/>
                <a:gd name="connsiteY831" fmla="*/ 8296 h 10000"/>
                <a:gd name="connsiteX832" fmla="*/ 1162 w 10000"/>
                <a:gd name="connsiteY832" fmla="*/ 8268 h 10000"/>
                <a:gd name="connsiteX833" fmla="*/ 1149 w 10000"/>
                <a:gd name="connsiteY833" fmla="*/ 8256 h 10000"/>
                <a:gd name="connsiteX834" fmla="*/ 1139 w 10000"/>
                <a:gd name="connsiteY834" fmla="*/ 8249 h 10000"/>
                <a:gd name="connsiteX835" fmla="*/ 1126 w 10000"/>
                <a:gd name="connsiteY835" fmla="*/ 8240 h 10000"/>
                <a:gd name="connsiteX836" fmla="*/ 1114 w 10000"/>
                <a:gd name="connsiteY836" fmla="*/ 8240 h 10000"/>
                <a:gd name="connsiteX837" fmla="*/ 1091 w 10000"/>
                <a:gd name="connsiteY837" fmla="*/ 8242 h 10000"/>
                <a:gd name="connsiteX838" fmla="*/ 1071 w 10000"/>
                <a:gd name="connsiteY838" fmla="*/ 8252 h 10000"/>
                <a:gd name="connsiteX839" fmla="*/ 1048 w 10000"/>
                <a:gd name="connsiteY839" fmla="*/ 8261 h 10000"/>
                <a:gd name="connsiteX840" fmla="*/ 1030 w 10000"/>
                <a:gd name="connsiteY840" fmla="*/ 8273 h 10000"/>
                <a:gd name="connsiteX841" fmla="*/ 1010 w 10000"/>
                <a:gd name="connsiteY841" fmla="*/ 8287 h 10000"/>
                <a:gd name="connsiteX842" fmla="*/ 995 w 10000"/>
                <a:gd name="connsiteY842" fmla="*/ 8303 h 10000"/>
                <a:gd name="connsiteX843" fmla="*/ 975 w 10000"/>
                <a:gd name="connsiteY843" fmla="*/ 8322 h 10000"/>
                <a:gd name="connsiteX844" fmla="*/ 960 w 10000"/>
                <a:gd name="connsiteY844" fmla="*/ 8343 h 10000"/>
                <a:gd name="connsiteX845" fmla="*/ 927 w 10000"/>
                <a:gd name="connsiteY845" fmla="*/ 8380 h 10000"/>
                <a:gd name="connsiteX846" fmla="*/ 891 w 10000"/>
                <a:gd name="connsiteY846" fmla="*/ 8417 h 10000"/>
                <a:gd name="connsiteX847" fmla="*/ 874 w 10000"/>
                <a:gd name="connsiteY847" fmla="*/ 8436 h 10000"/>
                <a:gd name="connsiteX848" fmla="*/ 859 w 10000"/>
                <a:gd name="connsiteY848" fmla="*/ 8450 h 10000"/>
                <a:gd name="connsiteX849" fmla="*/ 838 w 10000"/>
                <a:gd name="connsiteY849" fmla="*/ 8462 h 10000"/>
                <a:gd name="connsiteX850" fmla="*/ 821 w 10000"/>
                <a:gd name="connsiteY850" fmla="*/ 8476 h 10000"/>
                <a:gd name="connsiteX851" fmla="*/ 742 w 10000"/>
                <a:gd name="connsiteY851" fmla="*/ 8562 h 10000"/>
                <a:gd name="connsiteX852" fmla="*/ 672 w 10000"/>
                <a:gd name="connsiteY852" fmla="*/ 8644 h 10000"/>
                <a:gd name="connsiteX853" fmla="*/ 639 w 10000"/>
                <a:gd name="connsiteY853" fmla="*/ 8684 h 10000"/>
                <a:gd name="connsiteX854" fmla="*/ 609 w 10000"/>
                <a:gd name="connsiteY854" fmla="*/ 8731 h 10000"/>
                <a:gd name="connsiteX855" fmla="*/ 583 w 10000"/>
                <a:gd name="connsiteY855" fmla="*/ 8777 h 10000"/>
                <a:gd name="connsiteX856" fmla="*/ 556 w 10000"/>
                <a:gd name="connsiteY856" fmla="*/ 8831 h 10000"/>
                <a:gd name="connsiteX857" fmla="*/ 545 w 10000"/>
                <a:gd name="connsiteY857" fmla="*/ 8852 h 10000"/>
                <a:gd name="connsiteX858" fmla="*/ 525 w 10000"/>
                <a:gd name="connsiteY858" fmla="*/ 8885 h 10000"/>
                <a:gd name="connsiteX859" fmla="*/ 503 w 10000"/>
                <a:gd name="connsiteY859" fmla="*/ 8925 h 10000"/>
                <a:gd name="connsiteX860" fmla="*/ 480 w 10000"/>
                <a:gd name="connsiteY860" fmla="*/ 8962 h 10000"/>
                <a:gd name="connsiteX861" fmla="*/ 465 w 10000"/>
                <a:gd name="connsiteY861" fmla="*/ 8981 h 10000"/>
                <a:gd name="connsiteX862" fmla="*/ 455 w 10000"/>
                <a:gd name="connsiteY862" fmla="*/ 8993 h 10000"/>
                <a:gd name="connsiteX863" fmla="*/ 444 w 10000"/>
                <a:gd name="connsiteY863" fmla="*/ 9000 h 10000"/>
                <a:gd name="connsiteX864" fmla="*/ 434 w 10000"/>
                <a:gd name="connsiteY864" fmla="*/ 9007 h 10000"/>
                <a:gd name="connsiteX865" fmla="*/ 432 w 10000"/>
                <a:gd name="connsiteY865" fmla="*/ 9007 h 10000"/>
                <a:gd name="connsiteX866" fmla="*/ 429 w 10000"/>
                <a:gd name="connsiteY866" fmla="*/ 9004 h 10000"/>
                <a:gd name="connsiteX867" fmla="*/ 427 w 10000"/>
                <a:gd name="connsiteY867" fmla="*/ 8997 h 10000"/>
                <a:gd name="connsiteX868" fmla="*/ 427 w 10000"/>
                <a:gd name="connsiteY868" fmla="*/ 8993 h 10000"/>
                <a:gd name="connsiteX869" fmla="*/ 424 w 10000"/>
                <a:gd name="connsiteY869" fmla="*/ 8976 h 10000"/>
                <a:gd name="connsiteX870" fmla="*/ 427 w 10000"/>
                <a:gd name="connsiteY870" fmla="*/ 8948 h 10000"/>
                <a:gd name="connsiteX871" fmla="*/ 437 w 10000"/>
                <a:gd name="connsiteY871" fmla="*/ 8913 h 10000"/>
                <a:gd name="connsiteX872" fmla="*/ 455 w 10000"/>
                <a:gd name="connsiteY872" fmla="*/ 8859 h 10000"/>
                <a:gd name="connsiteX873" fmla="*/ 462 w 10000"/>
                <a:gd name="connsiteY873" fmla="*/ 8834 h 10000"/>
                <a:gd name="connsiteX874" fmla="*/ 470 w 10000"/>
                <a:gd name="connsiteY874" fmla="*/ 8810 h 10000"/>
                <a:gd name="connsiteX875" fmla="*/ 472 w 10000"/>
                <a:gd name="connsiteY875" fmla="*/ 8794 h 10000"/>
                <a:gd name="connsiteX876" fmla="*/ 472 w 10000"/>
                <a:gd name="connsiteY876" fmla="*/ 8780 h 10000"/>
                <a:gd name="connsiteX877" fmla="*/ 462 w 10000"/>
                <a:gd name="connsiteY877" fmla="*/ 8784 h 10000"/>
                <a:gd name="connsiteX878" fmla="*/ 452 w 10000"/>
                <a:gd name="connsiteY878" fmla="*/ 8787 h 10000"/>
                <a:gd name="connsiteX879" fmla="*/ 437 w 10000"/>
                <a:gd name="connsiteY879" fmla="*/ 8794 h 10000"/>
                <a:gd name="connsiteX880" fmla="*/ 424 w 10000"/>
                <a:gd name="connsiteY880" fmla="*/ 8803 h 10000"/>
                <a:gd name="connsiteX881" fmla="*/ 394 w 10000"/>
                <a:gd name="connsiteY881" fmla="*/ 8829 h 10000"/>
                <a:gd name="connsiteX882" fmla="*/ 364 w 10000"/>
                <a:gd name="connsiteY882" fmla="*/ 8859 h 10000"/>
                <a:gd name="connsiteX883" fmla="*/ 311 w 10000"/>
                <a:gd name="connsiteY883" fmla="*/ 8922 h 10000"/>
                <a:gd name="connsiteX884" fmla="*/ 268 w 10000"/>
                <a:gd name="connsiteY884" fmla="*/ 8964 h 10000"/>
                <a:gd name="connsiteX885" fmla="*/ 205 w 10000"/>
                <a:gd name="connsiteY885" fmla="*/ 9016 h 10000"/>
                <a:gd name="connsiteX886" fmla="*/ 146 w 10000"/>
                <a:gd name="connsiteY886" fmla="*/ 9053 h 10000"/>
                <a:gd name="connsiteX887" fmla="*/ 139 w 10000"/>
                <a:gd name="connsiteY887" fmla="*/ 9063 h 10000"/>
                <a:gd name="connsiteX888" fmla="*/ 129 w 10000"/>
                <a:gd name="connsiteY888" fmla="*/ 9077 h 10000"/>
                <a:gd name="connsiteX889" fmla="*/ 126 w 10000"/>
                <a:gd name="connsiteY889" fmla="*/ 9086 h 10000"/>
                <a:gd name="connsiteX890" fmla="*/ 126 w 10000"/>
                <a:gd name="connsiteY890" fmla="*/ 9102 h 10000"/>
                <a:gd name="connsiteX891" fmla="*/ 129 w 10000"/>
                <a:gd name="connsiteY891" fmla="*/ 9116 h 10000"/>
                <a:gd name="connsiteX892" fmla="*/ 139 w 10000"/>
                <a:gd name="connsiteY892" fmla="*/ 9135 h 10000"/>
                <a:gd name="connsiteX893" fmla="*/ 149 w 10000"/>
                <a:gd name="connsiteY893" fmla="*/ 9151 h 10000"/>
                <a:gd name="connsiteX894" fmla="*/ 164 w 10000"/>
                <a:gd name="connsiteY894" fmla="*/ 9175 h 10000"/>
                <a:gd name="connsiteX895" fmla="*/ 184 w 10000"/>
                <a:gd name="connsiteY895" fmla="*/ 9196 h 10000"/>
                <a:gd name="connsiteX896" fmla="*/ 207 w 10000"/>
                <a:gd name="connsiteY896" fmla="*/ 9215 h 10000"/>
                <a:gd name="connsiteX897" fmla="*/ 227 w 10000"/>
                <a:gd name="connsiteY897" fmla="*/ 9233 h 10000"/>
                <a:gd name="connsiteX898" fmla="*/ 253 w 10000"/>
                <a:gd name="connsiteY898" fmla="*/ 9250 h 10000"/>
                <a:gd name="connsiteX899" fmla="*/ 303 w 10000"/>
                <a:gd name="connsiteY899" fmla="*/ 9282 h 10000"/>
                <a:gd name="connsiteX900" fmla="*/ 351 w 10000"/>
                <a:gd name="connsiteY900" fmla="*/ 9315 h 10000"/>
                <a:gd name="connsiteX901" fmla="*/ 414 w 10000"/>
                <a:gd name="connsiteY901" fmla="*/ 9364 h 10000"/>
                <a:gd name="connsiteX902" fmla="*/ 480 w 10000"/>
                <a:gd name="connsiteY902" fmla="*/ 9416 h 10000"/>
                <a:gd name="connsiteX903" fmla="*/ 513 w 10000"/>
                <a:gd name="connsiteY903" fmla="*/ 9437 h 10000"/>
                <a:gd name="connsiteX904" fmla="*/ 548 w 10000"/>
                <a:gd name="connsiteY904" fmla="*/ 9462 h 10000"/>
                <a:gd name="connsiteX905" fmla="*/ 581 w 10000"/>
                <a:gd name="connsiteY905" fmla="*/ 9483 h 10000"/>
                <a:gd name="connsiteX906" fmla="*/ 614 w 10000"/>
                <a:gd name="connsiteY906" fmla="*/ 9502 h 10000"/>
                <a:gd name="connsiteX907" fmla="*/ 641 w 10000"/>
                <a:gd name="connsiteY907" fmla="*/ 9525 h 10000"/>
                <a:gd name="connsiteX908" fmla="*/ 672 w 10000"/>
                <a:gd name="connsiteY908" fmla="*/ 9549 h 10000"/>
                <a:gd name="connsiteX909" fmla="*/ 702 w 10000"/>
                <a:gd name="connsiteY909" fmla="*/ 9568 h 10000"/>
                <a:gd name="connsiteX910" fmla="*/ 737 w 10000"/>
                <a:gd name="connsiteY910" fmla="*/ 9589 h 10000"/>
                <a:gd name="connsiteX911" fmla="*/ 770 w 10000"/>
                <a:gd name="connsiteY911" fmla="*/ 9605 h 10000"/>
                <a:gd name="connsiteX912" fmla="*/ 808 w 10000"/>
                <a:gd name="connsiteY912" fmla="*/ 9617 h 10000"/>
                <a:gd name="connsiteX913" fmla="*/ 843 w 10000"/>
                <a:gd name="connsiteY913" fmla="*/ 9624 h 10000"/>
                <a:gd name="connsiteX914" fmla="*/ 884 w 10000"/>
                <a:gd name="connsiteY914" fmla="*/ 9628 h 10000"/>
                <a:gd name="connsiteX915" fmla="*/ 902 w 10000"/>
                <a:gd name="connsiteY915" fmla="*/ 9628 h 10000"/>
                <a:gd name="connsiteX916" fmla="*/ 914 w 10000"/>
                <a:gd name="connsiteY916" fmla="*/ 9631 h 10000"/>
                <a:gd name="connsiteX917" fmla="*/ 932 w 10000"/>
                <a:gd name="connsiteY917" fmla="*/ 9638 h 10000"/>
                <a:gd name="connsiteX918" fmla="*/ 942 w 10000"/>
                <a:gd name="connsiteY918" fmla="*/ 9642 h 10000"/>
                <a:gd name="connsiteX919" fmla="*/ 967 w 10000"/>
                <a:gd name="connsiteY919" fmla="*/ 9652 h 10000"/>
                <a:gd name="connsiteX920" fmla="*/ 987 w 10000"/>
                <a:gd name="connsiteY920" fmla="*/ 9668 h 10000"/>
                <a:gd name="connsiteX921" fmla="*/ 1005 w 10000"/>
                <a:gd name="connsiteY921" fmla="*/ 9682 h 10000"/>
                <a:gd name="connsiteX922" fmla="*/ 1025 w 10000"/>
                <a:gd name="connsiteY922" fmla="*/ 9698 h 10000"/>
                <a:gd name="connsiteX923" fmla="*/ 1045 w 10000"/>
                <a:gd name="connsiteY923" fmla="*/ 9712 h 10000"/>
                <a:gd name="connsiteX924" fmla="*/ 1073 w 10000"/>
                <a:gd name="connsiteY924" fmla="*/ 9724 h 10000"/>
                <a:gd name="connsiteX925" fmla="*/ 1098 w 10000"/>
                <a:gd name="connsiteY925" fmla="*/ 9738 h 10000"/>
                <a:gd name="connsiteX926" fmla="*/ 1121 w 10000"/>
                <a:gd name="connsiteY926" fmla="*/ 9750 h 10000"/>
                <a:gd name="connsiteX927" fmla="*/ 1141 w 10000"/>
                <a:gd name="connsiteY927" fmla="*/ 9762 h 10000"/>
                <a:gd name="connsiteX928" fmla="*/ 1159 w 10000"/>
                <a:gd name="connsiteY928" fmla="*/ 9776 h 10000"/>
                <a:gd name="connsiteX929" fmla="*/ 1172 w 10000"/>
                <a:gd name="connsiteY929" fmla="*/ 9787 h 10000"/>
                <a:gd name="connsiteX930" fmla="*/ 1182 w 10000"/>
                <a:gd name="connsiteY930" fmla="*/ 9804 h 10000"/>
                <a:gd name="connsiteX931" fmla="*/ 1194 w 10000"/>
                <a:gd name="connsiteY931" fmla="*/ 9818 h 10000"/>
                <a:gd name="connsiteX932" fmla="*/ 1202 w 10000"/>
                <a:gd name="connsiteY932" fmla="*/ 9834 h 10000"/>
                <a:gd name="connsiteX933" fmla="*/ 1212 w 10000"/>
                <a:gd name="connsiteY933" fmla="*/ 9869 h 10000"/>
                <a:gd name="connsiteX934" fmla="*/ 1220 w 10000"/>
                <a:gd name="connsiteY934" fmla="*/ 9906 h 10000"/>
                <a:gd name="connsiteX935" fmla="*/ 1230 w 10000"/>
                <a:gd name="connsiteY935" fmla="*/ 9951 h 10000"/>
                <a:gd name="connsiteX936" fmla="*/ 1237 w 10000"/>
                <a:gd name="connsiteY936" fmla="*/ 10000 h 10000"/>
                <a:gd name="connsiteX937" fmla="*/ 1237 w 10000"/>
                <a:gd name="connsiteY93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469 w 10000"/>
                <a:gd name="connsiteY751" fmla="*/ 7687 h 10000"/>
                <a:gd name="connsiteX752" fmla="*/ 2419 w 10000"/>
                <a:gd name="connsiteY752" fmla="*/ 7686 h 10000"/>
                <a:gd name="connsiteX753" fmla="*/ 2361 w 10000"/>
                <a:gd name="connsiteY753" fmla="*/ 7669 h 10000"/>
                <a:gd name="connsiteX754" fmla="*/ 2295 w 10000"/>
                <a:gd name="connsiteY754" fmla="*/ 7651 h 10000"/>
                <a:gd name="connsiteX755" fmla="*/ 2283 w 10000"/>
                <a:gd name="connsiteY755" fmla="*/ 7644 h 10000"/>
                <a:gd name="connsiteX756" fmla="*/ 2265 w 10000"/>
                <a:gd name="connsiteY756" fmla="*/ 7641 h 10000"/>
                <a:gd name="connsiteX757" fmla="*/ 2253 w 10000"/>
                <a:gd name="connsiteY757" fmla="*/ 7641 h 10000"/>
                <a:gd name="connsiteX758" fmla="*/ 2235 w 10000"/>
                <a:gd name="connsiteY758" fmla="*/ 7641 h 10000"/>
                <a:gd name="connsiteX759" fmla="*/ 2222 w 10000"/>
                <a:gd name="connsiteY759" fmla="*/ 7648 h 10000"/>
                <a:gd name="connsiteX760" fmla="*/ 2212 w 10000"/>
                <a:gd name="connsiteY760" fmla="*/ 7653 h 10000"/>
                <a:gd name="connsiteX761" fmla="*/ 2199 w 10000"/>
                <a:gd name="connsiteY761" fmla="*/ 7660 h 10000"/>
                <a:gd name="connsiteX762" fmla="*/ 2189 w 10000"/>
                <a:gd name="connsiteY762" fmla="*/ 7669 h 10000"/>
                <a:gd name="connsiteX763" fmla="*/ 2182 w 10000"/>
                <a:gd name="connsiteY763" fmla="*/ 7688 h 10000"/>
                <a:gd name="connsiteX764" fmla="*/ 2172 w 10000"/>
                <a:gd name="connsiteY764" fmla="*/ 7714 h 10000"/>
                <a:gd name="connsiteX765" fmla="*/ 2167 w 10000"/>
                <a:gd name="connsiteY765" fmla="*/ 7742 h 10000"/>
                <a:gd name="connsiteX766" fmla="*/ 2162 w 10000"/>
                <a:gd name="connsiteY766" fmla="*/ 7775 h 10000"/>
                <a:gd name="connsiteX767" fmla="*/ 2159 w 10000"/>
                <a:gd name="connsiteY767" fmla="*/ 7833 h 10000"/>
                <a:gd name="connsiteX768" fmla="*/ 2157 w 10000"/>
                <a:gd name="connsiteY768" fmla="*/ 7882 h 10000"/>
                <a:gd name="connsiteX769" fmla="*/ 2157 w 10000"/>
                <a:gd name="connsiteY769" fmla="*/ 7938 h 10000"/>
                <a:gd name="connsiteX770" fmla="*/ 2159 w 10000"/>
                <a:gd name="connsiteY770" fmla="*/ 8006 h 10000"/>
                <a:gd name="connsiteX771" fmla="*/ 2162 w 10000"/>
                <a:gd name="connsiteY771" fmla="*/ 8079 h 10000"/>
                <a:gd name="connsiteX772" fmla="*/ 2159 w 10000"/>
                <a:gd name="connsiteY772" fmla="*/ 8156 h 10000"/>
                <a:gd name="connsiteX773" fmla="*/ 2157 w 10000"/>
                <a:gd name="connsiteY773" fmla="*/ 8193 h 10000"/>
                <a:gd name="connsiteX774" fmla="*/ 2154 w 10000"/>
                <a:gd name="connsiteY774" fmla="*/ 8228 h 10000"/>
                <a:gd name="connsiteX775" fmla="*/ 2146 w 10000"/>
                <a:gd name="connsiteY775" fmla="*/ 8261 h 10000"/>
                <a:gd name="connsiteX776" fmla="*/ 2136 w 10000"/>
                <a:gd name="connsiteY776" fmla="*/ 8291 h 10000"/>
                <a:gd name="connsiteX777" fmla="*/ 2124 w 10000"/>
                <a:gd name="connsiteY777" fmla="*/ 8319 h 10000"/>
                <a:gd name="connsiteX778" fmla="*/ 2109 w 10000"/>
                <a:gd name="connsiteY778" fmla="*/ 8345 h 10000"/>
                <a:gd name="connsiteX779" fmla="*/ 2098 w 10000"/>
                <a:gd name="connsiteY779" fmla="*/ 8354 h 10000"/>
                <a:gd name="connsiteX780" fmla="*/ 2088 w 10000"/>
                <a:gd name="connsiteY780" fmla="*/ 8364 h 10000"/>
                <a:gd name="connsiteX781" fmla="*/ 2078 w 10000"/>
                <a:gd name="connsiteY781" fmla="*/ 8373 h 10000"/>
                <a:gd name="connsiteX782" fmla="*/ 2063 w 10000"/>
                <a:gd name="connsiteY782" fmla="*/ 8380 h 10000"/>
                <a:gd name="connsiteX783" fmla="*/ 1990 w 10000"/>
                <a:gd name="connsiteY783" fmla="*/ 8422 h 10000"/>
                <a:gd name="connsiteX784" fmla="*/ 1904 w 10000"/>
                <a:gd name="connsiteY784" fmla="*/ 8481 h 10000"/>
                <a:gd name="connsiteX785" fmla="*/ 1856 w 10000"/>
                <a:gd name="connsiteY785" fmla="*/ 8506 h 10000"/>
                <a:gd name="connsiteX786" fmla="*/ 1816 w 10000"/>
                <a:gd name="connsiteY786" fmla="*/ 8527 h 10000"/>
                <a:gd name="connsiteX787" fmla="*/ 1793 w 10000"/>
                <a:gd name="connsiteY787" fmla="*/ 8539 h 10000"/>
                <a:gd name="connsiteX788" fmla="*/ 1775 w 10000"/>
                <a:gd name="connsiteY788" fmla="*/ 8546 h 10000"/>
                <a:gd name="connsiteX789" fmla="*/ 1758 w 10000"/>
                <a:gd name="connsiteY789" fmla="*/ 8548 h 10000"/>
                <a:gd name="connsiteX790" fmla="*/ 1742 w 10000"/>
                <a:gd name="connsiteY790" fmla="*/ 8551 h 10000"/>
                <a:gd name="connsiteX791" fmla="*/ 1727 w 10000"/>
                <a:gd name="connsiteY791" fmla="*/ 8537 h 10000"/>
                <a:gd name="connsiteX792" fmla="*/ 1717 w 10000"/>
                <a:gd name="connsiteY792" fmla="*/ 8518 h 10000"/>
                <a:gd name="connsiteX793" fmla="*/ 1710 w 10000"/>
                <a:gd name="connsiteY793" fmla="*/ 8499 h 10000"/>
                <a:gd name="connsiteX794" fmla="*/ 1702 w 10000"/>
                <a:gd name="connsiteY794" fmla="*/ 8476 h 10000"/>
                <a:gd name="connsiteX795" fmla="*/ 1684 w 10000"/>
                <a:gd name="connsiteY795" fmla="*/ 8429 h 10000"/>
                <a:gd name="connsiteX796" fmla="*/ 1674 w 10000"/>
                <a:gd name="connsiteY796" fmla="*/ 8380 h 10000"/>
                <a:gd name="connsiteX797" fmla="*/ 1667 w 10000"/>
                <a:gd name="connsiteY797" fmla="*/ 8329 h 10000"/>
                <a:gd name="connsiteX798" fmla="*/ 1659 w 10000"/>
                <a:gd name="connsiteY798" fmla="*/ 8282 h 10000"/>
                <a:gd name="connsiteX799" fmla="*/ 1657 w 10000"/>
                <a:gd name="connsiteY799" fmla="*/ 8235 h 10000"/>
                <a:gd name="connsiteX800" fmla="*/ 1657 w 10000"/>
                <a:gd name="connsiteY800" fmla="*/ 8195 h 10000"/>
                <a:gd name="connsiteX801" fmla="*/ 1652 w 10000"/>
                <a:gd name="connsiteY801" fmla="*/ 8191 h 10000"/>
                <a:gd name="connsiteX802" fmla="*/ 1586 w 10000"/>
                <a:gd name="connsiteY802" fmla="*/ 8188 h 10000"/>
                <a:gd name="connsiteX803" fmla="*/ 1525 w 10000"/>
                <a:gd name="connsiteY803" fmla="*/ 8186 h 10000"/>
                <a:gd name="connsiteX804" fmla="*/ 1500 w 10000"/>
                <a:gd name="connsiteY804" fmla="*/ 8191 h 10000"/>
                <a:gd name="connsiteX805" fmla="*/ 1472 w 10000"/>
                <a:gd name="connsiteY805" fmla="*/ 8198 h 10000"/>
                <a:gd name="connsiteX806" fmla="*/ 1457 w 10000"/>
                <a:gd name="connsiteY806" fmla="*/ 8205 h 10000"/>
                <a:gd name="connsiteX807" fmla="*/ 1444 w 10000"/>
                <a:gd name="connsiteY807" fmla="*/ 8212 h 10000"/>
                <a:gd name="connsiteX808" fmla="*/ 1434 w 10000"/>
                <a:gd name="connsiteY808" fmla="*/ 8223 h 10000"/>
                <a:gd name="connsiteX809" fmla="*/ 1419 w 10000"/>
                <a:gd name="connsiteY809" fmla="*/ 8233 h 10000"/>
                <a:gd name="connsiteX810" fmla="*/ 1412 w 10000"/>
                <a:gd name="connsiteY810" fmla="*/ 8247 h 10000"/>
                <a:gd name="connsiteX811" fmla="*/ 1402 w 10000"/>
                <a:gd name="connsiteY811" fmla="*/ 8261 h 10000"/>
                <a:gd name="connsiteX812" fmla="*/ 1394 w 10000"/>
                <a:gd name="connsiteY812" fmla="*/ 8275 h 10000"/>
                <a:gd name="connsiteX813" fmla="*/ 1386 w 10000"/>
                <a:gd name="connsiteY813" fmla="*/ 8294 h 10000"/>
                <a:gd name="connsiteX814" fmla="*/ 1374 w 10000"/>
                <a:gd name="connsiteY814" fmla="*/ 8331 h 10000"/>
                <a:gd name="connsiteX815" fmla="*/ 1361 w 10000"/>
                <a:gd name="connsiteY815" fmla="*/ 8368 h 10000"/>
                <a:gd name="connsiteX816" fmla="*/ 1354 w 10000"/>
                <a:gd name="connsiteY816" fmla="*/ 8387 h 10000"/>
                <a:gd name="connsiteX817" fmla="*/ 1346 w 10000"/>
                <a:gd name="connsiteY817" fmla="*/ 8406 h 10000"/>
                <a:gd name="connsiteX818" fmla="*/ 1338 w 10000"/>
                <a:gd name="connsiteY818" fmla="*/ 8420 h 10000"/>
                <a:gd name="connsiteX819" fmla="*/ 1328 w 10000"/>
                <a:gd name="connsiteY819" fmla="*/ 8436 h 10000"/>
                <a:gd name="connsiteX820" fmla="*/ 1316 w 10000"/>
                <a:gd name="connsiteY820" fmla="*/ 8446 h 10000"/>
                <a:gd name="connsiteX821" fmla="*/ 1306 w 10000"/>
                <a:gd name="connsiteY821" fmla="*/ 8453 h 10000"/>
                <a:gd name="connsiteX822" fmla="*/ 1293 w 10000"/>
                <a:gd name="connsiteY822" fmla="*/ 8460 h 10000"/>
                <a:gd name="connsiteX823" fmla="*/ 1275 w 10000"/>
                <a:gd name="connsiteY823" fmla="*/ 8460 h 10000"/>
                <a:gd name="connsiteX824" fmla="*/ 1265 w 10000"/>
                <a:gd name="connsiteY824" fmla="*/ 8450 h 10000"/>
                <a:gd name="connsiteX825" fmla="*/ 1258 w 10000"/>
                <a:gd name="connsiteY825" fmla="*/ 8441 h 10000"/>
                <a:gd name="connsiteX826" fmla="*/ 1245 w 10000"/>
                <a:gd name="connsiteY826" fmla="*/ 8424 h 10000"/>
                <a:gd name="connsiteX827" fmla="*/ 1237 w 10000"/>
                <a:gd name="connsiteY827" fmla="*/ 8408 h 10000"/>
                <a:gd name="connsiteX828" fmla="*/ 1217 w 10000"/>
                <a:gd name="connsiteY828" fmla="*/ 8373 h 10000"/>
                <a:gd name="connsiteX829" fmla="*/ 1202 w 10000"/>
                <a:gd name="connsiteY829" fmla="*/ 8333 h 10000"/>
                <a:gd name="connsiteX830" fmla="*/ 1182 w 10000"/>
                <a:gd name="connsiteY830" fmla="*/ 8296 h 10000"/>
                <a:gd name="connsiteX831" fmla="*/ 1162 w 10000"/>
                <a:gd name="connsiteY831" fmla="*/ 8268 h 10000"/>
                <a:gd name="connsiteX832" fmla="*/ 1149 w 10000"/>
                <a:gd name="connsiteY832" fmla="*/ 8256 h 10000"/>
                <a:gd name="connsiteX833" fmla="*/ 1139 w 10000"/>
                <a:gd name="connsiteY833" fmla="*/ 8249 h 10000"/>
                <a:gd name="connsiteX834" fmla="*/ 1126 w 10000"/>
                <a:gd name="connsiteY834" fmla="*/ 8240 h 10000"/>
                <a:gd name="connsiteX835" fmla="*/ 1114 w 10000"/>
                <a:gd name="connsiteY835" fmla="*/ 8240 h 10000"/>
                <a:gd name="connsiteX836" fmla="*/ 1091 w 10000"/>
                <a:gd name="connsiteY836" fmla="*/ 8242 h 10000"/>
                <a:gd name="connsiteX837" fmla="*/ 1071 w 10000"/>
                <a:gd name="connsiteY837" fmla="*/ 8252 h 10000"/>
                <a:gd name="connsiteX838" fmla="*/ 1048 w 10000"/>
                <a:gd name="connsiteY838" fmla="*/ 8261 h 10000"/>
                <a:gd name="connsiteX839" fmla="*/ 1030 w 10000"/>
                <a:gd name="connsiteY839" fmla="*/ 8273 h 10000"/>
                <a:gd name="connsiteX840" fmla="*/ 1010 w 10000"/>
                <a:gd name="connsiteY840" fmla="*/ 8287 h 10000"/>
                <a:gd name="connsiteX841" fmla="*/ 995 w 10000"/>
                <a:gd name="connsiteY841" fmla="*/ 8303 h 10000"/>
                <a:gd name="connsiteX842" fmla="*/ 975 w 10000"/>
                <a:gd name="connsiteY842" fmla="*/ 8322 h 10000"/>
                <a:gd name="connsiteX843" fmla="*/ 960 w 10000"/>
                <a:gd name="connsiteY843" fmla="*/ 8343 h 10000"/>
                <a:gd name="connsiteX844" fmla="*/ 927 w 10000"/>
                <a:gd name="connsiteY844" fmla="*/ 8380 h 10000"/>
                <a:gd name="connsiteX845" fmla="*/ 891 w 10000"/>
                <a:gd name="connsiteY845" fmla="*/ 8417 h 10000"/>
                <a:gd name="connsiteX846" fmla="*/ 874 w 10000"/>
                <a:gd name="connsiteY846" fmla="*/ 8436 h 10000"/>
                <a:gd name="connsiteX847" fmla="*/ 859 w 10000"/>
                <a:gd name="connsiteY847" fmla="*/ 8450 h 10000"/>
                <a:gd name="connsiteX848" fmla="*/ 838 w 10000"/>
                <a:gd name="connsiteY848" fmla="*/ 8462 h 10000"/>
                <a:gd name="connsiteX849" fmla="*/ 821 w 10000"/>
                <a:gd name="connsiteY849" fmla="*/ 8476 h 10000"/>
                <a:gd name="connsiteX850" fmla="*/ 742 w 10000"/>
                <a:gd name="connsiteY850" fmla="*/ 8562 h 10000"/>
                <a:gd name="connsiteX851" fmla="*/ 672 w 10000"/>
                <a:gd name="connsiteY851" fmla="*/ 8644 h 10000"/>
                <a:gd name="connsiteX852" fmla="*/ 639 w 10000"/>
                <a:gd name="connsiteY852" fmla="*/ 8684 h 10000"/>
                <a:gd name="connsiteX853" fmla="*/ 609 w 10000"/>
                <a:gd name="connsiteY853" fmla="*/ 8731 h 10000"/>
                <a:gd name="connsiteX854" fmla="*/ 583 w 10000"/>
                <a:gd name="connsiteY854" fmla="*/ 8777 h 10000"/>
                <a:gd name="connsiteX855" fmla="*/ 556 w 10000"/>
                <a:gd name="connsiteY855" fmla="*/ 8831 h 10000"/>
                <a:gd name="connsiteX856" fmla="*/ 545 w 10000"/>
                <a:gd name="connsiteY856" fmla="*/ 8852 h 10000"/>
                <a:gd name="connsiteX857" fmla="*/ 525 w 10000"/>
                <a:gd name="connsiteY857" fmla="*/ 8885 h 10000"/>
                <a:gd name="connsiteX858" fmla="*/ 503 w 10000"/>
                <a:gd name="connsiteY858" fmla="*/ 8925 h 10000"/>
                <a:gd name="connsiteX859" fmla="*/ 480 w 10000"/>
                <a:gd name="connsiteY859" fmla="*/ 8962 h 10000"/>
                <a:gd name="connsiteX860" fmla="*/ 465 w 10000"/>
                <a:gd name="connsiteY860" fmla="*/ 8981 h 10000"/>
                <a:gd name="connsiteX861" fmla="*/ 455 w 10000"/>
                <a:gd name="connsiteY861" fmla="*/ 8993 h 10000"/>
                <a:gd name="connsiteX862" fmla="*/ 444 w 10000"/>
                <a:gd name="connsiteY862" fmla="*/ 9000 h 10000"/>
                <a:gd name="connsiteX863" fmla="*/ 434 w 10000"/>
                <a:gd name="connsiteY863" fmla="*/ 9007 h 10000"/>
                <a:gd name="connsiteX864" fmla="*/ 432 w 10000"/>
                <a:gd name="connsiteY864" fmla="*/ 9007 h 10000"/>
                <a:gd name="connsiteX865" fmla="*/ 429 w 10000"/>
                <a:gd name="connsiteY865" fmla="*/ 9004 h 10000"/>
                <a:gd name="connsiteX866" fmla="*/ 427 w 10000"/>
                <a:gd name="connsiteY866" fmla="*/ 8997 h 10000"/>
                <a:gd name="connsiteX867" fmla="*/ 427 w 10000"/>
                <a:gd name="connsiteY867" fmla="*/ 8993 h 10000"/>
                <a:gd name="connsiteX868" fmla="*/ 424 w 10000"/>
                <a:gd name="connsiteY868" fmla="*/ 8976 h 10000"/>
                <a:gd name="connsiteX869" fmla="*/ 427 w 10000"/>
                <a:gd name="connsiteY869" fmla="*/ 8948 h 10000"/>
                <a:gd name="connsiteX870" fmla="*/ 437 w 10000"/>
                <a:gd name="connsiteY870" fmla="*/ 8913 h 10000"/>
                <a:gd name="connsiteX871" fmla="*/ 455 w 10000"/>
                <a:gd name="connsiteY871" fmla="*/ 8859 h 10000"/>
                <a:gd name="connsiteX872" fmla="*/ 462 w 10000"/>
                <a:gd name="connsiteY872" fmla="*/ 8834 h 10000"/>
                <a:gd name="connsiteX873" fmla="*/ 470 w 10000"/>
                <a:gd name="connsiteY873" fmla="*/ 8810 h 10000"/>
                <a:gd name="connsiteX874" fmla="*/ 472 w 10000"/>
                <a:gd name="connsiteY874" fmla="*/ 8794 h 10000"/>
                <a:gd name="connsiteX875" fmla="*/ 472 w 10000"/>
                <a:gd name="connsiteY875" fmla="*/ 8780 h 10000"/>
                <a:gd name="connsiteX876" fmla="*/ 462 w 10000"/>
                <a:gd name="connsiteY876" fmla="*/ 8784 h 10000"/>
                <a:gd name="connsiteX877" fmla="*/ 452 w 10000"/>
                <a:gd name="connsiteY877" fmla="*/ 8787 h 10000"/>
                <a:gd name="connsiteX878" fmla="*/ 437 w 10000"/>
                <a:gd name="connsiteY878" fmla="*/ 8794 h 10000"/>
                <a:gd name="connsiteX879" fmla="*/ 424 w 10000"/>
                <a:gd name="connsiteY879" fmla="*/ 8803 h 10000"/>
                <a:gd name="connsiteX880" fmla="*/ 394 w 10000"/>
                <a:gd name="connsiteY880" fmla="*/ 8829 h 10000"/>
                <a:gd name="connsiteX881" fmla="*/ 364 w 10000"/>
                <a:gd name="connsiteY881" fmla="*/ 8859 h 10000"/>
                <a:gd name="connsiteX882" fmla="*/ 311 w 10000"/>
                <a:gd name="connsiteY882" fmla="*/ 8922 h 10000"/>
                <a:gd name="connsiteX883" fmla="*/ 268 w 10000"/>
                <a:gd name="connsiteY883" fmla="*/ 8964 h 10000"/>
                <a:gd name="connsiteX884" fmla="*/ 205 w 10000"/>
                <a:gd name="connsiteY884" fmla="*/ 9016 h 10000"/>
                <a:gd name="connsiteX885" fmla="*/ 146 w 10000"/>
                <a:gd name="connsiteY885" fmla="*/ 9053 h 10000"/>
                <a:gd name="connsiteX886" fmla="*/ 139 w 10000"/>
                <a:gd name="connsiteY886" fmla="*/ 9063 h 10000"/>
                <a:gd name="connsiteX887" fmla="*/ 129 w 10000"/>
                <a:gd name="connsiteY887" fmla="*/ 9077 h 10000"/>
                <a:gd name="connsiteX888" fmla="*/ 126 w 10000"/>
                <a:gd name="connsiteY888" fmla="*/ 9086 h 10000"/>
                <a:gd name="connsiteX889" fmla="*/ 126 w 10000"/>
                <a:gd name="connsiteY889" fmla="*/ 9102 h 10000"/>
                <a:gd name="connsiteX890" fmla="*/ 129 w 10000"/>
                <a:gd name="connsiteY890" fmla="*/ 9116 h 10000"/>
                <a:gd name="connsiteX891" fmla="*/ 139 w 10000"/>
                <a:gd name="connsiteY891" fmla="*/ 9135 h 10000"/>
                <a:gd name="connsiteX892" fmla="*/ 149 w 10000"/>
                <a:gd name="connsiteY892" fmla="*/ 9151 h 10000"/>
                <a:gd name="connsiteX893" fmla="*/ 164 w 10000"/>
                <a:gd name="connsiteY893" fmla="*/ 9175 h 10000"/>
                <a:gd name="connsiteX894" fmla="*/ 184 w 10000"/>
                <a:gd name="connsiteY894" fmla="*/ 9196 h 10000"/>
                <a:gd name="connsiteX895" fmla="*/ 207 w 10000"/>
                <a:gd name="connsiteY895" fmla="*/ 9215 h 10000"/>
                <a:gd name="connsiteX896" fmla="*/ 227 w 10000"/>
                <a:gd name="connsiteY896" fmla="*/ 9233 h 10000"/>
                <a:gd name="connsiteX897" fmla="*/ 253 w 10000"/>
                <a:gd name="connsiteY897" fmla="*/ 9250 h 10000"/>
                <a:gd name="connsiteX898" fmla="*/ 303 w 10000"/>
                <a:gd name="connsiteY898" fmla="*/ 9282 h 10000"/>
                <a:gd name="connsiteX899" fmla="*/ 351 w 10000"/>
                <a:gd name="connsiteY899" fmla="*/ 9315 h 10000"/>
                <a:gd name="connsiteX900" fmla="*/ 414 w 10000"/>
                <a:gd name="connsiteY900" fmla="*/ 9364 h 10000"/>
                <a:gd name="connsiteX901" fmla="*/ 480 w 10000"/>
                <a:gd name="connsiteY901" fmla="*/ 9416 h 10000"/>
                <a:gd name="connsiteX902" fmla="*/ 513 w 10000"/>
                <a:gd name="connsiteY902" fmla="*/ 9437 h 10000"/>
                <a:gd name="connsiteX903" fmla="*/ 548 w 10000"/>
                <a:gd name="connsiteY903" fmla="*/ 9462 h 10000"/>
                <a:gd name="connsiteX904" fmla="*/ 581 w 10000"/>
                <a:gd name="connsiteY904" fmla="*/ 9483 h 10000"/>
                <a:gd name="connsiteX905" fmla="*/ 614 w 10000"/>
                <a:gd name="connsiteY905" fmla="*/ 9502 h 10000"/>
                <a:gd name="connsiteX906" fmla="*/ 641 w 10000"/>
                <a:gd name="connsiteY906" fmla="*/ 9525 h 10000"/>
                <a:gd name="connsiteX907" fmla="*/ 672 w 10000"/>
                <a:gd name="connsiteY907" fmla="*/ 9549 h 10000"/>
                <a:gd name="connsiteX908" fmla="*/ 702 w 10000"/>
                <a:gd name="connsiteY908" fmla="*/ 9568 h 10000"/>
                <a:gd name="connsiteX909" fmla="*/ 737 w 10000"/>
                <a:gd name="connsiteY909" fmla="*/ 9589 h 10000"/>
                <a:gd name="connsiteX910" fmla="*/ 770 w 10000"/>
                <a:gd name="connsiteY910" fmla="*/ 9605 h 10000"/>
                <a:gd name="connsiteX911" fmla="*/ 808 w 10000"/>
                <a:gd name="connsiteY911" fmla="*/ 9617 h 10000"/>
                <a:gd name="connsiteX912" fmla="*/ 843 w 10000"/>
                <a:gd name="connsiteY912" fmla="*/ 9624 h 10000"/>
                <a:gd name="connsiteX913" fmla="*/ 884 w 10000"/>
                <a:gd name="connsiteY913" fmla="*/ 9628 h 10000"/>
                <a:gd name="connsiteX914" fmla="*/ 902 w 10000"/>
                <a:gd name="connsiteY914" fmla="*/ 9628 h 10000"/>
                <a:gd name="connsiteX915" fmla="*/ 914 w 10000"/>
                <a:gd name="connsiteY915" fmla="*/ 9631 h 10000"/>
                <a:gd name="connsiteX916" fmla="*/ 932 w 10000"/>
                <a:gd name="connsiteY916" fmla="*/ 9638 h 10000"/>
                <a:gd name="connsiteX917" fmla="*/ 942 w 10000"/>
                <a:gd name="connsiteY917" fmla="*/ 9642 h 10000"/>
                <a:gd name="connsiteX918" fmla="*/ 967 w 10000"/>
                <a:gd name="connsiteY918" fmla="*/ 9652 h 10000"/>
                <a:gd name="connsiteX919" fmla="*/ 987 w 10000"/>
                <a:gd name="connsiteY919" fmla="*/ 9668 h 10000"/>
                <a:gd name="connsiteX920" fmla="*/ 1005 w 10000"/>
                <a:gd name="connsiteY920" fmla="*/ 9682 h 10000"/>
                <a:gd name="connsiteX921" fmla="*/ 1025 w 10000"/>
                <a:gd name="connsiteY921" fmla="*/ 9698 h 10000"/>
                <a:gd name="connsiteX922" fmla="*/ 1045 w 10000"/>
                <a:gd name="connsiteY922" fmla="*/ 9712 h 10000"/>
                <a:gd name="connsiteX923" fmla="*/ 1073 w 10000"/>
                <a:gd name="connsiteY923" fmla="*/ 9724 h 10000"/>
                <a:gd name="connsiteX924" fmla="*/ 1098 w 10000"/>
                <a:gd name="connsiteY924" fmla="*/ 9738 h 10000"/>
                <a:gd name="connsiteX925" fmla="*/ 1121 w 10000"/>
                <a:gd name="connsiteY925" fmla="*/ 9750 h 10000"/>
                <a:gd name="connsiteX926" fmla="*/ 1141 w 10000"/>
                <a:gd name="connsiteY926" fmla="*/ 9762 h 10000"/>
                <a:gd name="connsiteX927" fmla="*/ 1159 w 10000"/>
                <a:gd name="connsiteY927" fmla="*/ 9776 h 10000"/>
                <a:gd name="connsiteX928" fmla="*/ 1172 w 10000"/>
                <a:gd name="connsiteY928" fmla="*/ 9787 h 10000"/>
                <a:gd name="connsiteX929" fmla="*/ 1182 w 10000"/>
                <a:gd name="connsiteY929" fmla="*/ 9804 h 10000"/>
                <a:gd name="connsiteX930" fmla="*/ 1194 w 10000"/>
                <a:gd name="connsiteY930" fmla="*/ 9818 h 10000"/>
                <a:gd name="connsiteX931" fmla="*/ 1202 w 10000"/>
                <a:gd name="connsiteY931" fmla="*/ 9834 h 10000"/>
                <a:gd name="connsiteX932" fmla="*/ 1212 w 10000"/>
                <a:gd name="connsiteY932" fmla="*/ 9869 h 10000"/>
                <a:gd name="connsiteX933" fmla="*/ 1220 w 10000"/>
                <a:gd name="connsiteY933" fmla="*/ 9906 h 10000"/>
                <a:gd name="connsiteX934" fmla="*/ 1230 w 10000"/>
                <a:gd name="connsiteY934" fmla="*/ 9951 h 10000"/>
                <a:gd name="connsiteX935" fmla="*/ 1237 w 10000"/>
                <a:gd name="connsiteY935" fmla="*/ 10000 h 10000"/>
                <a:gd name="connsiteX936" fmla="*/ 1237 w 10000"/>
                <a:gd name="connsiteY93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419 w 10000"/>
                <a:gd name="connsiteY751" fmla="*/ 7686 h 10000"/>
                <a:gd name="connsiteX752" fmla="*/ 2361 w 10000"/>
                <a:gd name="connsiteY752" fmla="*/ 7669 h 10000"/>
                <a:gd name="connsiteX753" fmla="*/ 2295 w 10000"/>
                <a:gd name="connsiteY753" fmla="*/ 7651 h 10000"/>
                <a:gd name="connsiteX754" fmla="*/ 2283 w 10000"/>
                <a:gd name="connsiteY754" fmla="*/ 7644 h 10000"/>
                <a:gd name="connsiteX755" fmla="*/ 2265 w 10000"/>
                <a:gd name="connsiteY755" fmla="*/ 7641 h 10000"/>
                <a:gd name="connsiteX756" fmla="*/ 2253 w 10000"/>
                <a:gd name="connsiteY756" fmla="*/ 7641 h 10000"/>
                <a:gd name="connsiteX757" fmla="*/ 2235 w 10000"/>
                <a:gd name="connsiteY757" fmla="*/ 7641 h 10000"/>
                <a:gd name="connsiteX758" fmla="*/ 2222 w 10000"/>
                <a:gd name="connsiteY758" fmla="*/ 7648 h 10000"/>
                <a:gd name="connsiteX759" fmla="*/ 2212 w 10000"/>
                <a:gd name="connsiteY759" fmla="*/ 7653 h 10000"/>
                <a:gd name="connsiteX760" fmla="*/ 2199 w 10000"/>
                <a:gd name="connsiteY760" fmla="*/ 7660 h 10000"/>
                <a:gd name="connsiteX761" fmla="*/ 2189 w 10000"/>
                <a:gd name="connsiteY761" fmla="*/ 7669 h 10000"/>
                <a:gd name="connsiteX762" fmla="*/ 2182 w 10000"/>
                <a:gd name="connsiteY762" fmla="*/ 7688 h 10000"/>
                <a:gd name="connsiteX763" fmla="*/ 2172 w 10000"/>
                <a:gd name="connsiteY763" fmla="*/ 7714 h 10000"/>
                <a:gd name="connsiteX764" fmla="*/ 2167 w 10000"/>
                <a:gd name="connsiteY764" fmla="*/ 7742 h 10000"/>
                <a:gd name="connsiteX765" fmla="*/ 2162 w 10000"/>
                <a:gd name="connsiteY765" fmla="*/ 7775 h 10000"/>
                <a:gd name="connsiteX766" fmla="*/ 2159 w 10000"/>
                <a:gd name="connsiteY766" fmla="*/ 7833 h 10000"/>
                <a:gd name="connsiteX767" fmla="*/ 2157 w 10000"/>
                <a:gd name="connsiteY767" fmla="*/ 7882 h 10000"/>
                <a:gd name="connsiteX768" fmla="*/ 2157 w 10000"/>
                <a:gd name="connsiteY768" fmla="*/ 7938 h 10000"/>
                <a:gd name="connsiteX769" fmla="*/ 2159 w 10000"/>
                <a:gd name="connsiteY769" fmla="*/ 8006 h 10000"/>
                <a:gd name="connsiteX770" fmla="*/ 2162 w 10000"/>
                <a:gd name="connsiteY770" fmla="*/ 8079 h 10000"/>
                <a:gd name="connsiteX771" fmla="*/ 2159 w 10000"/>
                <a:gd name="connsiteY771" fmla="*/ 8156 h 10000"/>
                <a:gd name="connsiteX772" fmla="*/ 2157 w 10000"/>
                <a:gd name="connsiteY772" fmla="*/ 8193 h 10000"/>
                <a:gd name="connsiteX773" fmla="*/ 2154 w 10000"/>
                <a:gd name="connsiteY773" fmla="*/ 8228 h 10000"/>
                <a:gd name="connsiteX774" fmla="*/ 2146 w 10000"/>
                <a:gd name="connsiteY774" fmla="*/ 8261 h 10000"/>
                <a:gd name="connsiteX775" fmla="*/ 2136 w 10000"/>
                <a:gd name="connsiteY775" fmla="*/ 8291 h 10000"/>
                <a:gd name="connsiteX776" fmla="*/ 2124 w 10000"/>
                <a:gd name="connsiteY776" fmla="*/ 8319 h 10000"/>
                <a:gd name="connsiteX777" fmla="*/ 2109 w 10000"/>
                <a:gd name="connsiteY777" fmla="*/ 8345 h 10000"/>
                <a:gd name="connsiteX778" fmla="*/ 2098 w 10000"/>
                <a:gd name="connsiteY778" fmla="*/ 8354 h 10000"/>
                <a:gd name="connsiteX779" fmla="*/ 2088 w 10000"/>
                <a:gd name="connsiteY779" fmla="*/ 8364 h 10000"/>
                <a:gd name="connsiteX780" fmla="*/ 2078 w 10000"/>
                <a:gd name="connsiteY780" fmla="*/ 8373 h 10000"/>
                <a:gd name="connsiteX781" fmla="*/ 2063 w 10000"/>
                <a:gd name="connsiteY781" fmla="*/ 8380 h 10000"/>
                <a:gd name="connsiteX782" fmla="*/ 1990 w 10000"/>
                <a:gd name="connsiteY782" fmla="*/ 8422 h 10000"/>
                <a:gd name="connsiteX783" fmla="*/ 1904 w 10000"/>
                <a:gd name="connsiteY783" fmla="*/ 8481 h 10000"/>
                <a:gd name="connsiteX784" fmla="*/ 1856 w 10000"/>
                <a:gd name="connsiteY784" fmla="*/ 8506 h 10000"/>
                <a:gd name="connsiteX785" fmla="*/ 1816 w 10000"/>
                <a:gd name="connsiteY785" fmla="*/ 8527 h 10000"/>
                <a:gd name="connsiteX786" fmla="*/ 1793 w 10000"/>
                <a:gd name="connsiteY786" fmla="*/ 8539 h 10000"/>
                <a:gd name="connsiteX787" fmla="*/ 1775 w 10000"/>
                <a:gd name="connsiteY787" fmla="*/ 8546 h 10000"/>
                <a:gd name="connsiteX788" fmla="*/ 1758 w 10000"/>
                <a:gd name="connsiteY788" fmla="*/ 8548 h 10000"/>
                <a:gd name="connsiteX789" fmla="*/ 1742 w 10000"/>
                <a:gd name="connsiteY789" fmla="*/ 8551 h 10000"/>
                <a:gd name="connsiteX790" fmla="*/ 1727 w 10000"/>
                <a:gd name="connsiteY790" fmla="*/ 8537 h 10000"/>
                <a:gd name="connsiteX791" fmla="*/ 1717 w 10000"/>
                <a:gd name="connsiteY791" fmla="*/ 8518 h 10000"/>
                <a:gd name="connsiteX792" fmla="*/ 1710 w 10000"/>
                <a:gd name="connsiteY792" fmla="*/ 8499 h 10000"/>
                <a:gd name="connsiteX793" fmla="*/ 1702 w 10000"/>
                <a:gd name="connsiteY793" fmla="*/ 8476 h 10000"/>
                <a:gd name="connsiteX794" fmla="*/ 1684 w 10000"/>
                <a:gd name="connsiteY794" fmla="*/ 8429 h 10000"/>
                <a:gd name="connsiteX795" fmla="*/ 1674 w 10000"/>
                <a:gd name="connsiteY795" fmla="*/ 8380 h 10000"/>
                <a:gd name="connsiteX796" fmla="*/ 1667 w 10000"/>
                <a:gd name="connsiteY796" fmla="*/ 8329 h 10000"/>
                <a:gd name="connsiteX797" fmla="*/ 1659 w 10000"/>
                <a:gd name="connsiteY797" fmla="*/ 8282 h 10000"/>
                <a:gd name="connsiteX798" fmla="*/ 1657 w 10000"/>
                <a:gd name="connsiteY798" fmla="*/ 8235 h 10000"/>
                <a:gd name="connsiteX799" fmla="*/ 1657 w 10000"/>
                <a:gd name="connsiteY799" fmla="*/ 8195 h 10000"/>
                <a:gd name="connsiteX800" fmla="*/ 1652 w 10000"/>
                <a:gd name="connsiteY800" fmla="*/ 8191 h 10000"/>
                <a:gd name="connsiteX801" fmla="*/ 1586 w 10000"/>
                <a:gd name="connsiteY801" fmla="*/ 8188 h 10000"/>
                <a:gd name="connsiteX802" fmla="*/ 1525 w 10000"/>
                <a:gd name="connsiteY802" fmla="*/ 8186 h 10000"/>
                <a:gd name="connsiteX803" fmla="*/ 1500 w 10000"/>
                <a:gd name="connsiteY803" fmla="*/ 8191 h 10000"/>
                <a:gd name="connsiteX804" fmla="*/ 1472 w 10000"/>
                <a:gd name="connsiteY804" fmla="*/ 8198 h 10000"/>
                <a:gd name="connsiteX805" fmla="*/ 1457 w 10000"/>
                <a:gd name="connsiteY805" fmla="*/ 8205 h 10000"/>
                <a:gd name="connsiteX806" fmla="*/ 1444 w 10000"/>
                <a:gd name="connsiteY806" fmla="*/ 8212 h 10000"/>
                <a:gd name="connsiteX807" fmla="*/ 1434 w 10000"/>
                <a:gd name="connsiteY807" fmla="*/ 8223 h 10000"/>
                <a:gd name="connsiteX808" fmla="*/ 1419 w 10000"/>
                <a:gd name="connsiteY808" fmla="*/ 8233 h 10000"/>
                <a:gd name="connsiteX809" fmla="*/ 1412 w 10000"/>
                <a:gd name="connsiteY809" fmla="*/ 8247 h 10000"/>
                <a:gd name="connsiteX810" fmla="*/ 1402 w 10000"/>
                <a:gd name="connsiteY810" fmla="*/ 8261 h 10000"/>
                <a:gd name="connsiteX811" fmla="*/ 1394 w 10000"/>
                <a:gd name="connsiteY811" fmla="*/ 8275 h 10000"/>
                <a:gd name="connsiteX812" fmla="*/ 1386 w 10000"/>
                <a:gd name="connsiteY812" fmla="*/ 8294 h 10000"/>
                <a:gd name="connsiteX813" fmla="*/ 1374 w 10000"/>
                <a:gd name="connsiteY813" fmla="*/ 8331 h 10000"/>
                <a:gd name="connsiteX814" fmla="*/ 1361 w 10000"/>
                <a:gd name="connsiteY814" fmla="*/ 8368 h 10000"/>
                <a:gd name="connsiteX815" fmla="*/ 1354 w 10000"/>
                <a:gd name="connsiteY815" fmla="*/ 8387 h 10000"/>
                <a:gd name="connsiteX816" fmla="*/ 1346 w 10000"/>
                <a:gd name="connsiteY816" fmla="*/ 8406 h 10000"/>
                <a:gd name="connsiteX817" fmla="*/ 1338 w 10000"/>
                <a:gd name="connsiteY817" fmla="*/ 8420 h 10000"/>
                <a:gd name="connsiteX818" fmla="*/ 1328 w 10000"/>
                <a:gd name="connsiteY818" fmla="*/ 8436 h 10000"/>
                <a:gd name="connsiteX819" fmla="*/ 1316 w 10000"/>
                <a:gd name="connsiteY819" fmla="*/ 8446 h 10000"/>
                <a:gd name="connsiteX820" fmla="*/ 1306 w 10000"/>
                <a:gd name="connsiteY820" fmla="*/ 8453 h 10000"/>
                <a:gd name="connsiteX821" fmla="*/ 1293 w 10000"/>
                <a:gd name="connsiteY821" fmla="*/ 8460 h 10000"/>
                <a:gd name="connsiteX822" fmla="*/ 1275 w 10000"/>
                <a:gd name="connsiteY822" fmla="*/ 8460 h 10000"/>
                <a:gd name="connsiteX823" fmla="*/ 1265 w 10000"/>
                <a:gd name="connsiteY823" fmla="*/ 8450 h 10000"/>
                <a:gd name="connsiteX824" fmla="*/ 1258 w 10000"/>
                <a:gd name="connsiteY824" fmla="*/ 8441 h 10000"/>
                <a:gd name="connsiteX825" fmla="*/ 1245 w 10000"/>
                <a:gd name="connsiteY825" fmla="*/ 8424 h 10000"/>
                <a:gd name="connsiteX826" fmla="*/ 1237 w 10000"/>
                <a:gd name="connsiteY826" fmla="*/ 8408 h 10000"/>
                <a:gd name="connsiteX827" fmla="*/ 1217 w 10000"/>
                <a:gd name="connsiteY827" fmla="*/ 8373 h 10000"/>
                <a:gd name="connsiteX828" fmla="*/ 1202 w 10000"/>
                <a:gd name="connsiteY828" fmla="*/ 8333 h 10000"/>
                <a:gd name="connsiteX829" fmla="*/ 1182 w 10000"/>
                <a:gd name="connsiteY829" fmla="*/ 8296 h 10000"/>
                <a:gd name="connsiteX830" fmla="*/ 1162 w 10000"/>
                <a:gd name="connsiteY830" fmla="*/ 8268 h 10000"/>
                <a:gd name="connsiteX831" fmla="*/ 1149 w 10000"/>
                <a:gd name="connsiteY831" fmla="*/ 8256 h 10000"/>
                <a:gd name="connsiteX832" fmla="*/ 1139 w 10000"/>
                <a:gd name="connsiteY832" fmla="*/ 8249 h 10000"/>
                <a:gd name="connsiteX833" fmla="*/ 1126 w 10000"/>
                <a:gd name="connsiteY833" fmla="*/ 8240 h 10000"/>
                <a:gd name="connsiteX834" fmla="*/ 1114 w 10000"/>
                <a:gd name="connsiteY834" fmla="*/ 8240 h 10000"/>
                <a:gd name="connsiteX835" fmla="*/ 1091 w 10000"/>
                <a:gd name="connsiteY835" fmla="*/ 8242 h 10000"/>
                <a:gd name="connsiteX836" fmla="*/ 1071 w 10000"/>
                <a:gd name="connsiteY836" fmla="*/ 8252 h 10000"/>
                <a:gd name="connsiteX837" fmla="*/ 1048 w 10000"/>
                <a:gd name="connsiteY837" fmla="*/ 8261 h 10000"/>
                <a:gd name="connsiteX838" fmla="*/ 1030 w 10000"/>
                <a:gd name="connsiteY838" fmla="*/ 8273 h 10000"/>
                <a:gd name="connsiteX839" fmla="*/ 1010 w 10000"/>
                <a:gd name="connsiteY839" fmla="*/ 8287 h 10000"/>
                <a:gd name="connsiteX840" fmla="*/ 995 w 10000"/>
                <a:gd name="connsiteY840" fmla="*/ 8303 h 10000"/>
                <a:gd name="connsiteX841" fmla="*/ 975 w 10000"/>
                <a:gd name="connsiteY841" fmla="*/ 8322 h 10000"/>
                <a:gd name="connsiteX842" fmla="*/ 960 w 10000"/>
                <a:gd name="connsiteY842" fmla="*/ 8343 h 10000"/>
                <a:gd name="connsiteX843" fmla="*/ 927 w 10000"/>
                <a:gd name="connsiteY843" fmla="*/ 8380 h 10000"/>
                <a:gd name="connsiteX844" fmla="*/ 891 w 10000"/>
                <a:gd name="connsiteY844" fmla="*/ 8417 h 10000"/>
                <a:gd name="connsiteX845" fmla="*/ 874 w 10000"/>
                <a:gd name="connsiteY845" fmla="*/ 8436 h 10000"/>
                <a:gd name="connsiteX846" fmla="*/ 859 w 10000"/>
                <a:gd name="connsiteY846" fmla="*/ 8450 h 10000"/>
                <a:gd name="connsiteX847" fmla="*/ 838 w 10000"/>
                <a:gd name="connsiteY847" fmla="*/ 8462 h 10000"/>
                <a:gd name="connsiteX848" fmla="*/ 821 w 10000"/>
                <a:gd name="connsiteY848" fmla="*/ 8476 h 10000"/>
                <a:gd name="connsiteX849" fmla="*/ 742 w 10000"/>
                <a:gd name="connsiteY849" fmla="*/ 8562 h 10000"/>
                <a:gd name="connsiteX850" fmla="*/ 672 w 10000"/>
                <a:gd name="connsiteY850" fmla="*/ 8644 h 10000"/>
                <a:gd name="connsiteX851" fmla="*/ 639 w 10000"/>
                <a:gd name="connsiteY851" fmla="*/ 8684 h 10000"/>
                <a:gd name="connsiteX852" fmla="*/ 609 w 10000"/>
                <a:gd name="connsiteY852" fmla="*/ 8731 h 10000"/>
                <a:gd name="connsiteX853" fmla="*/ 583 w 10000"/>
                <a:gd name="connsiteY853" fmla="*/ 8777 h 10000"/>
                <a:gd name="connsiteX854" fmla="*/ 556 w 10000"/>
                <a:gd name="connsiteY854" fmla="*/ 8831 h 10000"/>
                <a:gd name="connsiteX855" fmla="*/ 545 w 10000"/>
                <a:gd name="connsiteY855" fmla="*/ 8852 h 10000"/>
                <a:gd name="connsiteX856" fmla="*/ 525 w 10000"/>
                <a:gd name="connsiteY856" fmla="*/ 8885 h 10000"/>
                <a:gd name="connsiteX857" fmla="*/ 503 w 10000"/>
                <a:gd name="connsiteY857" fmla="*/ 8925 h 10000"/>
                <a:gd name="connsiteX858" fmla="*/ 480 w 10000"/>
                <a:gd name="connsiteY858" fmla="*/ 8962 h 10000"/>
                <a:gd name="connsiteX859" fmla="*/ 465 w 10000"/>
                <a:gd name="connsiteY859" fmla="*/ 8981 h 10000"/>
                <a:gd name="connsiteX860" fmla="*/ 455 w 10000"/>
                <a:gd name="connsiteY860" fmla="*/ 8993 h 10000"/>
                <a:gd name="connsiteX861" fmla="*/ 444 w 10000"/>
                <a:gd name="connsiteY861" fmla="*/ 9000 h 10000"/>
                <a:gd name="connsiteX862" fmla="*/ 434 w 10000"/>
                <a:gd name="connsiteY862" fmla="*/ 9007 h 10000"/>
                <a:gd name="connsiteX863" fmla="*/ 432 w 10000"/>
                <a:gd name="connsiteY863" fmla="*/ 9007 h 10000"/>
                <a:gd name="connsiteX864" fmla="*/ 429 w 10000"/>
                <a:gd name="connsiteY864" fmla="*/ 9004 h 10000"/>
                <a:gd name="connsiteX865" fmla="*/ 427 w 10000"/>
                <a:gd name="connsiteY865" fmla="*/ 8997 h 10000"/>
                <a:gd name="connsiteX866" fmla="*/ 427 w 10000"/>
                <a:gd name="connsiteY866" fmla="*/ 8993 h 10000"/>
                <a:gd name="connsiteX867" fmla="*/ 424 w 10000"/>
                <a:gd name="connsiteY867" fmla="*/ 8976 h 10000"/>
                <a:gd name="connsiteX868" fmla="*/ 427 w 10000"/>
                <a:gd name="connsiteY868" fmla="*/ 8948 h 10000"/>
                <a:gd name="connsiteX869" fmla="*/ 437 w 10000"/>
                <a:gd name="connsiteY869" fmla="*/ 8913 h 10000"/>
                <a:gd name="connsiteX870" fmla="*/ 455 w 10000"/>
                <a:gd name="connsiteY870" fmla="*/ 8859 h 10000"/>
                <a:gd name="connsiteX871" fmla="*/ 462 w 10000"/>
                <a:gd name="connsiteY871" fmla="*/ 8834 h 10000"/>
                <a:gd name="connsiteX872" fmla="*/ 470 w 10000"/>
                <a:gd name="connsiteY872" fmla="*/ 8810 h 10000"/>
                <a:gd name="connsiteX873" fmla="*/ 472 w 10000"/>
                <a:gd name="connsiteY873" fmla="*/ 8794 h 10000"/>
                <a:gd name="connsiteX874" fmla="*/ 472 w 10000"/>
                <a:gd name="connsiteY874" fmla="*/ 8780 h 10000"/>
                <a:gd name="connsiteX875" fmla="*/ 462 w 10000"/>
                <a:gd name="connsiteY875" fmla="*/ 8784 h 10000"/>
                <a:gd name="connsiteX876" fmla="*/ 452 w 10000"/>
                <a:gd name="connsiteY876" fmla="*/ 8787 h 10000"/>
                <a:gd name="connsiteX877" fmla="*/ 437 w 10000"/>
                <a:gd name="connsiteY877" fmla="*/ 8794 h 10000"/>
                <a:gd name="connsiteX878" fmla="*/ 424 w 10000"/>
                <a:gd name="connsiteY878" fmla="*/ 8803 h 10000"/>
                <a:gd name="connsiteX879" fmla="*/ 394 w 10000"/>
                <a:gd name="connsiteY879" fmla="*/ 8829 h 10000"/>
                <a:gd name="connsiteX880" fmla="*/ 364 w 10000"/>
                <a:gd name="connsiteY880" fmla="*/ 8859 h 10000"/>
                <a:gd name="connsiteX881" fmla="*/ 311 w 10000"/>
                <a:gd name="connsiteY881" fmla="*/ 8922 h 10000"/>
                <a:gd name="connsiteX882" fmla="*/ 268 w 10000"/>
                <a:gd name="connsiteY882" fmla="*/ 8964 h 10000"/>
                <a:gd name="connsiteX883" fmla="*/ 205 w 10000"/>
                <a:gd name="connsiteY883" fmla="*/ 9016 h 10000"/>
                <a:gd name="connsiteX884" fmla="*/ 146 w 10000"/>
                <a:gd name="connsiteY884" fmla="*/ 9053 h 10000"/>
                <a:gd name="connsiteX885" fmla="*/ 139 w 10000"/>
                <a:gd name="connsiteY885" fmla="*/ 9063 h 10000"/>
                <a:gd name="connsiteX886" fmla="*/ 129 w 10000"/>
                <a:gd name="connsiteY886" fmla="*/ 9077 h 10000"/>
                <a:gd name="connsiteX887" fmla="*/ 126 w 10000"/>
                <a:gd name="connsiteY887" fmla="*/ 9086 h 10000"/>
                <a:gd name="connsiteX888" fmla="*/ 126 w 10000"/>
                <a:gd name="connsiteY888" fmla="*/ 9102 h 10000"/>
                <a:gd name="connsiteX889" fmla="*/ 129 w 10000"/>
                <a:gd name="connsiteY889" fmla="*/ 9116 h 10000"/>
                <a:gd name="connsiteX890" fmla="*/ 139 w 10000"/>
                <a:gd name="connsiteY890" fmla="*/ 9135 h 10000"/>
                <a:gd name="connsiteX891" fmla="*/ 149 w 10000"/>
                <a:gd name="connsiteY891" fmla="*/ 9151 h 10000"/>
                <a:gd name="connsiteX892" fmla="*/ 164 w 10000"/>
                <a:gd name="connsiteY892" fmla="*/ 9175 h 10000"/>
                <a:gd name="connsiteX893" fmla="*/ 184 w 10000"/>
                <a:gd name="connsiteY893" fmla="*/ 9196 h 10000"/>
                <a:gd name="connsiteX894" fmla="*/ 207 w 10000"/>
                <a:gd name="connsiteY894" fmla="*/ 9215 h 10000"/>
                <a:gd name="connsiteX895" fmla="*/ 227 w 10000"/>
                <a:gd name="connsiteY895" fmla="*/ 9233 h 10000"/>
                <a:gd name="connsiteX896" fmla="*/ 253 w 10000"/>
                <a:gd name="connsiteY896" fmla="*/ 9250 h 10000"/>
                <a:gd name="connsiteX897" fmla="*/ 303 w 10000"/>
                <a:gd name="connsiteY897" fmla="*/ 9282 h 10000"/>
                <a:gd name="connsiteX898" fmla="*/ 351 w 10000"/>
                <a:gd name="connsiteY898" fmla="*/ 9315 h 10000"/>
                <a:gd name="connsiteX899" fmla="*/ 414 w 10000"/>
                <a:gd name="connsiteY899" fmla="*/ 9364 h 10000"/>
                <a:gd name="connsiteX900" fmla="*/ 480 w 10000"/>
                <a:gd name="connsiteY900" fmla="*/ 9416 h 10000"/>
                <a:gd name="connsiteX901" fmla="*/ 513 w 10000"/>
                <a:gd name="connsiteY901" fmla="*/ 9437 h 10000"/>
                <a:gd name="connsiteX902" fmla="*/ 548 w 10000"/>
                <a:gd name="connsiteY902" fmla="*/ 9462 h 10000"/>
                <a:gd name="connsiteX903" fmla="*/ 581 w 10000"/>
                <a:gd name="connsiteY903" fmla="*/ 9483 h 10000"/>
                <a:gd name="connsiteX904" fmla="*/ 614 w 10000"/>
                <a:gd name="connsiteY904" fmla="*/ 9502 h 10000"/>
                <a:gd name="connsiteX905" fmla="*/ 641 w 10000"/>
                <a:gd name="connsiteY905" fmla="*/ 9525 h 10000"/>
                <a:gd name="connsiteX906" fmla="*/ 672 w 10000"/>
                <a:gd name="connsiteY906" fmla="*/ 9549 h 10000"/>
                <a:gd name="connsiteX907" fmla="*/ 702 w 10000"/>
                <a:gd name="connsiteY907" fmla="*/ 9568 h 10000"/>
                <a:gd name="connsiteX908" fmla="*/ 737 w 10000"/>
                <a:gd name="connsiteY908" fmla="*/ 9589 h 10000"/>
                <a:gd name="connsiteX909" fmla="*/ 770 w 10000"/>
                <a:gd name="connsiteY909" fmla="*/ 9605 h 10000"/>
                <a:gd name="connsiteX910" fmla="*/ 808 w 10000"/>
                <a:gd name="connsiteY910" fmla="*/ 9617 h 10000"/>
                <a:gd name="connsiteX911" fmla="*/ 843 w 10000"/>
                <a:gd name="connsiteY911" fmla="*/ 9624 h 10000"/>
                <a:gd name="connsiteX912" fmla="*/ 884 w 10000"/>
                <a:gd name="connsiteY912" fmla="*/ 9628 h 10000"/>
                <a:gd name="connsiteX913" fmla="*/ 902 w 10000"/>
                <a:gd name="connsiteY913" fmla="*/ 9628 h 10000"/>
                <a:gd name="connsiteX914" fmla="*/ 914 w 10000"/>
                <a:gd name="connsiteY914" fmla="*/ 9631 h 10000"/>
                <a:gd name="connsiteX915" fmla="*/ 932 w 10000"/>
                <a:gd name="connsiteY915" fmla="*/ 9638 h 10000"/>
                <a:gd name="connsiteX916" fmla="*/ 942 w 10000"/>
                <a:gd name="connsiteY916" fmla="*/ 9642 h 10000"/>
                <a:gd name="connsiteX917" fmla="*/ 967 w 10000"/>
                <a:gd name="connsiteY917" fmla="*/ 9652 h 10000"/>
                <a:gd name="connsiteX918" fmla="*/ 987 w 10000"/>
                <a:gd name="connsiteY918" fmla="*/ 9668 h 10000"/>
                <a:gd name="connsiteX919" fmla="*/ 1005 w 10000"/>
                <a:gd name="connsiteY919" fmla="*/ 9682 h 10000"/>
                <a:gd name="connsiteX920" fmla="*/ 1025 w 10000"/>
                <a:gd name="connsiteY920" fmla="*/ 9698 h 10000"/>
                <a:gd name="connsiteX921" fmla="*/ 1045 w 10000"/>
                <a:gd name="connsiteY921" fmla="*/ 9712 h 10000"/>
                <a:gd name="connsiteX922" fmla="*/ 1073 w 10000"/>
                <a:gd name="connsiteY922" fmla="*/ 9724 h 10000"/>
                <a:gd name="connsiteX923" fmla="*/ 1098 w 10000"/>
                <a:gd name="connsiteY923" fmla="*/ 9738 h 10000"/>
                <a:gd name="connsiteX924" fmla="*/ 1121 w 10000"/>
                <a:gd name="connsiteY924" fmla="*/ 9750 h 10000"/>
                <a:gd name="connsiteX925" fmla="*/ 1141 w 10000"/>
                <a:gd name="connsiteY925" fmla="*/ 9762 h 10000"/>
                <a:gd name="connsiteX926" fmla="*/ 1159 w 10000"/>
                <a:gd name="connsiteY926" fmla="*/ 9776 h 10000"/>
                <a:gd name="connsiteX927" fmla="*/ 1172 w 10000"/>
                <a:gd name="connsiteY927" fmla="*/ 9787 h 10000"/>
                <a:gd name="connsiteX928" fmla="*/ 1182 w 10000"/>
                <a:gd name="connsiteY928" fmla="*/ 9804 h 10000"/>
                <a:gd name="connsiteX929" fmla="*/ 1194 w 10000"/>
                <a:gd name="connsiteY929" fmla="*/ 9818 h 10000"/>
                <a:gd name="connsiteX930" fmla="*/ 1202 w 10000"/>
                <a:gd name="connsiteY930" fmla="*/ 9834 h 10000"/>
                <a:gd name="connsiteX931" fmla="*/ 1212 w 10000"/>
                <a:gd name="connsiteY931" fmla="*/ 9869 h 10000"/>
                <a:gd name="connsiteX932" fmla="*/ 1220 w 10000"/>
                <a:gd name="connsiteY932" fmla="*/ 9906 h 10000"/>
                <a:gd name="connsiteX933" fmla="*/ 1230 w 10000"/>
                <a:gd name="connsiteY933" fmla="*/ 9951 h 10000"/>
                <a:gd name="connsiteX934" fmla="*/ 1237 w 10000"/>
                <a:gd name="connsiteY934" fmla="*/ 10000 h 10000"/>
                <a:gd name="connsiteX935" fmla="*/ 1237 w 10000"/>
                <a:gd name="connsiteY93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222 w 10000"/>
                <a:gd name="connsiteY757" fmla="*/ 7648 h 10000"/>
                <a:gd name="connsiteX758" fmla="*/ 2212 w 10000"/>
                <a:gd name="connsiteY758" fmla="*/ 7653 h 10000"/>
                <a:gd name="connsiteX759" fmla="*/ 2199 w 10000"/>
                <a:gd name="connsiteY759" fmla="*/ 7660 h 10000"/>
                <a:gd name="connsiteX760" fmla="*/ 2189 w 10000"/>
                <a:gd name="connsiteY760" fmla="*/ 7669 h 10000"/>
                <a:gd name="connsiteX761" fmla="*/ 2182 w 10000"/>
                <a:gd name="connsiteY761" fmla="*/ 7688 h 10000"/>
                <a:gd name="connsiteX762" fmla="*/ 2172 w 10000"/>
                <a:gd name="connsiteY762" fmla="*/ 7714 h 10000"/>
                <a:gd name="connsiteX763" fmla="*/ 2167 w 10000"/>
                <a:gd name="connsiteY763" fmla="*/ 7742 h 10000"/>
                <a:gd name="connsiteX764" fmla="*/ 2162 w 10000"/>
                <a:gd name="connsiteY764" fmla="*/ 7775 h 10000"/>
                <a:gd name="connsiteX765" fmla="*/ 2159 w 10000"/>
                <a:gd name="connsiteY765" fmla="*/ 7833 h 10000"/>
                <a:gd name="connsiteX766" fmla="*/ 2157 w 10000"/>
                <a:gd name="connsiteY766" fmla="*/ 7882 h 10000"/>
                <a:gd name="connsiteX767" fmla="*/ 2157 w 10000"/>
                <a:gd name="connsiteY767" fmla="*/ 7938 h 10000"/>
                <a:gd name="connsiteX768" fmla="*/ 2159 w 10000"/>
                <a:gd name="connsiteY768" fmla="*/ 8006 h 10000"/>
                <a:gd name="connsiteX769" fmla="*/ 2162 w 10000"/>
                <a:gd name="connsiteY769" fmla="*/ 8079 h 10000"/>
                <a:gd name="connsiteX770" fmla="*/ 2159 w 10000"/>
                <a:gd name="connsiteY770" fmla="*/ 8156 h 10000"/>
                <a:gd name="connsiteX771" fmla="*/ 2157 w 10000"/>
                <a:gd name="connsiteY771" fmla="*/ 8193 h 10000"/>
                <a:gd name="connsiteX772" fmla="*/ 2154 w 10000"/>
                <a:gd name="connsiteY772" fmla="*/ 8228 h 10000"/>
                <a:gd name="connsiteX773" fmla="*/ 2146 w 10000"/>
                <a:gd name="connsiteY773" fmla="*/ 8261 h 10000"/>
                <a:gd name="connsiteX774" fmla="*/ 2136 w 10000"/>
                <a:gd name="connsiteY774" fmla="*/ 8291 h 10000"/>
                <a:gd name="connsiteX775" fmla="*/ 2124 w 10000"/>
                <a:gd name="connsiteY775" fmla="*/ 8319 h 10000"/>
                <a:gd name="connsiteX776" fmla="*/ 2109 w 10000"/>
                <a:gd name="connsiteY776" fmla="*/ 8345 h 10000"/>
                <a:gd name="connsiteX777" fmla="*/ 2098 w 10000"/>
                <a:gd name="connsiteY777" fmla="*/ 8354 h 10000"/>
                <a:gd name="connsiteX778" fmla="*/ 2088 w 10000"/>
                <a:gd name="connsiteY778" fmla="*/ 8364 h 10000"/>
                <a:gd name="connsiteX779" fmla="*/ 2078 w 10000"/>
                <a:gd name="connsiteY779" fmla="*/ 8373 h 10000"/>
                <a:gd name="connsiteX780" fmla="*/ 2063 w 10000"/>
                <a:gd name="connsiteY780" fmla="*/ 8380 h 10000"/>
                <a:gd name="connsiteX781" fmla="*/ 1990 w 10000"/>
                <a:gd name="connsiteY781" fmla="*/ 8422 h 10000"/>
                <a:gd name="connsiteX782" fmla="*/ 1904 w 10000"/>
                <a:gd name="connsiteY782" fmla="*/ 8481 h 10000"/>
                <a:gd name="connsiteX783" fmla="*/ 1856 w 10000"/>
                <a:gd name="connsiteY783" fmla="*/ 8506 h 10000"/>
                <a:gd name="connsiteX784" fmla="*/ 1816 w 10000"/>
                <a:gd name="connsiteY784" fmla="*/ 8527 h 10000"/>
                <a:gd name="connsiteX785" fmla="*/ 1793 w 10000"/>
                <a:gd name="connsiteY785" fmla="*/ 8539 h 10000"/>
                <a:gd name="connsiteX786" fmla="*/ 1775 w 10000"/>
                <a:gd name="connsiteY786" fmla="*/ 8546 h 10000"/>
                <a:gd name="connsiteX787" fmla="*/ 1758 w 10000"/>
                <a:gd name="connsiteY787" fmla="*/ 8548 h 10000"/>
                <a:gd name="connsiteX788" fmla="*/ 1742 w 10000"/>
                <a:gd name="connsiteY788" fmla="*/ 8551 h 10000"/>
                <a:gd name="connsiteX789" fmla="*/ 1727 w 10000"/>
                <a:gd name="connsiteY789" fmla="*/ 8537 h 10000"/>
                <a:gd name="connsiteX790" fmla="*/ 1717 w 10000"/>
                <a:gd name="connsiteY790" fmla="*/ 8518 h 10000"/>
                <a:gd name="connsiteX791" fmla="*/ 1710 w 10000"/>
                <a:gd name="connsiteY791" fmla="*/ 8499 h 10000"/>
                <a:gd name="connsiteX792" fmla="*/ 1702 w 10000"/>
                <a:gd name="connsiteY792" fmla="*/ 8476 h 10000"/>
                <a:gd name="connsiteX793" fmla="*/ 1684 w 10000"/>
                <a:gd name="connsiteY793" fmla="*/ 8429 h 10000"/>
                <a:gd name="connsiteX794" fmla="*/ 1674 w 10000"/>
                <a:gd name="connsiteY794" fmla="*/ 8380 h 10000"/>
                <a:gd name="connsiteX795" fmla="*/ 1667 w 10000"/>
                <a:gd name="connsiteY795" fmla="*/ 8329 h 10000"/>
                <a:gd name="connsiteX796" fmla="*/ 1659 w 10000"/>
                <a:gd name="connsiteY796" fmla="*/ 8282 h 10000"/>
                <a:gd name="connsiteX797" fmla="*/ 1657 w 10000"/>
                <a:gd name="connsiteY797" fmla="*/ 8235 h 10000"/>
                <a:gd name="connsiteX798" fmla="*/ 1657 w 10000"/>
                <a:gd name="connsiteY798" fmla="*/ 8195 h 10000"/>
                <a:gd name="connsiteX799" fmla="*/ 1652 w 10000"/>
                <a:gd name="connsiteY799" fmla="*/ 8191 h 10000"/>
                <a:gd name="connsiteX800" fmla="*/ 1586 w 10000"/>
                <a:gd name="connsiteY800" fmla="*/ 8188 h 10000"/>
                <a:gd name="connsiteX801" fmla="*/ 1525 w 10000"/>
                <a:gd name="connsiteY801" fmla="*/ 8186 h 10000"/>
                <a:gd name="connsiteX802" fmla="*/ 1500 w 10000"/>
                <a:gd name="connsiteY802" fmla="*/ 8191 h 10000"/>
                <a:gd name="connsiteX803" fmla="*/ 1472 w 10000"/>
                <a:gd name="connsiteY803" fmla="*/ 8198 h 10000"/>
                <a:gd name="connsiteX804" fmla="*/ 1457 w 10000"/>
                <a:gd name="connsiteY804" fmla="*/ 8205 h 10000"/>
                <a:gd name="connsiteX805" fmla="*/ 1444 w 10000"/>
                <a:gd name="connsiteY805" fmla="*/ 8212 h 10000"/>
                <a:gd name="connsiteX806" fmla="*/ 1434 w 10000"/>
                <a:gd name="connsiteY806" fmla="*/ 8223 h 10000"/>
                <a:gd name="connsiteX807" fmla="*/ 1419 w 10000"/>
                <a:gd name="connsiteY807" fmla="*/ 8233 h 10000"/>
                <a:gd name="connsiteX808" fmla="*/ 1412 w 10000"/>
                <a:gd name="connsiteY808" fmla="*/ 8247 h 10000"/>
                <a:gd name="connsiteX809" fmla="*/ 1402 w 10000"/>
                <a:gd name="connsiteY809" fmla="*/ 8261 h 10000"/>
                <a:gd name="connsiteX810" fmla="*/ 1394 w 10000"/>
                <a:gd name="connsiteY810" fmla="*/ 8275 h 10000"/>
                <a:gd name="connsiteX811" fmla="*/ 1386 w 10000"/>
                <a:gd name="connsiteY811" fmla="*/ 8294 h 10000"/>
                <a:gd name="connsiteX812" fmla="*/ 1374 w 10000"/>
                <a:gd name="connsiteY812" fmla="*/ 8331 h 10000"/>
                <a:gd name="connsiteX813" fmla="*/ 1361 w 10000"/>
                <a:gd name="connsiteY813" fmla="*/ 8368 h 10000"/>
                <a:gd name="connsiteX814" fmla="*/ 1354 w 10000"/>
                <a:gd name="connsiteY814" fmla="*/ 8387 h 10000"/>
                <a:gd name="connsiteX815" fmla="*/ 1346 w 10000"/>
                <a:gd name="connsiteY815" fmla="*/ 8406 h 10000"/>
                <a:gd name="connsiteX816" fmla="*/ 1338 w 10000"/>
                <a:gd name="connsiteY816" fmla="*/ 8420 h 10000"/>
                <a:gd name="connsiteX817" fmla="*/ 1328 w 10000"/>
                <a:gd name="connsiteY817" fmla="*/ 8436 h 10000"/>
                <a:gd name="connsiteX818" fmla="*/ 1316 w 10000"/>
                <a:gd name="connsiteY818" fmla="*/ 8446 h 10000"/>
                <a:gd name="connsiteX819" fmla="*/ 1306 w 10000"/>
                <a:gd name="connsiteY819" fmla="*/ 8453 h 10000"/>
                <a:gd name="connsiteX820" fmla="*/ 1293 w 10000"/>
                <a:gd name="connsiteY820" fmla="*/ 8460 h 10000"/>
                <a:gd name="connsiteX821" fmla="*/ 1275 w 10000"/>
                <a:gd name="connsiteY821" fmla="*/ 8460 h 10000"/>
                <a:gd name="connsiteX822" fmla="*/ 1265 w 10000"/>
                <a:gd name="connsiteY822" fmla="*/ 8450 h 10000"/>
                <a:gd name="connsiteX823" fmla="*/ 1258 w 10000"/>
                <a:gd name="connsiteY823" fmla="*/ 8441 h 10000"/>
                <a:gd name="connsiteX824" fmla="*/ 1245 w 10000"/>
                <a:gd name="connsiteY824" fmla="*/ 8424 h 10000"/>
                <a:gd name="connsiteX825" fmla="*/ 1237 w 10000"/>
                <a:gd name="connsiteY825" fmla="*/ 8408 h 10000"/>
                <a:gd name="connsiteX826" fmla="*/ 1217 w 10000"/>
                <a:gd name="connsiteY826" fmla="*/ 8373 h 10000"/>
                <a:gd name="connsiteX827" fmla="*/ 1202 w 10000"/>
                <a:gd name="connsiteY827" fmla="*/ 8333 h 10000"/>
                <a:gd name="connsiteX828" fmla="*/ 1182 w 10000"/>
                <a:gd name="connsiteY828" fmla="*/ 8296 h 10000"/>
                <a:gd name="connsiteX829" fmla="*/ 1162 w 10000"/>
                <a:gd name="connsiteY829" fmla="*/ 8268 h 10000"/>
                <a:gd name="connsiteX830" fmla="*/ 1149 w 10000"/>
                <a:gd name="connsiteY830" fmla="*/ 8256 h 10000"/>
                <a:gd name="connsiteX831" fmla="*/ 1139 w 10000"/>
                <a:gd name="connsiteY831" fmla="*/ 8249 h 10000"/>
                <a:gd name="connsiteX832" fmla="*/ 1126 w 10000"/>
                <a:gd name="connsiteY832" fmla="*/ 8240 h 10000"/>
                <a:gd name="connsiteX833" fmla="*/ 1114 w 10000"/>
                <a:gd name="connsiteY833" fmla="*/ 8240 h 10000"/>
                <a:gd name="connsiteX834" fmla="*/ 1091 w 10000"/>
                <a:gd name="connsiteY834" fmla="*/ 8242 h 10000"/>
                <a:gd name="connsiteX835" fmla="*/ 1071 w 10000"/>
                <a:gd name="connsiteY835" fmla="*/ 8252 h 10000"/>
                <a:gd name="connsiteX836" fmla="*/ 1048 w 10000"/>
                <a:gd name="connsiteY836" fmla="*/ 8261 h 10000"/>
                <a:gd name="connsiteX837" fmla="*/ 1030 w 10000"/>
                <a:gd name="connsiteY837" fmla="*/ 8273 h 10000"/>
                <a:gd name="connsiteX838" fmla="*/ 1010 w 10000"/>
                <a:gd name="connsiteY838" fmla="*/ 8287 h 10000"/>
                <a:gd name="connsiteX839" fmla="*/ 995 w 10000"/>
                <a:gd name="connsiteY839" fmla="*/ 8303 h 10000"/>
                <a:gd name="connsiteX840" fmla="*/ 975 w 10000"/>
                <a:gd name="connsiteY840" fmla="*/ 8322 h 10000"/>
                <a:gd name="connsiteX841" fmla="*/ 960 w 10000"/>
                <a:gd name="connsiteY841" fmla="*/ 8343 h 10000"/>
                <a:gd name="connsiteX842" fmla="*/ 927 w 10000"/>
                <a:gd name="connsiteY842" fmla="*/ 8380 h 10000"/>
                <a:gd name="connsiteX843" fmla="*/ 891 w 10000"/>
                <a:gd name="connsiteY843" fmla="*/ 8417 h 10000"/>
                <a:gd name="connsiteX844" fmla="*/ 874 w 10000"/>
                <a:gd name="connsiteY844" fmla="*/ 8436 h 10000"/>
                <a:gd name="connsiteX845" fmla="*/ 859 w 10000"/>
                <a:gd name="connsiteY845" fmla="*/ 8450 h 10000"/>
                <a:gd name="connsiteX846" fmla="*/ 838 w 10000"/>
                <a:gd name="connsiteY846" fmla="*/ 8462 h 10000"/>
                <a:gd name="connsiteX847" fmla="*/ 821 w 10000"/>
                <a:gd name="connsiteY847" fmla="*/ 8476 h 10000"/>
                <a:gd name="connsiteX848" fmla="*/ 742 w 10000"/>
                <a:gd name="connsiteY848" fmla="*/ 8562 h 10000"/>
                <a:gd name="connsiteX849" fmla="*/ 672 w 10000"/>
                <a:gd name="connsiteY849" fmla="*/ 8644 h 10000"/>
                <a:gd name="connsiteX850" fmla="*/ 639 w 10000"/>
                <a:gd name="connsiteY850" fmla="*/ 8684 h 10000"/>
                <a:gd name="connsiteX851" fmla="*/ 609 w 10000"/>
                <a:gd name="connsiteY851" fmla="*/ 8731 h 10000"/>
                <a:gd name="connsiteX852" fmla="*/ 583 w 10000"/>
                <a:gd name="connsiteY852" fmla="*/ 8777 h 10000"/>
                <a:gd name="connsiteX853" fmla="*/ 556 w 10000"/>
                <a:gd name="connsiteY853" fmla="*/ 8831 h 10000"/>
                <a:gd name="connsiteX854" fmla="*/ 545 w 10000"/>
                <a:gd name="connsiteY854" fmla="*/ 8852 h 10000"/>
                <a:gd name="connsiteX855" fmla="*/ 525 w 10000"/>
                <a:gd name="connsiteY855" fmla="*/ 8885 h 10000"/>
                <a:gd name="connsiteX856" fmla="*/ 503 w 10000"/>
                <a:gd name="connsiteY856" fmla="*/ 8925 h 10000"/>
                <a:gd name="connsiteX857" fmla="*/ 480 w 10000"/>
                <a:gd name="connsiteY857" fmla="*/ 8962 h 10000"/>
                <a:gd name="connsiteX858" fmla="*/ 465 w 10000"/>
                <a:gd name="connsiteY858" fmla="*/ 8981 h 10000"/>
                <a:gd name="connsiteX859" fmla="*/ 455 w 10000"/>
                <a:gd name="connsiteY859" fmla="*/ 8993 h 10000"/>
                <a:gd name="connsiteX860" fmla="*/ 444 w 10000"/>
                <a:gd name="connsiteY860" fmla="*/ 9000 h 10000"/>
                <a:gd name="connsiteX861" fmla="*/ 434 w 10000"/>
                <a:gd name="connsiteY861" fmla="*/ 9007 h 10000"/>
                <a:gd name="connsiteX862" fmla="*/ 432 w 10000"/>
                <a:gd name="connsiteY862" fmla="*/ 9007 h 10000"/>
                <a:gd name="connsiteX863" fmla="*/ 429 w 10000"/>
                <a:gd name="connsiteY863" fmla="*/ 9004 h 10000"/>
                <a:gd name="connsiteX864" fmla="*/ 427 w 10000"/>
                <a:gd name="connsiteY864" fmla="*/ 8997 h 10000"/>
                <a:gd name="connsiteX865" fmla="*/ 427 w 10000"/>
                <a:gd name="connsiteY865" fmla="*/ 8993 h 10000"/>
                <a:gd name="connsiteX866" fmla="*/ 424 w 10000"/>
                <a:gd name="connsiteY866" fmla="*/ 8976 h 10000"/>
                <a:gd name="connsiteX867" fmla="*/ 427 w 10000"/>
                <a:gd name="connsiteY867" fmla="*/ 8948 h 10000"/>
                <a:gd name="connsiteX868" fmla="*/ 437 w 10000"/>
                <a:gd name="connsiteY868" fmla="*/ 8913 h 10000"/>
                <a:gd name="connsiteX869" fmla="*/ 455 w 10000"/>
                <a:gd name="connsiteY869" fmla="*/ 8859 h 10000"/>
                <a:gd name="connsiteX870" fmla="*/ 462 w 10000"/>
                <a:gd name="connsiteY870" fmla="*/ 8834 h 10000"/>
                <a:gd name="connsiteX871" fmla="*/ 470 w 10000"/>
                <a:gd name="connsiteY871" fmla="*/ 8810 h 10000"/>
                <a:gd name="connsiteX872" fmla="*/ 472 w 10000"/>
                <a:gd name="connsiteY872" fmla="*/ 8794 h 10000"/>
                <a:gd name="connsiteX873" fmla="*/ 472 w 10000"/>
                <a:gd name="connsiteY873" fmla="*/ 8780 h 10000"/>
                <a:gd name="connsiteX874" fmla="*/ 462 w 10000"/>
                <a:gd name="connsiteY874" fmla="*/ 8784 h 10000"/>
                <a:gd name="connsiteX875" fmla="*/ 452 w 10000"/>
                <a:gd name="connsiteY875" fmla="*/ 8787 h 10000"/>
                <a:gd name="connsiteX876" fmla="*/ 437 w 10000"/>
                <a:gd name="connsiteY876" fmla="*/ 8794 h 10000"/>
                <a:gd name="connsiteX877" fmla="*/ 424 w 10000"/>
                <a:gd name="connsiteY877" fmla="*/ 8803 h 10000"/>
                <a:gd name="connsiteX878" fmla="*/ 394 w 10000"/>
                <a:gd name="connsiteY878" fmla="*/ 8829 h 10000"/>
                <a:gd name="connsiteX879" fmla="*/ 364 w 10000"/>
                <a:gd name="connsiteY879" fmla="*/ 8859 h 10000"/>
                <a:gd name="connsiteX880" fmla="*/ 311 w 10000"/>
                <a:gd name="connsiteY880" fmla="*/ 8922 h 10000"/>
                <a:gd name="connsiteX881" fmla="*/ 268 w 10000"/>
                <a:gd name="connsiteY881" fmla="*/ 8964 h 10000"/>
                <a:gd name="connsiteX882" fmla="*/ 205 w 10000"/>
                <a:gd name="connsiteY882" fmla="*/ 9016 h 10000"/>
                <a:gd name="connsiteX883" fmla="*/ 146 w 10000"/>
                <a:gd name="connsiteY883" fmla="*/ 9053 h 10000"/>
                <a:gd name="connsiteX884" fmla="*/ 139 w 10000"/>
                <a:gd name="connsiteY884" fmla="*/ 9063 h 10000"/>
                <a:gd name="connsiteX885" fmla="*/ 129 w 10000"/>
                <a:gd name="connsiteY885" fmla="*/ 9077 h 10000"/>
                <a:gd name="connsiteX886" fmla="*/ 126 w 10000"/>
                <a:gd name="connsiteY886" fmla="*/ 9086 h 10000"/>
                <a:gd name="connsiteX887" fmla="*/ 126 w 10000"/>
                <a:gd name="connsiteY887" fmla="*/ 9102 h 10000"/>
                <a:gd name="connsiteX888" fmla="*/ 129 w 10000"/>
                <a:gd name="connsiteY888" fmla="*/ 9116 h 10000"/>
                <a:gd name="connsiteX889" fmla="*/ 139 w 10000"/>
                <a:gd name="connsiteY889" fmla="*/ 9135 h 10000"/>
                <a:gd name="connsiteX890" fmla="*/ 149 w 10000"/>
                <a:gd name="connsiteY890" fmla="*/ 9151 h 10000"/>
                <a:gd name="connsiteX891" fmla="*/ 164 w 10000"/>
                <a:gd name="connsiteY891" fmla="*/ 9175 h 10000"/>
                <a:gd name="connsiteX892" fmla="*/ 184 w 10000"/>
                <a:gd name="connsiteY892" fmla="*/ 9196 h 10000"/>
                <a:gd name="connsiteX893" fmla="*/ 207 w 10000"/>
                <a:gd name="connsiteY893" fmla="*/ 9215 h 10000"/>
                <a:gd name="connsiteX894" fmla="*/ 227 w 10000"/>
                <a:gd name="connsiteY894" fmla="*/ 9233 h 10000"/>
                <a:gd name="connsiteX895" fmla="*/ 253 w 10000"/>
                <a:gd name="connsiteY895" fmla="*/ 9250 h 10000"/>
                <a:gd name="connsiteX896" fmla="*/ 303 w 10000"/>
                <a:gd name="connsiteY896" fmla="*/ 9282 h 10000"/>
                <a:gd name="connsiteX897" fmla="*/ 351 w 10000"/>
                <a:gd name="connsiteY897" fmla="*/ 9315 h 10000"/>
                <a:gd name="connsiteX898" fmla="*/ 414 w 10000"/>
                <a:gd name="connsiteY898" fmla="*/ 9364 h 10000"/>
                <a:gd name="connsiteX899" fmla="*/ 480 w 10000"/>
                <a:gd name="connsiteY899" fmla="*/ 9416 h 10000"/>
                <a:gd name="connsiteX900" fmla="*/ 513 w 10000"/>
                <a:gd name="connsiteY900" fmla="*/ 9437 h 10000"/>
                <a:gd name="connsiteX901" fmla="*/ 548 w 10000"/>
                <a:gd name="connsiteY901" fmla="*/ 9462 h 10000"/>
                <a:gd name="connsiteX902" fmla="*/ 581 w 10000"/>
                <a:gd name="connsiteY902" fmla="*/ 9483 h 10000"/>
                <a:gd name="connsiteX903" fmla="*/ 614 w 10000"/>
                <a:gd name="connsiteY903" fmla="*/ 9502 h 10000"/>
                <a:gd name="connsiteX904" fmla="*/ 641 w 10000"/>
                <a:gd name="connsiteY904" fmla="*/ 9525 h 10000"/>
                <a:gd name="connsiteX905" fmla="*/ 672 w 10000"/>
                <a:gd name="connsiteY905" fmla="*/ 9549 h 10000"/>
                <a:gd name="connsiteX906" fmla="*/ 702 w 10000"/>
                <a:gd name="connsiteY906" fmla="*/ 9568 h 10000"/>
                <a:gd name="connsiteX907" fmla="*/ 737 w 10000"/>
                <a:gd name="connsiteY907" fmla="*/ 9589 h 10000"/>
                <a:gd name="connsiteX908" fmla="*/ 770 w 10000"/>
                <a:gd name="connsiteY908" fmla="*/ 9605 h 10000"/>
                <a:gd name="connsiteX909" fmla="*/ 808 w 10000"/>
                <a:gd name="connsiteY909" fmla="*/ 9617 h 10000"/>
                <a:gd name="connsiteX910" fmla="*/ 843 w 10000"/>
                <a:gd name="connsiteY910" fmla="*/ 9624 h 10000"/>
                <a:gd name="connsiteX911" fmla="*/ 884 w 10000"/>
                <a:gd name="connsiteY911" fmla="*/ 9628 h 10000"/>
                <a:gd name="connsiteX912" fmla="*/ 902 w 10000"/>
                <a:gd name="connsiteY912" fmla="*/ 9628 h 10000"/>
                <a:gd name="connsiteX913" fmla="*/ 914 w 10000"/>
                <a:gd name="connsiteY913" fmla="*/ 9631 h 10000"/>
                <a:gd name="connsiteX914" fmla="*/ 932 w 10000"/>
                <a:gd name="connsiteY914" fmla="*/ 9638 h 10000"/>
                <a:gd name="connsiteX915" fmla="*/ 942 w 10000"/>
                <a:gd name="connsiteY915" fmla="*/ 9642 h 10000"/>
                <a:gd name="connsiteX916" fmla="*/ 967 w 10000"/>
                <a:gd name="connsiteY916" fmla="*/ 9652 h 10000"/>
                <a:gd name="connsiteX917" fmla="*/ 987 w 10000"/>
                <a:gd name="connsiteY917" fmla="*/ 9668 h 10000"/>
                <a:gd name="connsiteX918" fmla="*/ 1005 w 10000"/>
                <a:gd name="connsiteY918" fmla="*/ 9682 h 10000"/>
                <a:gd name="connsiteX919" fmla="*/ 1025 w 10000"/>
                <a:gd name="connsiteY919" fmla="*/ 9698 h 10000"/>
                <a:gd name="connsiteX920" fmla="*/ 1045 w 10000"/>
                <a:gd name="connsiteY920" fmla="*/ 9712 h 10000"/>
                <a:gd name="connsiteX921" fmla="*/ 1073 w 10000"/>
                <a:gd name="connsiteY921" fmla="*/ 9724 h 10000"/>
                <a:gd name="connsiteX922" fmla="*/ 1098 w 10000"/>
                <a:gd name="connsiteY922" fmla="*/ 9738 h 10000"/>
                <a:gd name="connsiteX923" fmla="*/ 1121 w 10000"/>
                <a:gd name="connsiteY923" fmla="*/ 9750 h 10000"/>
                <a:gd name="connsiteX924" fmla="*/ 1141 w 10000"/>
                <a:gd name="connsiteY924" fmla="*/ 9762 h 10000"/>
                <a:gd name="connsiteX925" fmla="*/ 1159 w 10000"/>
                <a:gd name="connsiteY925" fmla="*/ 9776 h 10000"/>
                <a:gd name="connsiteX926" fmla="*/ 1172 w 10000"/>
                <a:gd name="connsiteY926" fmla="*/ 9787 h 10000"/>
                <a:gd name="connsiteX927" fmla="*/ 1182 w 10000"/>
                <a:gd name="connsiteY927" fmla="*/ 9804 h 10000"/>
                <a:gd name="connsiteX928" fmla="*/ 1194 w 10000"/>
                <a:gd name="connsiteY928" fmla="*/ 9818 h 10000"/>
                <a:gd name="connsiteX929" fmla="*/ 1202 w 10000"/>
                <a:gd name="connsiteY929" fmla="*/ 9834 h 10000"/>
                <a:gd name="connsiteX930" fmla="*/ 1212 w 10000"/>
                <a:gd name="connsiteY930" fmla="*/ 9869 h 10000"/>
                <a:gd name="connsiteX931" fmla="*/ 1220 w 10000"/>
                <a:gd name="connsiteY931" fmla="*/ 9906 h 10000"/>
                <a:gd name="connsiteX932" fmla="*/ 1230 w 10000"/>
                <a:gd name="connsiteY932" fmla="*/ 9951 h 10000"/>
                <a:gd name="connsiteX933" fmla="*/ 1237 w 10000"/>
                <a:gd name="connsiteY933" fmla="*/ 10000 h 10000"/>
                <a:gd name="connsiteX934" fmla="*/ 1237 w 10000"/>
                <a:gd name="connsiteY93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212 w 10000"/>
                <a:gd name="connsiteY757" fmla="*/ 7653 h 10000"/>
                <a:gd name="connsiteX758" fmla="*/ 2199 w 10000"/>
                <a:gd name="connsiteY758" fmla="*/ 7660 h 10000"/>
                <a:gd name="connsiteX759" fmla="*/ 2189 w 10000"/>
                <a:gd name="connsiteY759" fmla="*/ 7669 h 10000"/>
                <a:gd name="connsiteX760" fmla="*/ 2182 w 10000"/>
                <a:gd name="connsiteY760" fmla="*/ 7688 h 10000"/>
                <a:gd name="connsiteX761" fmla="*/ 2172 w 10000"/>
                <a:gd name="connsiteY761" fmla="*/ 7714 h 10000"/>
                <a:gd name="connsiteX762" fmla="*/ 2167 w 10000"/>
                <a:gd name="connsiteY762" fmla="*/ 7742 h 10000"/>
                <a:gd name="connsiteX763" fmla="*/ 2162 w 10000"/>
                <a:gd name="connsiteY763" fmla="*/ 7775 h 10000"/>
                <a:gd name="connsiteX764" fmla="*/ 2159 w 10000"/>
                <a:gd name="connsiteY764" fmla="*/ 7833 h 10000"/>
                <a:gd name="connsiteX765" fmla="*/ 2157 w 10000"/>
                <a:gd name="connsiteY765" fmla="*/ 7882 h 10000"/>
                <a:gd name="connsiteX766" fmla="*/ 2157 w 10000"/>
                <a:gd name="connsiteY766" fmla="*/ 7938 h 10000"/>
                <a:gd name="connsiteX767" fmla="*/ 2159 w 10000"/>
                <a:gd name="connsiteY767" fmla="*/ 8006 h 10000"/>
                <a:gd name="connsiteX768" fmla="*/ 2162 w 10000"/>
                <a:gd name="connsiteY768" fmla="*/ 8079 h 10000"/>
                <a:gd name="connsiteX769" fmla="*/ 2159 w 10000"/>
                <a:gd name="connsiteY769" fmla="*/ 8156 h 10000"/>
                <a:gd name="connsiteX770" fmla="*/ 2157 w 10000"/>
                <a:gd name="connsiteY770" fmla="*/ 8193 h 10000"/>
                <a:gd name="connsiteX771" fmla="*/ 2154 w 10000"/>
                <a:gd name="connsiteY771" fmla="*/ 8228 h 10000"/>
                <a:gd name="connsiteX772" fmla="*/ 2146 w 10000"/>
                <a:gd name="connsiteY772" fmla="*/ 8261 h 10000"/>
                <a:gd name="connsiteX773" fmla="*/ 2136 w 10000"/>
                <a:gd name="connsiteY773" fmla="*/ 8291 h 10000"/>
                <a:gd name="connsiteX774" fmla="*/ 2124 w 10000"/>
                <a:gd name="connsiteY774" fmla="*/ 8319 h 10000"/>
                <a:gd name="connsiteX775" fmla="*/ 2109 w 10000"/>
                <a:gd name="connsiteY775" fmla="*/ 8345 h 10000"/>
                <a:gd name="connsiteX776" fmla="*/ 2098 w 10000"/>
                <a:gd name="connsiteY776" fmla="*/ 8354 h 10000"/>
                <a:gd name="connsiteX777" fmla="*/ 2088 w 10000"/>
                <a:gd name="connsiteY777" fmla="*/ 8364 h 10000"/>
                <a:gd name="connsiteX778" fmla="*/ 2078 w 10000"/>
                <a:gd name="connsiteY778" fmla="*/ 8373 h 10000"/>
                <a:gd name="connsiteX779" fmla="*/ 2063 w 10000"/>
                <a:gd name="connsiteY779" fmla="*/ 8380 h 10000"/>
                <a:gd name="connsiteX780" fmla="*/ 1990 w 10000"/>
                <a:gd name="connsiteY780" fmla="*/ 8422 h 10000"/>
                <a:gd name="connsiteX781" fmla="*/ 1904 w 10000"/>
                <a:gd name="connsiteY781" fmla="*/ 8481 h 10000"/>
                <a:gd name="connsiteX782" fmla="*/ 1856 w 10000"/>
                <a:gd name="connsiteY782" fmla="*/ 8506 h 10000"/>
                <a:gd name="connsiteX783" fmla="*/ 1816 w 10000"/>
                <a:gd name="connsiteY783" fmla="*/ 8527 h 10000"/>
                <a:gd name="connsiteX784" fmla="*/ 1793 w 10000"/>
                <a:gd name="connsiteY784" fmla="*/ 8539 h 10000"/>
                <a:gd name="connsiteX785" fmla="*/ 1775 w 10000"/>
                <a:gd name="connsiteY785" fmla="*/ 8546 h 10000"/>
                <a:gd name="connsiteX786" fmla="*/ 1758 w 10000"/>
                <a:gd name="connsiteY786" fmla="*/ 8548 h 10000"/>
                <a:gd name="connsiteX787" fmla="*/ 1742 w 10000"/>
                <a:gd name="connsiteY787" fmla="*/ 8551 h 10000"/>
                <a:gd name="connsiteX788" fmla="*/ 1727 w 10000"/>
                <a:gd name="connsiteY788" fmla="*/ 8537 h 10000"/>
                <a:gd name="connsiteX789" fmla="*/ 1717 w 10000"/>
                <a:gd name="connsiteY789" fmla="*/ 8518 h 10000"/>
                <a:gd name="connsiteX790" fmla="*/ 1710 w 10000"/>
                <a:gd name="connsiteY790" fmla="*/ 8499 h 10000"/>
                <a:gd name="connsiteX791" fmla="*/ 1702 w 10000"/>
                <a:gd name="connsiteY791" fmla="*/ 8476 h 10000"/>
                <a:gd name="connsiteX792" fmla="*/ 1684 w 10000"/>
                <a:gd name="connsiteY792" fmla="*/ 8429 h 10000"/>
                <a:gd name="connsiteX793" fmla="*/ 1674 w 10000"/>
                <a:gd name="connsiteY793" fmla="*/ 8380 h 10000"/>
                <a:gd name="connsiteX794" fmla="*/ 1667 w 10000"/>
                <a:gd name="connsiteY794" fmla="*/ 8329 h 10000"/>
                <a:gd name="connsiteX795" fmla="*/ 1659 w 10000"/>
                <a:gd name="connsiteY795" fmla="*/ 8282 h 10000"/>
                <a:gd name="connsiteX796" fmla="*/ 1657 w 10000"/>
                <a:gd name="connsiteY796" fmla="*/ 8235 h 10000"/>
                <a:gd name="connsiteX797" fmla="*/ 1657 w 10000"/>
                <a:gd name="connsiteY797" fmla="*/ 8195 h 10000"/>
                <a:gd name="connsiteX798" fmla="*/ 1652 w 10000"/>
                <a:gd name="connsiteY798" fmla="*/ 8191 h 10000"/>
                <a:gd name="connsiteX799" fmla="*/ 1586 w 10000"/>
                <a:gd name="connsiteY799" fmla="*/ 8188 h 10000"/>
                <a:gd name="connsiteX800" fmla="*/ 1525 w 10000"/>
                <a:gd name="connsiteY800" fmla="*/ 8186 h 10000"/>
                <a:gd name="connsiteX801" fmla="*/ 1500 w 10000"/>
                <a:gd name="connsiteY801" fmla="*/ 8191 h 10000"/>
                <a:gd name="connsiteX802" fmla="*/ 1472 w 10000"/>
                <a:gd name="connsiteY802" fmla="*/ 8198 h 10000"/>
                <a:gd name="connsiteX803" fmla="*/ 1457 w 10000"/>
                <a:gd name="connsiteY803" fmla="*/ 8205 h 10000"/>
                <a:gd name="connsiteX804" fmla="*/ 1444 w 10000"/>
                <a:gd name="connsiteY804" fmla="*/ 8212 h 10000"/>
                <a:gd name="connsiteX805" fmla="*/ 1434 w 10000"/>
                <a:gd name="connsiteY805" fmla="*/ 8223 h 10000"/>
                <a:gd name="connsiteX806" fmla="*/ 1419 w 10000"/>
                <a:gd name="connsiteY806" fmla="*/ 8233 h 10000"/>
                <a:gd name="connsiteX807" fmla="*/ 1412 w 10000"/>
                <a:gd name="connsiteY807" fmla="*/ 8247 h 10000"/>
                <a:gd name="connsiteX808" fmla="*/ 1402 w 10000"/>
                <a:gd name="connsiteY808" fmla="*/ 8261 h 10000"/>
                <a:gd name="connsiteX809" fmla="*/ 1394 w 10000"/>
                <a:gd name="connsiteY809" fmla="*/ 8275 h 10000"/>
                <a:gd name="connsiteX810" fmla="*/ 1386 w 10000"/>
                <a:gd name="connsiteY810" fmla="*/ 8294 h 10000"/>
                <a:gd name="connsiteX811" fmla="*/ 1374 w 10000"/>
                <a:gd name="connsiteY811" fmla="*/ 8331 h 10000"/>
                <a:gd name="connsiteX812" fmla="*/ 1361 w 10000"/>
                <a:gd name="connsiteY812" fmla="*/ 8368 h 10000"/>
                <a:gd name="connsiteX813" fmla="*/ 1354 w 10000"/>
                <a:gd name="connsiteY813" fmla="*/ 8387 h 10000"/>
                <a:gd name="connsiteX814" fmla="*/ 1346 w 10000"/>
                <a:gd name="connsiteY814" fmla="*/ 8406 h 10000"/>
                <a:gd name="connsiteX815" fmla="*/ 1338 w 10000"/>
                <a:gd name="connsiteY815" fmla="*/ 8420 h 10000"/>
                <a:gd name="connsiteX816" fmla="*/ 1328 w 10000"/>
                <a:gd name="connsiteY816" fmla="*/ 8436 h 10000"/>
                <a:gd name="connsiteX817" fmla="*/ 1316 w 10000"/>
                <a:gd name="connsiteY817" fmla="*/ 8446 h 10000"/>
                <a:gd name="connsiteX818" fmla="*/ 1306 w 10000"/>
                <a:gd name="connsiteY818" fmla="*/ 8453 h 10000"/>
                <a:gd name="connsiteX819" fmla="*/ 1293 w 10000"/>
                <a:gd name="connsiteY819" fmla="*/ 8460 h 10000"/>
                <a:gd name="connsiteX820" fmla="*/ 1275 w 10000"/>
                <a:gd name="connsiteY820" fmla="*/ 8460 h 10000"/>
                <a:gd name="connsiteX821" fmla="*/ 1265 w 10000"/>
                <a:gd name="connsiteY821" fmla="*/ 8450 h 10000"/>
                <a:gd name="connsiteX822" fmla="*/ 1258 w 10000"/>
                <a:gd name="connsiteY822" fmla="*/ 8441 h 10000"/>
                <a:gd name="connsiteX823" fmla="*/ 1245 w 10000"/>
                <a:gd name="connsiteY823" fmla="*/ 8424 h 10000"/>
                <a:gd name="connsiteX824" fmla="*/ 1237 w 10000"/>
                <a:gd name="connsiteY824" fmla="*/ 8408 h 10000"/>
                <a:gd name="connsiteX825" fmla="*/ 1217 w 10000"/>
                <a:gd name="connsiteY825" fmla="*/ 8373 h 10000"/>
                <a:gd name="connsiteX826" fmla="*/ 1202 w 10000"/>
                <a:gd name="connsiteY826" fmla="*/ 8333 h 10000"/>
                <a:gd name="connsiteX827" fmla="*/ 1182 w 10000"/>
                <a:gd name="connsiteY827" fmla="*/ 8296 h 10000"/>
                <a:gd name="connsiteX828" fmla="*/ 1162 w 10000"/>
                <a:gd name="connsiteY828" fmla="*/ 8268 h 10000"/>
                <a:gd name="connsiteX829" fmla="*/ 1149 w 10000"/>
                <a:gd name="connsiteY829" fmla="*/ 8256 h 10000"/>
                <a:gd name="connsiteX830" fmla="*/ 1139 w 10000"/>
                <a:gd name="connsiteY830" fmla="*/ 8249 h 10000"/>
                <a:gd name="connsiteX831" fmla="*/ 1126 w 10000"/>
                <a:gd name="connsiteY831" fmla="*/ 8240 h 10000"/>
                <a:gd name="connsiteX832" fmla="*/ 1114 w 10000"/>
                <a:gd name="connsiteY832" fmla="*/ 8240 h 10000"/>
                <a:gd name="connsiteX833" fmla="*/ 1091 w 10000"/>
                <a:gd name="connsiteY833" fmla="*/ 8242 h 10000"/>
                <a:gd name="connsiteX834" fmla="*/ 1071 w 10000"/>
                <a:gd name="connsiteY834" fmla="*/ 8252 h 10000"/>
                <a:gd name="connsiteX835" fmla="*/ 1048 w 10000"/>
                <a:gd name="connsiteY835" fmla="*/ 8261 h 10000"/>
                <a:gd name="connsiteX836" fmla="*/ 1030 w 10000"/>
                <a:gd name="connsiteY836" fmla="*/ 8273 h 10000"/>
                <a:gd name="connsiteX837" fmla="*/ 1010 w 10000"/>
                <a:gd name="connsiteY837" fmla="*/ 8287 h 10000"/>
                <a:gd name="connsiteX838" fmla="*/ 995 w 10000"/>
                <a:gd name="connsiteY838" fmla="*/ 8303 h 10000"/>
                <a:gd name="connsiteX839" fmla="*/ 975 w 10000"/>
                <a:gd name="connsiteY839" fmla="*/ 8322 h 10000"/>
                <a:gd name="connsiteX840" fmla="*/ 960 w 10000"/>
                <a:gd name="connsiteY840" fmla="*/ 8343 h 10000"/>
                <a:gd name="connsiteX841" fmla="*/ 927 w 10000"/>
                <a:gd name="connsiteY841" fmla="*/ 8380 h 10000"/>
                <a:gd name="connsiteX842" fmla="*/ 891 w 10000"/>
                <a:gd name="connsiteY842" fmla="*/ 8417 h 10000"/>
                <a:gd name="connsiteX843" fmla="*/ 874 w 10000"/>
                <a:gd name="connsiteY843" fmla="*/ 8436 h 10000"/>
                <a:gd name="connsiteX844" fmla="*/ 859 w 10000"/>
                <a:gd name="connsiteY844" fmla="*/ 8450 h 10000"/>
                <a:gd name="connsiteX845" fmla="*/ 838 w 10000"/>
                <a:gd name="connsiteY845" fmla="*/ 8462 h 10000"/>
                <a:gd name="connsiteX846" fmla="*/ 821 w 10000"/>
                <a:gd name="connsiteY846" fmla="*/ 8476 h 10000"/>
                <a:gd name="connsiteX847" fmla="*/ 742 w 10000"/>
                <a:gd name="connsiteY847" fmla="*/ 8562 h 10000"/>
                <a:gd name="connsiteX848" fmla="*/ 672 w 10000"/>
                <a:gd name="connsiteY848" fmla="*/ 8644 h 10000"/>
                <a:gd name="connsiteX849" fmla="*/ 639 w 10000"/>
                <a:gd name="connsiteY849" fmla="*/ 8684 h 10000"/>
                <a:gd name="connsiteX850" fmla="*/ 609 w 10000"/>
                <a:gd name="connsiteY850" fmla="*/ 8731 h 10000"/>
                <a:gd name="connsiteX851" fmla="*/ 583 w 10000"/>
                <a:gd name="connsiteY851" fmla="*/ 8777 h 10000"/>
                <a:gd name="connsiteX852" fmla="*/ 556 w 10000"/>
                <a:gd name="connsiteY852" fmla="*/ 8831 h 10000"/>
                <a:gd name="connsiteX853" fmla="*/ 545 w 10000"/>
                <a:gd name="connsiteY853" fmla="*/ 8852 h 10000"/>
                <a:gd name="connsiteX854" fmla="*/ 525 w 10000"/>
                <a:gd name="connsiteY854" fmla="*/ 8885 h 10000"/>
                <a:gd name="connsiteX855" fmla="*/ 503 w 10000"/>
                <a:gd name="connsiteY855" fmla="*/ 8925 h 10000"/>
                <a:gd name="connsiteX856" fmla="*/ 480 w 10000"/>
                <a:gd name="connsiteY856" fmla="*/ 8962 h 10000"/>
                <a:gd name="connsiteX857" fmla="*/ 465 w 10000"/>
                <a:gd name="connsiteY857" fmla="*/ 8981 h 10000"/>
                <a:gd name="connsiteX858" fmla="*/ 455 w 10000"/>
                <a:gd name="connsiteY858" fmla="*/ 8993 h 10000"/>
                <a:gd name="connsiteX859" fmla="*/ 444 w 10000"/>
                <a:gd name="connsiteY859" fmla="*/ 9000 h 10000"/>
                <a:gd name="connsiteX860" fmla="*/ 434 w 10000"/>
                <a:gd name="connsiteY860" fmla="*/ 9007 h 10000"/>
                <a:gd name="connsiteX861" fmla="*/ 432 w 10000"/>
                <a:gd name="connsiteY861" fmla="*/ 9007 h 10000"/>
                <a:gd name="connsiteX862" fmla="*/ 429 w 10000"/>
                <a:gd name="connsiteY862" fmla="*/ 9004 h 10000"/>
                <a:gd name="connsiteX863" fmla="*/ 427 w 10000"/>
                <a:gd name="connsiteY863" fmla="*/ 8997 h 10000"/>
                <a:gd name="connsiteX864" fmla="*/ 427 w 10000"/>
                <a:gd name="connsiteY864" fmla="*/ 8993 h 10000"/>
                <a:gd name="connsiteX865" fmla="*/ 424 w 10000"/>
                <a:gd name="connsiteY865" fmla="*/ 8976 h 10000"/>
                <a:gd name="connsiteX866" fmla="*/ 427 w 10000"/>
                <a:gd name="connsiteY866" fmla="*/ 8948 h 10000"/>
                <a:gd name="connsiteX867" fmla="*/ 437 w 10000"/>
                <a:gd name="connsiteY867" fmla="*/ 8913 h 10000"/>
                <a:gd name="connsiteX868" fmla="*/ 455 w 10000"/>
                <a:gd name="connsiteY868" fmla="*/ 8859 h 10000"/>
                <a:gd name="connsiteX869" fmla="*/ 462 w 10000"/>
                <a:gd name="connsiteY869" fmla="*/ 8834 h 10000"/>
                <a:gd name="connsiteX870" fmla="*/ 470 w 10000"/>
                <a:gd name="connsiteY870" fmla="*/ 8810 h 10000"/>
                <a:gd name="connsiteX871" fmla="*/ 472 w 10000"/>
                <a:gd name="connsiteY871" fmla="*/ 8794 h 10000"/>
                <a:gd name="connsiteX872" fmla="*/ 472 w 10000"/>
                <a:gd name="connsiteY872" fmla="*/ 8780 h 10000"/>
                <a:gd name="connsiteX873" fmla="*/ 462 w 10000"/>
                <a:gd name="connsiteY873" fmla="*/ 8784 h 10000"/>
                <a:gd name="connsiteX874" fmla="*/ 452 w 10000"/>
                <a:gd name="connsiteY874" fmla="*/ 8787 h 10000"/>
                <a:gd name="connsiteX875" fmla="*/ 437 w 10000"/>
                <a:gd name="connsiteY875" fmla="*/ 8794 h 10000"/>
                <a:gd name="connsiteX876" fmla="*/ 424 w 10000"/>
                <a:gd name="connsiteY876" fmla="*/ 8803 h 10000"/>
                <a:gd name="connsiteX877" fmla="*/ 394 w 10000"/>
                <a:gd name="connsiteY877" fmla="*/ 8829 h 10000"/>
                <a:gd name="connsiteX878" fmla="*/ 364 w 10000"/>
                <a:gd name="connsiteY878" fmla="*/ 8859 h 10000"/>
                <a:gd name="connsiteX879" fmla="*/ 311 w 10000"/>
                <a:gd name="connsiteY879" fmla="*/ 8922 h 10000"/>
                <a:gd name="connsiteX880" fmla="*/ 268 w 10000"/>
                <a:gd name="connsiteY880" fmla="*/ 8964 h 10000"/>
                <a:gd name="connsiteX881" fmla="*/ 205 w 10000"/>
                <a:gd name="connsiteY881" fmla="*/ 9016 h 10000"/>
                <a:gd name="connsiteX882" fmla="*/ 146 w 10000"/>
                <a:gd name="connsiteY882" fmla="*/ 9053 h 10000"/>
                <a:gd name="connsiteX883" fmla="*/ 139 w 10000"/>
                <a:gd name="connsiteY883" fmla="*/ 9063 h 10000"/>
                <a:gd name="connsiteX884" fmla="*/ 129 w 10000"/>
                <a:gd name="connsiteY884" fmla="*/ 9077 h 10000"/>
                <a:gd name="connsiteX885" fmla="*/ 126 w 10000"/>
                <a:gd name="connsiteY885" fmla="*/ 9086 h 10000"/>
                <a:gd name="connsiteX886" fmla="*/ 126 w 10000"/>
                <a:gd name="connsiteY886" fmla="*/ 9102 h 10000"/>
                <a:gd name="connsiteX887" fmla="*/ 129 w 10000"/>
                <a:gd name="connsiteY887" fmla="*/ 9116 h 10000"/>
                <a:gd name="connsiteX888" fmla="*/ 139 w 10000"/>
                <a:gd name="connsiteY888" fmla="*/ 9135 h 10000"/>
                <a:gd name="connsiteX889" fmla="*/ 149 w 10000"/>
                <a:gd name="connsiteY889" fmla="*/ 9151 h 10000"/>
                <a:gd name="connsiteX890" fmla="*/ 164 w 10000"/>
                <a:gd name="connsiteY890" fmla="*/ 9175 h 10000"/>
                <a:gd name="connsiteX891" fmla="*/ 184 w 10000"/>
                <a:gd name="connsiteY891" fmla="*/ 9196 h 10000"/>
                <a:gd name="connsiteX892" fmla="*/ 207 w 10000"/>
                <a:gd name="connsiteY892" fmla="*/ 9215 h 10000"/>
                <a:gd name="connsiteX893" fmla="*/ 227 w 10000"/>
                <a:gd name="connsiteY893" fmla="*/ 9233 h 10000"/>
                <a:gd name="connsiteX894" fmla="*/ 253 w 10000"/>
                <a:gd name="connsiteY894" fmla="*/ 9250 h 10000"/>
                <a:gd name="connsiteX895" fmla="*/ 303 w 10000"/>
                <a:gd name="connsiteY895" fmla="*/ 9282 h 10000"/>
                <a:gd name="connsiteX896" fmla="*/ 351 w 10000"/>
                <a:gd name="connsiteY896" fmla="*/ 9315 h 10000"/>
                <a:gd name="connsiteX897" fmla="*/ 414 w 10000"/>
                <a:gd name="connsiteY897" fmla="*/ 9364 h 10000"/>
                <a:gd name="connsiteX898" fmla="*/ 480 w 10000"/>
                <a:gd name="connsiteY898" fmla="*/ 9416 h 10000"/>
                <a:gd name="connsiteX899" fmla="*/ 513 w 10000"/>
                <a:gd name="connsiteY899" fmla="*/ 9437 h 10000"/>
                <a:gd name="connsiteX900" fmla="*/ 548 w 10000"/>
                <a:gd name="connsiteY900" fmla="*/ 9462 h 10000"/>
                <a:gd name="connsiteX901" fmla="*/ 581 w 10000"/>
                <a:gd name="connsiteY901" fmla="*/ 9483 h 10000"/>
                <a:gd name="connsiteX902" fmla="*/ 614 w 10000"/>
                <a:gd name="connsiteY902" fmla="*/ 9502 h 10000"/>
                <a:gd name="connsiteX903" fmla="*/ 641 w 10000"/>
                <a:gd name="connsiteY903" fmla="*/ 9525 h 10000"/>
                <a:gd name="connsiteX904" fmla="*/ 672 w 10000"/>
                <a:gd name="connsiteY904" fmla="*/ 9549 h 10000"/>
                <a:gd name="connsiteX905" fmla="*/ 702 w 10000"/>
                <a:gd name="connsiteY905" fmla="*/ 9568 h 10000"/>
                <a:gd name="connsiteX906" fmla="*/ 737 w 10000"/>
                <a:gd name="connsiteY906" fmla="*/ 9589 h 10000"/>
                <a:gd name="connsiteX907" fmla="*/ 770 w 10000"/>
                <a:gd name="connsiteY907" fmla="*/ 9605 h 10000"/>
                <a:gd name="connsiteX908" fmla="*/ 808 w 10000"/>
                <a:gd name="connsiteY908" fmla="*/ 9617 h 10000"/>
                <a:gd name="connsiteX909" fmla="*/ 843 w 10000"/>
                <a:gd name="connsiteY909" fmla="*/ 9624 h 10000"/>
                <a:gd name="connsiteX910" fmla="*/ 884 w 10000"/>
                <a:gd name="connsiteY910" fmla="*/ 9628 h 10000"/>
                <a:gd name="connsiteX911" fmla="*/ 902 w 10000"/>
                <a:gd name="connsiteY911" fmla="*/ 9628 h 10000"/>
                <a:gd name="connsiteX912" fmla="*/ 914 w 10000"/>
                <a:gd name="connsiteY912" fmla="*/ 9631 h 10000"/>
                <a:gd name="connsiteX913" fmla="*/ 932 w 10000"/>
                <a:gd name="connsiteY913" fmla="*/ 9638 h 10000"/>
                <a:gd name="connsiteX914" fmla="*/ 942 w 10000"/>
                <a:gd name="connsiteY914" fmla="*/ 9642 h 10000"/>
                <a:gd name="connsiteX915" fmla="*/ 967 w 10000"/>
                <a:gd name="connsiteY915" fmla="*/ 9652 h 10000"/>
                <a:gd name="connsiteX916" fmla="*/ 987 w 10000"/>
                <a:gd name="connsiteY916" fmla="*/ 9668 h 10000"/>
                <a:gd name="connsiteX917" fmla="*/ 1005 w 10000"/>
                <a:gd name="connsiteY917" fmla="*/ 9682 h 10000"/>
                <a:gd name="connsiteX918" fmla="*/ 1025 w 10000"/>
                <a:gd name="connsiteY918" fmla="*/ 9698 h 10000"/>
                <a:gd name="connsiteX919" fmla="*/ 1045 w 10000"/>
                <a:gd name="connsiteY919" fmla="*/ 9712 h 10000"/>
                <a:gd name="connsiteX920" fmla="*/ 1073 w 10000"/>
                <a:gd name="connsiteY920" fmla="*/ 9724 h 10000"/>
                <a:gd name="connsiteX921" fmla="*/ 1098 w 10000"/>
                <a:gd name="connsiteY921" fmla="*/ 9738 h 10000"/>
                <a:gd name="connsiteX922" fmla="*/ 1121 w 10000"/>
                <a:gd name="connsiteY922" fmla="*/ 9750 h 10000"/>
                <a:gd name="connsiteX923" fmla="*/ 1141 w 10000"/>
                <a:gd name="connsiteY923" fmla="*/ 9762 h 10000"/>
                <a:gd name="connsiteX924" fmla="*/ 1159 w 10000"/>
                <a:gd name="connsiteY924" fmla="*/ 9776 h 10000"/>
                <a:gd name="connsiteX925" fmla="*/ 1172 w 10000"/>
                <a:gd name="connsiteY925" fmla="*/ 9787 h 10000"/>
                <a:gd name="connsiteX926" fmla="*/ 1182 w 10000"/>
                <a:gd name="connsiteY926" fmla="*/ 9804 h 10000"/>
                <a:gd name="connsiteX927" fmla="*/ 1194 w 10000"/>
                <a:gd name="connsiteY927" fmla="*/ 9818 h 10000"/>
                <a:gd name="connsiteX928" fmla="*/ 1202 w 10000"/>
                <a:gd name="connsiteY928" fmla="*/ 9834 h 10000"/>
                <a:gd name="connsiteX929" fmla="*/ 1212 w 10000"/>
                <a:gd name="connsiteY929" fmla="*/ 9869 h 10000"/>
                <a:gd name="connsiteX930" fmla="*/ 1220 w 10000"/>
                <a:gd name="connsiteY930" fmla="*/ 9906 h 10000"/>
                <a:gd name="connsiteX931" fmla="*/ 1230 w 10000"/>
                <a:gd name="connsiteY931" fmla="*/ 9951 h 10000"/>
                <a:gd name="connsiteX932" fmla="*/ 1237 w 10000"/>
                <a:gd name="connsiteY932" fmla="*/ 10000 h 10000"/>
                <a:gd name="connsiteX933" fmla="*/ 1237 w 10000"/>
                <a:gd name="connsiteY93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212 w 10000"/>
                <a:gd name="connsiteY757" fmla="*/ 7653 h 10000"/>
                <a:gd name="connsiteX758" fmla="*/ 2199 w 10000"/>
                <a:gd name="connsiteY758" fmla="*/ 7660 h 10000"/>
                <a:gd name="connsiteX759" fmla="*/ 2189 w 10000"/>
                <a:gd name="connsiteY759" fmla="*/ 7669 h 10000"/>
                <a:gd name="connsiteX760" fmla="*/ 2172 w 10000"/>
                <a:gd name="connsiteY760" fmla="*/ 7714 h 10000"/>
                <a:gd name="connsiteX761" fmla="*/ 2167 w 10000"/>
                <a:gd name="connsiteY761" fmla="*/ 7742 h 10000"/>
                <a:gd name="connsiteX762" fmla="*/ 2162 w 10000"/>
                <a:gd name="connsiteY762" fmla="*/ 7775 h 10000"/>
                <a:gd name="connsiteX763" fmla="*/ 2159 w 10000"/>
                <a:gd name="connsiteY763" fmla="*/ 7833 h 10000"/>
                <a:gd name="connsiteX764" fmla="*/ 2157 w 10000"/>
                <a:gd name="connsiteY764" fmla="*/ 7882 h 10000"/>
                <a:gd name="connsiteX765" fmla="*/ 2157 w 10000"/>
                <a:gd name="connsiteY765" fmla="*/ 7938 h 10000"/>
                <a:gd name="connsiteX766" fmla="*/ 2159 w 10000"/>
                <a:gd name="connsiteY766" fmla="*/ 8006 h 10000"/>
                <a:gd name="connsiteX767" fmla="*/ 2162 w 10000"/>
                <a:gd name="connsiteY767" fmla="*/ 8079 h 10000"/>
                <a:gd name="connsiteX768" fmla="*/ 2159 w 10000"/>
                <a:gd name="connsiteY768" fmla="*/ 8156 h 10000"/>
                <a:gd name="connsiteX769" fmla="*/ 2157 w 10000"/>
                <a:gd name="connsiteY769" fmla="*/ 8193 h 10000"/>
                <a:gd name="connsiteX770" fmla="*/ 2154 w 10000"/>
                <a:gd name="connsiteY770" fmla="*/ 8228 h 10000"/>
                <a:gd name="connsiteX771" fmla="*/ 2146 w 10000"/>
                <a:gd name="connsiteY771" fmla="*/ 8261 h 10000"/>
                <a:gd name="connsiteX772" fmla="*/ 2136 w 10000"/>
                <a:gd name="connsiteY772" fmla="*/ 8291 h 10000"/>
                <a:gd name="connsiteX773" fmla="*/ 2124 w 10000"/>
                <a:gd name="connsiteY773" fmla="*/ 8319 h 10000"/>
                <a:gd name="connsiteX774" fmla="*/ 2109 w 10000"/>
                <a:gd name="connsiteY774" fmla="*/ 8345 h 10000"/>
                <a:gd name="connsiteX775" fmla="*/ 2098 w 10000"/>
                <a:gd name="connsiteY775" fmla="*/ 8354 h 10000"/>
                <a:gd name="connsiteX776" fmla="*/ 2088 w 10000"/>
                <a:gd name="connsiteY776" fmla="*/ 8364 h 10000"/>
                <a:gd name="connsiteX777" fmla="*/ 2078 w 10000"/>
                <a:gd name="connsiteY777" fmla="*/ 8373 h 10000"/>
                <a:gd name="connsiteX778" fmla="*/ 2063 w 10000"/>
                <a:gd name="connsiteY778" fmla="*/ 8380 h 10000"/>
                <a:gd name="connsiteX779" fmla="*/ 1990 w 10000"/>
                <a:gd name="connsiteY779" fmla="*/ 8422 h 10000"/>
                <a:gd name="connsiteX780" fmla="*/ 1904 w 10000"/>
                <a:gd name="connsiteY780" fmla="*/ 8481 h 10000"/>
                <a:gd name="connsiteX781" fmla="*/ 1856 w 10000"/>
                <a:gd name="connsiteY781" fmla="*/ 8506 h 10000"/>
                <a:gd name="connsiteX782" fmla="*/ 1816 w 10000"/>
                <a:gd name="connsiteY782" fmla="*/ 8527 h 10000"/>
                <a:gd name="connsiteX783" fmla="*/ 1793 w 10000"/>
                <a:gd name="connsiteY783" fmla="*/ 8539 h 10000"/>
                <a:gd name="connsiteX784" fmla="*/ 1775 w 10000"/>
                <a:gd name="connsiteY784" fmla="*/ 8546 h 10000"/>
                <a:gd name="connsiteX785" fmla="*/ 1758 w 10000"/>
                <a:gd name="connsiteY785" fmla="*/ 8548 h 10000"/>
                <a:gd name="connsiteX786" fmla="*/ 1742 w 10000"/>
                <a:gd name="connsiteY786" fmla="*/ 8551 h 10000"/>
                <a:gd name="connsiteX787" fmla="*/ 1727 w 10000"/>
                <a:gd name="connsiteY787" fmla="*/ 8537 h 10000"/>
                <a:gd name="connsiteX788" fmla="*/ 1717 w 10000"/>
                <a:gd name="connsiteY788" fmla="*/ 8518 h 10000"/>
                <a:gd name="connsiteX789" fmla="*/ 1710 w 10000"/>
                <a:gd name="connsiteY789" fmla="*/ 8499 h 10000"/>
                <a:gd name="connsiteX790" fmla="*/ 1702 w 10000"/>
                <a:gd name="connsiteY790" fmla="*/ 8476 h 10000"/>
                <a:gd name="connsiteX791" fmla="*/ 1684 w 10000"/>
                <a:gd name="connsiteY791" fmla="*/ 8429 h 10000"/>
                <a:gd name="connsiteX792" fmla="*/ 1674 w 10000"/>
                <a:gd name="connsiteY792" fmla="*/ 8380 h 10000"/>
                <a:gd name="connsiteX793" fmla="*/ 1667 w 10000"/>
                <a:gd name="connsiteY793" fmla="*/ 8329 h 10000"/>
                <a:gd name="connsiteX794" fmla="*/ 1659 w 10000"/>
                <a:gd name="connsiteY794" fmla="*/ 8282 h 10000"/>
                <a:gd name="connsiteX795" fmla="*/ 1657 w 10000"/>
                <a:gd name="connsiteY795" fmla="*/ 8235 h 10000"/>
                <a:gd name="connsiteX796" fmla="*/ 1657 w 10000"/>
                <a:gd name="connsiteY796" fmla="*/ 8195 h 10000"/>
                <a:gd name="connsiteX797" fmla="*/ 1652 w 10000"/>
                <a:gd name="connsiteY797" fmla="*/ 8191 h 10000"/>
                <a:gd name="connsiteX798" fmla="*/ 1586 w 10000"/>
                <a:gd name="connsiteY798" fmla="*/ 8188 h 10000"/>
                <a:gd name="connsiteX799" fmla="*/ 1525 w 10000"/>
                <a:gd name="connsiteY799" fmla="*/ 8186 h 10000"/>
                <a:gd name="connsiteX800" fmla="*/ 1500 w 10000"/>
                <a:gd name="connsiteY800" fmla="*/ 8191 h 10000"/>
                <a:gd name="connsiteX801" fmla="*/ 1472 w 10000"/>
                <a:gd name="connsiteY801" fmla="*/ 8198 h 10000"/>
                <a:gd name="connsiteX802" fmla="*/ 1457 w 10000"/>
                <a:gd name="connsiteY802" fmla="*/ 8205 h 10000"/>
                <a:gd name="connsiteX803" fmla="*/ 1444 w 10000"/>
                <a:gd name="connsiteY803" fmla="*/ 8212 h 10000"/>
                <a:gd name="connsiteX804" fmla="*/ 1434 w 10000"/>
                <a:gd name="connsiteY804" fmla="*/ 8223 h 10000"/>
                <a:gd name="connsiteX805" fmla="*/ 1419 w 10000"/>
                <a:gd name="connsiteY805" fmla="*/ 8233 h 10000"/>
                <a:gd name="connsiteX806" fmla="*/ 1412 w 10000"/>
                <a:gd name="connsiteY806" fmla="*/ 8247 h 10000"/>
                <a:gd name="connsiteX807" fmla="*/ 1402 w 10000"/>
                <a:gd name="connsiteY807" fmla="*/ 8261 h 10000"/>
                <a:gd name="connsiteX808" fmla="*/ 1394 w 10000"/>
                <a:gd name="connsiteY808" fmla="*/ 8275 h 10000"/>
                <a:gd name="connsiteX809" fmla="*/ 1386 w 10000"/>
                <a:gd name="connsiteY809" fmla="*/ 8294 h 10000"/>
                <a:gd name="connsiteX810" fmla="*/ 1374 w 10000"/>
                <a:gd name="connsiteY810" fmla="*/ 8331 h 10000"/>
                <a:gd name="connsiteX811" fmla="*/ 1361 w 10000"/>
                <a:gd name="connsiteY811" fmla="*/ 8368 h 10000"/>
                <a:gd name="connsiteX812" fmla="*/ 1354 w 10000"/>
                <a:gd name="connsiteY812" fmla="*/ 8387 h 10000"/>
                <a:gd name="connsiteX813" fmla="*/ 1346 w 10000"/>
                <a:gd name="connsiteY813" fmla="*/ 8406 h 10000"/>
                <a:gd name="connsiteX814" fmla="*/ 1338 w 10000"/>
                <a:gd name="connsiteY814" fmla="*/ 8420 h 10000"/>
                <a:gd name="connsiteX815" fmla="*/ 1328 w 10000"/>
                <a:gd name="connsiteY815" fmla="*/ 8436 h 10000"/>
                <a:gd name="connsiteX816" fmla="*/ 1316 w 10000"/>
                <a:gd name="connsiteY816" fmla="*/ 8446 h 10000"/>
                <a:gd name="connsiteX817" fmla="*/ 1306 w 10000"/>
                <a:gd name="connsiteY817" fmla="*/ 8453 h 10000"/>
                <a:gd name="connsiteX818" fmla="*/ 1293 w 10000"/>
                <a:gd name="connsiteY818" fmla="*/ 8460 h 10000"/>
                <a:gd name="connsiteX819" fmla="*/ 1275 w 10000"/>
                <a:gd name="connsiteY819" fmla="*/ 8460 h 10000"/>
                <a:gd name="connsiteX820" fmla="*/ 1265 w 10000"/>
                <a:gd name="connsiteY820" fmla="*/ 8450 h 10000"/>
                <a:gd name="connsiteX821" fmla="*/ 1258 w 10000"/>
                <a:gd name="connsiteY821" fmla="*/ 8441 h 10000"/>
                <a:gd name="connsiteX822" fmla="*/ 1245 w 10000"/>
                <a:gd name="connsiteY822" fmla="*/ 8424 h 10000"/>
                <a:gd name="connsiteX823" fmla="*/ 1237 w 10000"/>
                <a:gd name="connsiteY823" fmla="*/ 8408 h 10000"/>
                <a:gd name="connsiteX824" fmla="*/ 1217 w 10000"/>
                <a:gd name="connsiteY824" fmla="*/ 8373 h 10000"/>
                <a:gd name="connsiteX825" fmla="*/ 1202 w 10000"/>
                <a:gd name="connsiteY825" fmla="*/ 8333 h 10000"/>
                <a:gd name="connsiteX826" fmla="*/ 1182 w 10000"/>
                <a:gd name="connsiteY826" fmla="*/ 8296 h 10000"/>
                <a:gd name="connsiteX827" fmla="*/ 1162 w 10000"/>
                <a:gd name="connsiteY827" fmla="*/ 8268 h 10000"/>
                <a:gd name="connsiteX828" fmla="*/ 1149 w 10000"/>
                <a:gd name="connsiteY828" fmla="*/ 8256 h 10000"/>
                <a:gd name="connsiteX829" fmla="*/ 1139 w 10000"/>
                <a:gd name="connsiteY829" fmla="*/ 8249 h 10000"/>
                <a:gd name="connsiteX830" fmla="*/ 1126 w 10000"/>
                <a:gd name="connsiteY830" fmla="*/ 8240 h 10000"/>
                <a:gd name="connsiteX831" fmla="*/ 1114 w 10000"/>
                <a:gd name="connsiteY831" fmla="*/ 8240 h 10000"/>
                <a:gd name="connsiteX832" fmla="*/ 1091 w 10000"/>
                <a:gd name="connsiteY832" fmla="*/ 8242 h 10000"/>
                <a:gd name="connsiteX833" fmla="*/ 1071 w 10000"/>
                <a:gd name="connsiteY833" fmla="*/ 8252 h 10000"/>
                <a:gd name="connsiteX834" fmla="*/ 1048 w 10000"/>
                <a:gd name="connsiteY834" fmla="*/ 8261 h 10000"/>
                <a:gd name="connsiteX835" fmla="*/ 1030 w 10000"/>
                <a:gd name="connsiteY835" fmla="*/ 8273 h 10000"/>
                <a:gd name="connsiteX836" fmla="*/ 1010 w 10000"/>
                <a:gd name="connsiteY836" fmla="*/ 8287 h 10000"/>
                <a:gd name="connsiteX837" fmla="*/ 995 w 10000"/>
                <a:gd name="connsiteY837" fmla="*/ 8303 h 10000"/>
                <a:gd name="connsiteX838" fmla="*/ 975 w 10000"/>
                <a:gd name="connsiteY838" fmla="*/ 8322 h 10000"/>
                <a:gd name="connsiteX839" fmla="*/ 960 w 10000"/>
                <a:gd name="connsiteY839" fmla="*/ 8343 h 10000"/>
                <a:gd name="connsiteX840" fmla="*/ 927 w 10000"/>
                <a:gd name="connsiteY840" fmla="*/ 8380 h 10000"/>
                <a:gd name="connsiteX841" fmla="*/ 891 w 10000"/>
                <a:gd name="connsiteY841" fmla="*/ 8417 h 10000"/>
                <a:gd name="connsiteX842" fmla="*/ 874 w 10000"/>
                <a:gd name="connsiteY842" fmla="*/ 8436 h 10000"/>
                <a:gd name="connsiteX843" fmla="*/ 859 w 10000"/>
                <a:gd name="connsiteY843" fmla="*/ 8450 h 10000"/>
                <a:gd name="connsiteX844" fmla="*/ 838 w 10000"/>
                <a:gd name="connsiteY844" fmla="*/ 8462 h 10000"/>
                <a:gd name="connsiteX845" fmla="*/ 821 w 10000"/>
                <a:gd name="connsiteY845" fmla="*/ 8476 h 10000"/>
                <a:gd name="connsiteX846" fmla="*/ 742 w 10000"/>
                <a:gd name="connsiteY846" fmla="*/ 8562 h 10000"/>
                <a:gd name="connsiteX847" fmla="*/ 672 w 10000"/>
                <a:gd name="connsiteY847" fmla="*/ 8644 h 10000"/>
                <a:gd name="connsiteX848" fmla="*/ 639 w 10000"/>
                <a:gd name="connsiteY848" fmla="*/ 8684 h 10000"/>
                <a:gd name="connsiteX849" fmla="*/ 609 w 10000"/>
                <a:gd name="connsiteY849" fmla="*/ 8731 h 10000"/>
                <a:gd name="connsiteX850" fmla="*/ 583 w 10000"/>
                <a:gd name="connsiteY850" fmla="*/ 8777 h 10000"/>
                <a:gd name="connsiteX851" fmla="*/ 556 w 10000"/>
                <a:gd name="connsiteY851" fmla="*/ 8831 h 10000"/>
                <a:gd name="connsiteX852" fmla="*/ 545 w 10000"/>
                <a:gd name="connsiteY852" fmla="*/ 8852 h 10000"/>
                <a:gd name="connsiteX853" fmla="*/ 525 w 10000"/>
                <a:gd name="connsiteY853" fmla="*/ 8885 h 10000"/>
                <a:gd name="connsiteX854" fmla="*/ 503 w 10000"/>
                <a:gd name="connsiteY854" fmla="*/ 8925 h 10000"/>
                <a:gd name="connsiteX855" fmla="*/ 480 w 10000"/>
                <a:gd name="connsiteY855" fmla="*/ 8962 h 10000"/>
                <a:gd name="connsiteX856" fmla="*/ 465 w 10000"/>
                <a:gd name="connsiteY856" fmla="*/ 8981 h 10000"/>
                <a:gd name="connsiteX857" fmla="*/ 455 w 10000"/>
                <a:gd name="connsiteY857" fmla="*/ 8993 h 10000"/>
                <a:gd name="connsiteX858" fmla="*/ 444 w 10000"/>
                <a:gd name="connsiteY858" fmla="*/ 9000 h 10000"/>
                <a:gd name="connsiteX859" fmla="*/ 434 w 10000"/>
                <a:gd name="connsiteY859" fmla="*/ 9007 h 10000"/>
                <a:gd name="connsiteX860" fmla="*/ 432 w 10000"/>
                <a:gd name="connsiteY860" fmla="*/ 9007 h 10000"/>
                <a:gd name="connsiteX861" fmla="*/ 429 w 10000"/>
                <a:gd name="connsiteY861" fmla="*/ 9004 h 10000"/>
                <a:gd name="connsiteX862" fmla="*/ 427 w 10000"/>
                <a:gd name="connsiteY862" fmla="*/ 8997 h 10000"/>
                <a:gd name="connsiteX863" fmla="*/ 427 w 10000"/>
                <a:gd name="connsiteY863" fmla="*/ 8993 h 10000"/>
                <a:gd name="connsiteX864" fmla="*/ 424 w 10000"/>
                <a:gd name="connsiteY864" fmla="*/ 8976 h 10000"/>
                <a:gd name="connsiteX865" fmla="*/ 427 w 10000"/>
                <a:gd name="connsiteY865" fmla="*/ 8948 h 10000"/>
                <a:gd name="connsiteX866" fmla="*/ 437 w 10000"/>
                <a:gd name="connsiteY866" fmla="*/ 8913 h 10000"/>
                <a:gd name="connsiteX867" fmla="*/ 455 w 10000"/>
                <a:gd name="connsiteY867" fmla="*/ 8859 h 10000"/>
                <a:gd name="connsiteX868" fmla="*/ 462 w 10000"/>
                <a:gd name="connsiteY868" fmla="*/ 8834 h 10000"/>
                <a:gd name="connsiteX869" fmla="*/ 470 w 10000"/>
                <a:gd name="connsiteY869" fmla="*/ 8810 h 10000"/>
                <a:gd name="connsiteX870" fmla="*/ 472 w 10000"/>
                <a:gd name="connsiteY870" fmla="*/ 8794 h 10000"/>
                <a:gd name="connsiteX871" fmla="*/ 472 w 10000"/>
                <a:gd name="connsiteY871" fmla="*/ 8780 h 10000"/>
                <a:gd name="connsiteX872" fmla="*/ 462 w 10000"/>
                <a:gd name="connsiteY872" fmla="*/ 8784 h 10000"/>
                <a:gd name="connsiteX873" fmla="*/ 452 w 10000"/>
                <a:gd name="connsiteY873" fmla="*/ 8787 h 10000"/>
                <a:gd name="connsiteX874" fmla="*/ 437 w 10000"/>
                <a:gd name="connsiteY874" fmla="*/ 8794 h 10000"/>
                <a:gd name="connsiteX875" fmla="*/ 424 w 10000"/>
                <a:gd name="connsiteY875" fmla="*/ 8803 h 10000"/>
                <a:gd name="connsiteX876" fmla="*/ 394 w 10000"/>
                <a:gd name="connsiteY876" fmla="*/ 8829 h 10000"/>
                <a:gd name="connsiteX877" fmla="*/ 364 w 10000"/>
                <a:gd name="connsiteY877" fmla="*/ 8859 h 10000"/>
                <a:gd name="connsiteX878" fmla="*/ 311 w 10000"/>
                <a:gd name="connsiteY878" fmla="*/ 8922 h 10000"/>
                <a:gd name="connsiteX879" fmla="*/ 268 w 10000"/>
                <a:gd name="connsiteY879" fmla="*/ 8964 h 10000"/>
                <a:gd name="connsiteX880" fmla="*/ 205 w 10000"/>
                <a:gd name="connsiteY880" fmla="*/ 9016 h 10000"/>
                <a:gd name="connsiteX881" fmla="*/ 146 w 10000"/>
                <a:gd name="connsiteY881" fmla="*/ 9053 h 10000"/>
                <a:gd name="connsiteX882" fmla="*/ 139 w 10000"/>
                <a:gd name="connsiteY882" fmla="*/ 9063 h 10000"/>
                <a:gd name="connsiteX883" fmla="*/ 129 w 10000"/>
                <a:gd name="connsiteY883" fmla="*/ 9077 h 10000"/>
                <a:gd name="connsiteX884" fmla="*/ 126 w 10000"/>
                <a:gd name="connsiteY884" fmla="*/ 9086 h 10000"/>
                <a:gd name="connsiteX885" fmla="*/ 126 w 10000"/>
                <a:gd name="connsiteY885" fmla="*/ 9102 h 10000"/>
                <a:gd name="connsiteX886" fmla="*/ 129 w 10000"/>
                <a:gd name="connsiteY886" fmla="*/ 9116 h 10000"/>
                <a:gd name="connsiteX887" fmla="*/ 139 w 10000"/>
                <a:gd name="connsiteY887" fmla="*/ 9135 h 10000"/>
                <a:gd name="connsiteX888" fmla="*/ 149 w 10000"/>
                <a:gd name="connsiteY888" fmla="*/ 9151 h 10000"/>
                <a:gd name="connsiteX889" fmla="*/ 164 w 10000"/>
                <a:gd name="connsiteY889" fmla="*/ 9175 h 10000"/>
                <a:gd name="connsiteX890" fmla="*/ 184 w 10000"/>
                <a:gd name="connsiteY890" fmla="*/ 9196 h 10000"/>
                <a:gd name="connsiteX891" fmla="*/ 207 w 10000"/>
                <a:gd name="connsiteY891" fmla="*/ 9215 h 10000"/>
                <a:gd name="connsiteX892" fmla="*/ 227 w 10000"/>
                <a:gd name="connsiteY892" fmla="*/ 9233 h 10000"/>
                <a:gd name="connsiteX893" fmla="*/ 253 w 10000"/>
                <a:gd name="connsiteY893" fmla="*/ 9250 h 10000"/>
                <a:gd name="connsiteX894" fmla="*/ 303 w 10000"/>
                <a:gd name="connsiteY894" fmla="*/ 9282 h 10000"/>
                <a:gd name="connsiteX895" fmla="*/ 351 w 10000"/>
                <a:gd name="connsiteY895" fmla="*/ 9315 h 10000"/>
                <a:gd name="connsiteX896" fmla="*/ 414 w 10000"/>
                <a:gd name="connsiteY896" fmla="*/ 9364 h 10000"/>
                <a:gd name="connsiteX897" fmla="*/ 480 w 10000"/>
                <a:gd name="connsiteY897" fmla="*/ 9416 h 10000"/>
                <a:gd name="connsiteX898" fmla="*/ 513 w 10000"/>
                <a:gd name="connsiteY898" fmla="*/ 9437 h 10000"/>
                <a:gd name="connsiteX899" fmla="*/ 548 w 10000"/>
                <a:gd name="connsiteY899" fmla="*/ 9462 h 10000"/>
                <a:gd name="connsiteX900" fmla="*/ 581 w 10000"/>
                <a:gd name="connsiteY900" fmla="*/ 9483 h 10000"/>
                <a:gd name="connsiteX901" fmla="*/ 614 w 10000"/>
                <a:gd name="connsiteY901" fmla="*/ 9502 h 10000"/>
                <a:gd name="connsiteX902" fmla="*/ 641 w 10000"/>
                <a:gd name="connsiteY902" fmla="*/ 9525 h 10000"/>
                <a:gd name="connsiteX903" fmla="*/ 672 w 10000"/>
                <a:gd name="connsiteY903" fmla="*/ 9549 h 10000"/>
                <a:gd name="connsiteX904" fmla="*/ 702 w 10000"/>
                <a:gd name="connsiteY904" fmla="*/ 9568 h 10000"/>
                <a:gd name="connsiteX905" fmla="*/ 737 w 10000"/>
                <a:gd name="connsiteY905" fmla="*/ 9589 h 10000"/>
                <a:gd name="connsiteX906" fmla="*/ 770 w 10000"/>
                <a:gd name="connsiteY906" fmla="*/ 9605 h 10000"/>
                <a:gd name="connsiteX907" fmla="*/ 808 w 10000"/>
                <a:gd name="connsiteY907" fmla="*/ 9617 h 10000"/>
                <a:gd name="connsiteX908" fmla="*/ 843 w 10000"/>
                <a:gd name="connsiteY908" fmla="*/ 9624 h 10000"/>
                <a:gd name="connsiteX909" fmla="*/ 884 w 10000"/>
                <a:gd name="connsiteY909" fmla="*/ 9628 h 10000"/>
                <a:gd name="connsiteX910" fmla="*/ 902 w 10000"/>
                <a:gd name="connsiteY910" fmla="*/ 9628 h 10000"/>
                <a:gd name="connsiteX911" fmla="*/ 914 w 10000"/>
                <a:gd name="connsiteY911" fmla="*/ 9631 h 10000"/>
                <a:gd name="connsiteX912" fmla="*/ 932 w 10000"/>
                <a:gd name="connsiteY912" fmla="*/ 9638 h 10000"/>
                <a:gd name="connsiteX913" fmla="*/ 942 w 10000"/>
                <a:gd name="connsiteY913" fmla="*/ 9642 h 10000"/>
                <a:gd name="connsiteX914" fmla="*/ 967 w 10000"/>
                <a:gd name="connsiteY914" fmla="*/ 9652 h 10000"/>
                <a:gd name="connsiteX915" fmla="*/ 987 w 10000"/>
                <a:gd name="connsiteY915" fmla="*/ 9668 h 10000"/>
                <a:gd name="connsiteX916" fmla="*/ 1005 w 10000"/>
                <a:gd name="connsiteY916" fmla="*/ 9682 h 10000"/>
                <a:gd name="connsiteX917" fmla="*/ 1025 w 10000"/>
                <a:gd name="connsiteY917" fmla="*/ 9698 h 10000"/>
                <a:gd name="connsiteX918" fmla="*/ 1045 w 10000"/>
                <a:gd name="connsiteY918" fmla="*/ 9712 h 10000"/>
                <a:gd name="connsiteX919" fmla="*/ 1073 w 10000"/>
                <a:gd name="connsiteY919" fmla="*/ 9724 h 10000"/>
                <a:gd name="connsiteX920" fmla="*/ 1098 w 10000"/>
                <a:gd name="connsiteY920" fmla="*/ 9738 h 10000"/>
                <a:gd name="connsiteX921" fmla="*/ 1121 w 10000"/>
                <a:gd name="connsiteY921" fmla="*/ 9750 h 10000"/>
                <a:gd name="connsiteX922" fmla="*/ 1141 w 10000"/>
                <a:gd name="connsiteY922" fmla="*/ 9762 h 10000"/>
                <a:gd name="connsiteX923" fmla="*/ 1159 w 10000"/>
                <a:gd name="connsiteY923" fmla="*/ 9776 h 10000"/>
                <a:gd name="connsiteX924" fmla="*/ 1172 w 10000"/>
                <a:gd name="connsiteY924" fmla="*/ 9787 h 10000"/>
                <a:gd name="connsiteX925" fmla="*/ 1182 w 10000"/>
                <a:gd name="connsiteY925" fmla="*/ 9804 h 10000"/>
                <a:gd name="connsiteX926" fmla="*/ 1194 w 10000"/>
                <a:gd name="connsiteY926" fmla="*/ 9818 h 10000"/>
                <a:gd name="connsiteX927" fmla="*/ 1202 w 10000"/>
                <a:gd name="connsiteY927" fmla="*/ 9834 h 10000"/>
                <a:gd name="connsiteX928" fmla="*/ 1212 w 10000"/>
                <a:gd name="connsiteY928" fmla="*/ 9869 h 10000"/>
                <a:gd name="connsiteX929" fmla="*/ 1220 w 10000"/>
                <a:gd name="connsiteY929" fmla="*/ 9906 h 10000"/>
                <a:gd name="connsiteX930" fmla="*/ 1230 w 10000"/>
                <a:gd name="connsiteY930" fmla="*/ 9951 h 10000"/>
                <a:gd name="connsiteX931" fmla="*/ 1237 w 10000"/>
                <a:gd name="connsiteY931" fmla="*/ 10000 h 10000"/>
                <a:gd name="connsiteX932" fmla="*/ 1237 w 10000"/>
                <a:gd name="connsiteY93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212 w 10000"/>
                <a:gd name="connsiteY757" fmla="*/ 7653 h 10000"/>
                <a:gd name="connsiteX758" fmla="*/ 2199 w 10000"/>
                <a:gd name="connsiteY758" fmla="*/ 7660 h 10000"/>
                <a:gd name="connsiteX759" fmla="*/ 2172 w 10000"/>
                <a:gd name="connsiteY759" fmla="*/ 7714 h 10000"/>
                <a:gd name="connsiteX760" fmla="*/ 2167 w 10000"/>
                <a:gd name="connsiteY760" fmla="*/ 7742 h 10000"/>
                <a:gd name="connsiteX761" fmla="*/ 2162 w 10000"/>
                <a:gd name="connsiteY761" fmla="*/ 7775 h 10000"/>
                <a:gd name="connsiteX762" fmla="*/ 2159 w 10000"/>
                <a:gd name="connsiteY762" fmla="*/ 7833 h 10000"/>
                <a:gd name="connsiteX763" fmla="*/ 2157 w 10000"/>
                <a:gd name="connsiteY763" fmla="*/ 7882 h 10000"/>
                <a:gd name="connsiteX764" fmla="*/ 2157 w 10000"/>
                <a:gd name="connsiteY764" fmla="*/ 7938 h 10000"/>
                <a:gd name="connsiteX765" fmla="*/ 2159 w 10000"/>
                <a:gd name="connsiteY765" fmla="*/ 8006 h 10000"/>
                <a:gd name="connsiteX766" fmla="*/ 2162 w 10000"/>
                <a:gd name="connsiteY766" fmla="*/ 8079 h 10000"/>
                <a:gd name="connsiteX767" fmla="*/ 2159 w 10000"/>
                <a:gd name="connsiteY767" fmla="*/ 8156 h 10000"/>
                <a:gd name="connsiteX768" fmla="*/ 2157 w 10000"/>
                <a:gd name="connsiteY768" fmla="*/ 8193 h 10000"/>
                <a:gd name="connsiteX769" fmla="*/ 2154 w 10000"/>
                <a:gd name="connsiteY769" fmla="*/ 8228 h 10000"/>
                <a:gd name="connsiteX770" fmla="*/ 2146 w 10000"/>
                <a:gd name="connsiteY770" fmla="*/ 8261 h 10000"/>
                <a:gd name="connsiteX771" fmla="*/ 2136 w 10000"/>
                <a:gd name="connsiteY771" fmla="*/ 8291 h 10000"/>
                <a:gd name="connsiteX772" fmla="*/ 2124 w 10000"/>
                <a:gd name="connsiteY772" fmla="*/ 8319 h 10000"/>
                <a:gd name="connsiteX773" fmla="*/ 2109 w 10000"/>
                <a:gd name="connsiteY773" fmla="*/ 8345 h 10000"/>
                <a:gd name="connsiteX774" fmla="*/ 2098 w 10000"/>
                <a:gd name="connsiteY774" fmla="*/ 8354 h 10000"/>
                <a:gd name="connsiteX775" fmla="*/ 2088 w 10000"/>
                <a:gd name="connsiteY775" fmla="*/ 8364 h 10000"/>
                <a:gd name="connsiteX776" fmla="*/ 2078 w 10000"/>
                <a:gd name="connsiteY776" fmla="*/ 8373 h 10000"/>
                <a:gd name="connsiteX777" fmla="*/ 2063 w 10000"/>
                <a:gd name="connsiteY777" fmla="*/ 8380 h 10000"/>
                <a:gd name="connsiteX778" fmla="*/ 1990 w 10000"/>
                <a:gd name="connsiteY778" fmla="*/ 8422 h 10000"/>
                <a:gd name="connsiteX779" fmla="*/ 1904 w 10000"/>
                <a:gd name="connsiteY779" fmla="*/ 8481 h 10000"/>
                <a:gd name="connsiteX780" fmla="*/ 1856 w 10000"/>
                <a:gd name="connsiteY780" fmla="*/ 8506 h 10000"/>
                <a:gd name="connsiteX781" fmla="*/ 1816 w 10000"/>
                <a:gd name="connsiteY781" fmla="*/ 8527 h 10000"/>
                <a:gd name="connsiteX782" fmla="*/ 1793 w 10000"/>
                <a:gd name="connsiteY782" fmla="*/ 8539 h 10000"/>
                <a:gd name="connsiteX783" fmla="*/ 1775 w 10000"/>
                <a:gd name="connsiteY783" fmla="*/ 8546 h 10000"/>
                <a:gd name="connsiteX784" fmla="*/ 1758 w 10000"/>
                <a:gd name="connsiteY784" fmla="*/ 8548 h 10000"/>
                <a:gd name="connsiteX785" fmla="*/ 1742 w 10000"/>
                <a:gd name="connsiteY785" fmla="*/ 8551 h 10000"/>
                <a:gd name="connsiteX786" fmla="*/ 1727 w 10000"/>
                <a:gd name="connsiteY786" fmla="*/ 8537 h 10000"/>
                <a:gd name="connsiteX787" fmla="*/ 1717 w 10000"/>
                <a:gd name="connsiteY787" fmla="*/ 8518 h 10000"/>
                <a:gd name="connsiteX788" fmla="*/ 1710 w 10000"/>
                <a:gd name="connsiteY788" fmla="*/ 8499 h 10000"/>
                <a:gd name="connsiteX789" fmla="*/ 1702 w 10000"/>
                <a:gd name="connsiteY789" fmla="*/ 8476 h 10000"/>
                <a:gd name="connsiteX790" fmla="*/ 1684 w 10000"/>
                <a:gd name="connsiteY790" fmla="*/ 8429 h 10000"/>
                <a:gd name="connsiteX791" fmla="*/ 1674 w 10000"/>
                <a:gd name="connsiteY791" fmla="*/ 8380 h 10000"/>
                <a:gd name="connsiteX792" fmla="*/ 1667 w 10000"/>
                <a:gd name="connsiteY792" fmla="*/ 8329 h 10000"/>
                <a:gd name="connsiteX793" fmla="*/ 1659 w 10000"/>
                <a:gd name="connsiteY793" fmla="*/ 8282 h 10000"/>
                <a:gd name="connsiteX794" fmla="*/ 1657 w 10000"/>
                <a:gd name="connsiteY794" fmla="*/ 8235 h 10000"/>
                <a:gd name="connsiteX795" fmla="*/ 1657 w 10000"/>
                <a:gd name="connsiteY795" fmla="*/ 8195 h 10000"/>
                <a:gd name="connsiteX796" fmla="*/ 1652 w 10000"/>
                <a:gd name="connsiteY796" fmla="*/ 8191 h 10000"/>
                <a:gd name="connsiteX797" fmla="*/ 1586 w 10000"/>
                <a:gd name="connsiteY797" fmla="*/ 8188 h 10000"/>
                <a:gd name="connsiteX798" fmla="*/ 1525 w 10000"/>
                <a:gd name="connsiteY798" fmla="*/ 8186 h 10000"/>
                <a:gd name="connsiteX799" fmla="*/ 1500 w 10000"/>
                <a:gd name="connsiteY799" fmla="*/ 8191 h 10000"/>
                <a:gd name="connsiteX800" fmla="*/ 1472 w 10000"/>
                <a:gd name="connsiteY800" fmla="*/ 8198 h 10000"/>
                <a:gd name="connsiteX801" fmla="*/ 1457 w 10000"/>
                <a:gd name="connsiteY801" fmla="*/ 8205 h 10000"/>
                <a:gd name="connsiteX802" fmla="*/ 1444 w 10000"/>
                <a:gd name="connsiteY802" fmla="*/ 8212 h 10000"/>
                <a:gd name="connsiteX803" fmla="*/ 1434 w 10000"/>
                <a:gd name="connsiteY803" fmla="*/ 8223 h 10000"/>
                <a:gd name="connsiteX804" fmla="*/ 1419 w 10000"/>
                <a:gd name="connsiteY804" fmla="*/ 8233 h 10000"/>
                <a:gd name="connsiteX805" fmla="*/ 1412 w 10000"/>
                <a:gd name="connsiteY805" fmla="*/ 8247 h 10000"/>
                <a:gd name="connsiteX806" fmla="*/ 1402 w 10000"/>
                <a:gd name="connsiteY806" fmla="*/ 8261 h 10000"/>
                <a:gd name="connsiteX807" fmla="*/ 1394 w 10000"/>
                <a:gd name="connsiteY807" fmla="*/ 8275 h 10000"/>
                <a:gd name="connsiteX808" fmla="*/ 1386 w 10000"/>
                <a:gd name="connsiteY808" fmla="*/ 8294 h 10000"/>
                <a:gd name="connsiteX809" fmla="*/ 1374 w 10000"/>
                <a:gd name="connsiteY809" fmla="*/ 8331 h 10000"/>
                <a:gd name="connsiteX810" fmla="*/ 1361 w 10000"/>
                <a:gd name="connsiteY810" fmla="*/ 8368 h 10000"/>
                <a:gd name="connsiteX811" fmla="*/ 1354 w 10000"/>
                <a:gd name="connsiteY811" fmla="*/ 8387 h 10000"/>
                <a:gd name="connsiteX812" fmla="*/ 1346 w 10000"/>
                <a:gd name="connsiteY812" fmla="*/ 8406 h 10000"/>
                <a:gd name="connsiteX813" fmla="*/ 1338 w 10000"/>
                <a:gd name="connsiteY813" fmla="*/ 8420 h 10000"/>
                <a:gd name="connsiteX814" fmla="*/ 1328 w 10000"/>
                <a:gd name="connsiteY814" fmla="*/ 8436 h 10000"/>
                <a:gd name="connsiteX815" fmla="*/ 1316 w 10000"/>
                <a:gd name="connsiteY815" fmla="*/ 8446 h 10000"/>
                <a:gd name="connsiteX816" fmla="*/ 1306 w 10000"/>
                <a:gd name="connsiteY816" fmla="*/ 8453 h 10000"/>
                <a:gd name="connsiteX817" fmla="*/ 1293 w 10000"/>
                <a:gd name="connsiteY817" fmla="*/ 8460 h 10000"/>
                <a:gd name="connsiteX818" fmla="*/ 1275 w 10000"/>
                <a:gd name="connsiteY818" fmla="*/ 8460 h 10000"/>
                <a:gd name="connsiteX819" fmla="*/ 1265 w 10000"/>
                <a:gd name="connsiteY819" fmla="*/ 8450 h 10000"/>
                <a:gd name="connsiteX820" fmla="*/ 1258 w 10000"/>
                <a:gd name="connsiteY820" fmla="*/ 8441 h 10000"/>
                <a:gd name="connsiteX821" fmla="*/ 1245 w 10000"/>
                <a:gd name="connsiteY821" fmla="*/ 8424 h 10000"/>
                <a:gd name="connsiteX822" fmla="*/ 1237 w 10000"/>
                <a:gd name="connsiteY822" fmla="*/ 8408 h 10000"/>
                <a:gd name="connsiteX823" fmla="*/ 1217 w 10000"/>
                <a:gd name="connsiteY823" fmla="*/ 8373 h 10000"/>
                <a:gd name="connsiteX824" fmla="*/ 1202 w 10000"/>
                <a:gd name="connsiteY824" fmla="*/ 8333 h 10000"/>
                <a:gd name="connsiteX825" fmla="*/ 1182 w 10000"/>
                <a:gd name="connsiteY825" fmla="*/ 8296 h 10000"/>
                <a:gd name="connsiteX826" fmla="*/ 1162 w 10000"/>
                <a:gd name="connsiteY826" fmla="*/ 8268 h 10000"/>
                <a:gd name="connsiteX827" fmla="*/ 1149 w 10000"/>
                <a:gd name="connsiteY827" fmla="*/ 8256 h 10000"/>
                <a:gd name="connsiteX828" fmla="*/ 1139 w 10000"/>
                <a:gd name="connsiteY828" fmla="*/ 8249 h 10000"/>
                <a:gd name="connsiteX829" fmla="*/ 1126 w 10000"/>
                <a:gd name="connsiteY829" fmla="*/ 8240 h 10000"/>
                <a:gd name="connsiteX830" fmla="*/ 1114 w 10000"/>
                <a:gd name="connsiteY830" fmla="*/ 8240 h 10000"/>
                <a:gd name="connsiteX831" fmla="*/ 1091 w 10000"/>
                <a:gd name="connsiteY831" fmla="*/ 8242 h 10000"/>
                <a:gd name="connsiteX832" fmla="*/ 1071 w 10000"/>
                <a:gd name="connsiteY832" fmla="*/ 8252 h 10000"/>
                <a:gd name="connsiteX833" fmla="*/ 1048 w 10000"/>
                <a:gd name="connsiteY833" fmla="*/ 8261 h 10000"/>
                <a:gd name="connsiteX834" fmla="*/ 1030 w 10000"/>
                <a:gd name="connsiteY834" fmla="*/ 8273 h 10000"/>
                <a:gd name="connsiteX835" fmla="*/ 1010 w 10000"/>
                <a:gd name="connsiteY835" fmla="*/ 8287 h 10000"/>
                <a:gd name="connsiteX836" fmla="*/ 995 w 10000"/>
                <a:gd name="connsiteY836" fmla="*/ 8303 h 10000"/>
                <a:gd name="connsiteX837" fmla="*/ 975 w 10000"/>
                <a:gd name="connsiteY837" fmla="*/ 8322 h 10000"/>
                <a:gd name="connsiteX838" fmla="*/ 960 w 10000"/>
                <a:gd name="connsiteY838" fmla="*/ 8343 h 10000"/>
                <a:gd name="connsiteX839" fmla="*/ 927 w 10000"/>
                <a:gd name="connsiteY839" fmla="*/ 8380 h 10000"/>
                <a:gd name="connsiteX840" fmla="*/ 891 w 10000"/>
                <a:gd name="connsiteY840" fmla="*/ 8417 h 10000"/>
                <a:gd name="connsiteX841" fmla="*/ 874 w 10000"/>
                <a:gd name="connsiteY841" fmla="*/ 8436 h 10000"/>
                <a:gd name="connsiteX842" fmla="*/ 859 w 10000"/>
                <a:gd name="connsiteY842" fmla="*/ 8450 h 10000"/>
                <a:gd name="connsiteX843" fmla="*/ 838 w 10000"/>
                <a:gd name="connsiteY843" fmla="*/ 8462 h 10000"/>
                <a:gd name="connsiteX844" fmla="*/ 821 w 10000"/>
                <a:gd name="connsiteY844" fmla="*/ 8476 h 10000"/>
                <a:gd name="connsiteX845" fmla="*/ 742 w 10000"/>
                <a:gd name="connsiteY845" fmla="*/ 8562 h 10000"/>
                <a:gd name="connsiteX846" fmla="*/ 672 w 10000"/>
                <a:gd name="connsiteY846" fmla="*/ 8644 h 10000"/>
                <a:gd name="connsiteX847" fmla="*/ 639 w 10000"/>
                <a:gd name="connsiteY847" fmla="*/ 8684 h 10000"/>
                <a:gd name="connsiteX848" fmla="*/ 609 w 10000"/>
                <a:gd name="connsiteY848" fmla="*/ 8731 h 10000"/>
                <a:gd name="connsiteX849" fmla="*/ 583 w 10000"/>
                <a:gd name="connsiteY849" fmla="*/ 8777 h 10000"/>
                <a:gd name="connsiteX850" fmla="*/ 556 w 10000"/>
                <a:gd name="connsiteY850" fmla="*/ 8831 h 10000"/>
                <a:gd name="connsiteX851" fmla="*/ 545 w 10000"/>
                <a:gd name="connsiteY851" fmla="*/ 8852 h 10000"/>
                <a:gd name="connsiteX852" fmla="*/ 525 w 10000"/>
                <a:gd name="connsiteY852" fmla="*/ 8885 h 10000"/>
                <a:gd name="connsiteX853" fmla="*/ 503 w 10000"/>
                <a:gd name="connsiteY853" fmla="*/ 8925 h 10000"/>
                <a:gd name="connsiteX854" fmla="*/ 480 w 10000"/>
                <a:gd name="connsiteY854" fmla="*/ 8962 h 10000"/>
                <a:gd name="connsiteX855" fmla="*/ 465 w 10000"/>
                <a:gd name="connsiteY855" fmla="*/ 8981 h 10000"/>
                <a:gd name="connsiteX856" fmla="*/ 455 w 10000"/>
                <a:gd name="connsiteY856" fmla="*/ 8993 h 10000"/>
                <a:gd name="connsiteX857" fmla="*/ 444 w 10000"/>
                <a:gd name="connsiteY857" fmla="*/ 9000 h 10000"/>
                <a:gd name="connsiteX858" fmla="*/ 434 w 10000"/>
                <a:gd name="connsiteY858" fmla="*/ 9007 h 10000"/>
                <a:gd name="connsiteX859" fmla="*/ 432 w 10000"/>
                <a:gd name="connsiteY859" fmla="*/ 9007 h 10000"/>
                <a:gd name="connsiteX860" fmla="*/ 429 w 10000"/>
                <a:gd name="connsiteY860" fmla="*/ 9004 h 10000"/>
                <a:gd name="connsiteX861" fmla="*/ 427 w 10000"/>
                <a:gd name="connsiteY861" fmla="*/ 8997 h 10000"/>
                <a:gd name="connsiteX862" fmla="*/ 427 w 10000"/>
                <a:gd name="connsiteY862" fmla="*/ 8993 h 10000"/>
                <a:gd name="connsiteX863" fmla="*/ 424 w 10000"/>
                <a:gd name="connsiteY863" fmla="*/ 8976 h 10000"/>
                <a:gd name="connsiteX864" fmla="*/ 427 w 10000"/>
                <a:gd name="connsiteY864" fmla="*/ 8948 h 10000"/>
                <a:gd name="connsiteX865" fmla="*/ 437 w 10000"/>
                <a:gd name="connsiteY865" fmla="*/ 8913 h 10000"/>
                <a:gd name="connsiteX866" fmla="*/ 455 w 10000"/>
                <a:gd name="connsiteY866" fmla="*/ 8859 h 10000"/>
                <a:gd name="connsiteX867" fmla="*/ 462 w 10000"/>
                <a:gd name="connsiteY867" fmla="*/ 8834 h 10000"/>
                <a:gd name="connsiteX868" fmla="*/ 470 w 10000"/>
                <a:gd name="connsiteY868" fmla="*/ 8810 h 10000"/>
                <a:gd name="connsiteX869" fmla="*/ 472 w 10000"/>
                <a:gd name="connsiteY869" fmla="*/ 8794 h 10000"/>
                <a:gd name="connsiteX870" fmla="*/ 472 w 10000"/>
                <a:gd name="connsiteY870" fmla="*/ 8780 h 10000"/>
                <a:gd name="connsiteX871" fmla="*/ 462 w 10000"/>
                <a:gd name="connsiteY871" fmla="*/ 8784 h 10000"/>
                <a:gd name="connsiteX872" fmla="*/ 452 w 10000"/>
                <a:gd name="connsiteY872" fmla="*/ 8787 h 10000"/>
                <a:gd name="connsiteX873" fmla="*/ 437 w 10000"/>
                <a:gd name="connsiteY873" fmla="*/ 8794 h 10000"/>
                <a:gd name="connsiteX874" fmla="*/ 424 w 10000"/>
                <a:gd name="connsiteY874" fmla="*/ 8803 h 10000"/>
                <a:gd name="connsiteX875" fmla="*/ 394 w 10000"/>
                <a:gd name="connsiteY875" fmla="*/ 8829 h 10000"/>
                <a:gd name="connsiteX876" fmla="*/ 364 w 10000"/>
                <a:gd name="connsiteY876" fmla="*/ 8859 h 10000"/>
                <a:gd name="connsiteX877" fmla="*/ 311 w 10000"/>
                <a:gd name="connsiteY877" fmla="*/ 8922 h 10000"/>
                <a:gd name="connsiteX878" fmla="*/ 268 w 10000"/>
                <a:gd name="connsiteY878" fmla="*/ 8964 h 10000"/>
                <a:gd name="connsiteX879" fmla="*/ 205 w 10000"/>
                <a:gd name="connsiteY879" fmla="*/ 9016 h 10000"/>
                <a:gd name="connsiteX880" fmla="*/ 146 w 10000"/>
                <a:gd name="connsiteY880" fmla="*/ 9053 h 10000"/>
                <a:gd name="connsiteX881" fmla="*/ 139 w 10000"/>
                <a:gd name="connsiteY881" fmla="*/ 9063 h 10000"/>
                <a:gd name="connsiteX882" fmla="*/ 129 w 10000"/>
                <a:gd name="connsiteY882" fmla="*/ 9077 h 10000"/>
                <a:gd name="connsiteX883" fmla="*/ 126 w 10000"/>
                <a:gd name="connsiteY883" fmla="*/ 9086 h 10000"/>
                <a:gd name="connsiteX884" fmla="*/ 126 w 10000"/>
                <a:gd name="connsiteY884" fmla="*/ 9102 h 10000"/>
                <a:gd name="connsiteX885" fmla="*/ 129 w 10000"/>
                <a:gd name="connsiteY885" fmla="*/ 9116 h 10000"/>
                <a:gd name="connsiteX886" fmla="*/ 139 w 10000"/>
                <a:gd name="connsiteY886" fmla="*/ 9135 h 10000"/>
                <a:gd name="connsiteX887" fmla="*/ 149 w 10000"/>
                <a:gd name="connsiteY887" fmla="*/ 9151 h 10000"/>
                <a:gd name="connsiteX888" fmla="*/ 164 w 10000"/>
                <a:gd name="connsiteY888" fmla="*/ 9175 h 10000"/>
                <a:gd name="connsiteX889" fmla="*/ 184 w 10000"/>
                <a:gd name="connsiteY889" fmla="*/ 9196 h 10000"/>
                <a:gd name="connsiteX890" fmla="*/ 207 w 10000"/>
                <a:gd name="connsiteY890" fmla="*/ 9215 h 10000"/>
                <a:gd name="connsiteX891" fmla="*/ 227 w 10000"/>
                <a:gd name="connsiteY891" fmla="*/ 9233 h 10000"/>
                <a:gd name="connsiteX892" fmla="*/ 253 w 10000"/>
                <a:gd name="connsiteY892" fmla="*/ 9250 h 10000"/>
                <a:gd name="connsiteX893" fmla="*/ 303 w 10000"/>
                <a:gd name="connsiteY893" fmla="*/ 9282 h 10000"/>
                <a:gd name="connsiteX894" fmla="*/ 351 w 10000"/>
                <a:gd name="connsiteY894" fmla="*/ 9315 h 10000"/>
                <a:gd name="connsiteX895" fmla="*/ 414 w 10000"/>
                <a:gd name="connsiteY895" fmla="*/ 9364 h 10000"/>
                <a:gd name="connsiteX896" fmla="*/ 480 w 10000"/>
                <a:gd name="connsiteY896" fmla="*/ 9416 h 10000"/>
                <a:gd name="connsiteX897" fmla="*/ 513 w 10000"/>
                <a:gd name="connsiteY897" fmla="*/ 9437 h 10000"/>
                <a:gd name="connsiteX898" fmla="*/ 548 w 10000"/>
                <a:gd name="connsiteY898" fmla="*/ 9462 h 10000"/>
                <a:gd name="connsiteX899" fmla="*/ 581 w 10000"/>
                <a:gd name="connsiteY899" fmla="*/ 9483 h 10000"/>
                <a:gd name="connsiteX900" fmla="*/ 614 w 10000"/>
                <a:gd name="connsiteY900" fmla="*/ 9502 h 10000"/>
                <a:gd name="connsiteX901" fmla="*/ 641 w 10000"/>
                <a:gd name="connsiteY901" fmla="*/ 9525 h 10000"/>
                <a:gd name="connsiteX902" fmla="*/ 672 w 10000"/>
                <a:gd name="connsiteY902" fmla="*/ 9549 h 10000"/>
                <a:gd name="connsiteX903" fmla="*/ 702 w 10000"/>
                <a:gd name="connsiteY903" fmla="*/ 9568 h 10000"/>
                <a:gd name="connsiteX904" fmla="*/ 737 w 10000"/>
                <a:gd name="connsiteY904" fmla="*/ 9589 h 10000"/>
                <a:gd name="connsiteX905" fmla="*/ 770 w 10000"/>
                <a:gd name="connsiteY905" fmla="*/ 9605 h 10000"/>
                <a:gd name="connsiteX906" fmla="*/ 808 w 10000"/>
                <a:gd name="connsiteY906" fmla="*/ 9617 h 10000"/>
                <a:gd name="connsiteX907" fmla="*/ 843 w 10000"/>
                <a:gd name="connsiteY907" fmla="*/ 9624 h 10000"/>
                <a:gd name="connsiteX908" fmla="*/ 884 w 10000"/>
                <a:gd name="connsiteY908" fmla="*/ 9628 h 10000"/>
                <a:gd name="connsiteX909" fmla="*/ 902 w 10000"/>
                <a:gd name="connsiteY909" fmla="*/ 9628 h 10000"/>
                <a:gd name="connsiteX910" fmla="*/ 914 w 10000"/>
                <a:gd name="connsiteY910" fmla="*/ 9631 h 10000"/>
                <a:gd name="connsiteX911" fmla="*/ 932 w 10000"/>
                <a:gd name="connsiteY911" fmla="*/ 9638 h 10000"/>
                <a:gd name="connsiteX912" fmla="*/ 942 w 10000"/>
                <a:gd name="connsiteY912" fmla="*/ 9642 h 10000"/>
                <a:gd name="connsiteX913" fmla="*/ 967 w 10000"/>
                <a:gd name="connsiteY913" fmla="*/ 9652 h 10000"/>
                <a:gd name="connsiteX914" fmla="*/ 987 w 10000"/>
                <a:gd name="connsiteY914" fmla="*/ 9668 h 10000"/>
                <a:gd name="connsiteX915" fmla="*/ 1005 w 10000"/>
                <a:gd name="connsiteY915" fmla="*/ 9682 h 10000"/>
                <a:gd name="connsiteX916" fmla="*/ 1025 w 10000"/>
                <a:gd name="connsiteY916" fmla="*/ 9698 h 10000"/>
                <a:gd name="connsiteX917" fmla="*/ 1045 w 10000"/>
                <a:gd name="connsiteY917" fmla="*/ 9712 h 10000"/>
                <a:gd name="connsiteX918" fmla="*/ 1073 w 10000"/>
                <a:gd name="connsiteY918" fmla="*/ 9724 h 10000"/>
                <a:gd name="connsiteX919" fmla="*/ 1098 w 10000"/>
                <a:gd name="connsiteY919" fmla="*/ 9738 h 10000"/>
                <a:gd name="connsiteX920" fmla="*/ 1121 w 10000"/>
                <a:gd name="connsiteY920" fmla="*/ 9750 h 10000"/>
                <a:gd name="connsiteX921" fmla="*/ 1141 w 10000"/>
                <a:gd name="connsiteY921" fmla="*/ 9762 h 10000"/>
                <a:gd name="connsiteX922" fmla="*/ 1159 w 10000"/>
                <a:gd name="connsiteY922" fmla="*/ 9776 h 10000"/>
                <a:gd name="connsiteX923" fmla="*/ 1172 w 10000"/>
                <a:gd name="connsiteY923" fmla="*/ 9787 h 10000"/>
                <a:gd name="connsiteX924" fmla="*/ 1182 w 10000"/>
                <a:gd name="connsiteY924" fmla="*/ 9804 h 10000"/>
                <a:gd name="connsiteX925" fmla="*/ 1194 w 10000"/>
                <a:gd name="connsiteY925" fmla="*/ 9818 h 10000"/>
                <a:gd name="connsiteX926" fmla="*/ 1202 w 10000"/>
                <a:gd name="connsiteY926" fmla="*/ 9834 h 10000"/>
                <a:gd name="connsiteX927" fmla="*/ 1212 w 10000"/>
                <a:gd name="connsiteY927" fmla="*/ 9869 h 10000"/>
                <a:gd name="connsiteX928" fmla="*/ 1220 w 10000"/>
                <a:gd name="connsiteY928" fmla="*/ 9906 h 10000"/>
                <a:gd name="connsiteX929" fmla="*/ 1230 w 10000"/>
                <a:gd name="connsiteY929" fmla="*/ 9951 h 10000"/>
                <a:gd name="connsiteX930" fmla="*/ 1237 w 10000"/>
                <a:gd name="connsiteY930" fmla="*/ 10000 h 10000"/>
                <a:gd name="connsiteX931" fmla="*/ 1237 w 10000"/>
                <a:gd name="connsiteY93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212 w 10000"/>
                <a:gd name="connsiteY757" fmla="*/ 7653 h 10000"/>
                <a:gd name="connsiteX758" fmla="*/ 2172 w 10000"/>
                <a:gd name="connsiteY758" fmla="*/ 7714 h 10000"/>
                <a:gd name="connsiteX759" fmla="*/ 2167 w 10000"/>
                <a:gd name="connsiteY759" fmla="*/ 7742 h 10000"/>
                <a:gd name="connsiteX760" fmla="*/ 2162 w 10000"/>
                <a:gd name="connsiteY760" fmla="*/ 7775 h 10000"/>
                <a:gd name="connsiteX761" fmla="*/ 2159 w 10000"/>
                <a:gd name="connsiteY761" fmla="*/ 7833 h 10000"/>
                <a:gd name="connsiteX762" fmla="*/ 2157 w 10000"/>
                <a:gd name="connsiteY762" fmla="*/ 7882 h 10000"/>
                <a:gd name="connsiteX763" fmla="*/ 2157 w 10000"/>
                <a:gd name="connsiteY763" fmla="*/ 7938 h 10000"/>
                <a:gd name="connsiteX764" fmla="*/ 2159 w 10000"/>
                <a:gd name="connsiteY764" fmla="*/ 8006 h 10000"/>
                <a:gd name="connsiteX765" fmla="*/ 2162 w 10000"/>
                <a:gd name="connsiteY765" fmla="*/ 8079 h 10000"/>
                <a:gd name="connsiteX766" fmla="*/ 2159 w 10000"/>
                <a:gd name="connsiteY766" fmla="*/ 8156 h 10000"/>
                <a:gd name="connsiteX767" fmla="*/ 2157 w 10000"/>
                <a:gd name="connsiteY767" fmla="*/ 8193 h 10000"/>
                <a:gd name="connsiteX768" fmla="*/ 2154 w 10000"/>
                <a:gd name="connsiteY768" fmla="*/ 8228 h 10000"/>
                <a:gd name="connsiteX769" fmla="*/ 2146 w 10000"/>
                <a:gd name="connsiteY769" fmla="*/ 8261 h 10000"/>
                <a:gd name="connsiteX770" fmla="*/ 2136 w 10000"/>
                <a:gd name="connsiteY770" fmla="*/ 8291 h 10000"/>
                <a:gd name="connsiteX771" fmla="*/ 2124 w 10000"/>
                <a:gd name="connsiteY771" fmla="*/ 8319 h 10000"/>
                <a:gd name="connsiteX772" fmla="*/ 2109 w 10000"/>
                <a:gd name="connsiteY772" fmla="*/ 8345 h 10000"/>
                <a:gd name="connsiteX773" fmla="*/ 2098 w 10000"/>
                <a:gd name="connsiteY773" fmla="*/ 8354 h 10000"/>
                <a:gd name="connsiteX774" fmla="*/ 2088 w 10000"/>
                <a:gd name="connsiteY774" fmla="*/ 8364 h 10000"/>
                <a:gd name="connsiteX775" fmla="*/ 2078 w 10000"/>
                <a:gd name="connsiteY775" fmla="*/ 8373 h 10000"/>
                <a:gd name="connsiteX776" fmla="*/ 2063 w 10000"/>
                <a:gd name="connsiteY776" fmla="*/ 8380 h 10000"/>
                <a:gd name="connsiteX777" fmla="*/ 1990 w 10000"/>
                <a:gd name="connsiteY777" fmla="*/ 8422 h 10000"/>
                <a:gd name="connsiteX778" fmla="*/ 1904 w 10000"/>
                <a:gd name="connsiteY778" fmla="*/ 8481 h 10000"/>
                <a:gd name="connsiteX779" fmla="*/ 1856 w 10000"/>
                <a:gd name="connsiteY779" fmla="*/ 8506 h 10000"/>
                <a:gd name="connsiteX780" fmla="*/ 1816 w 10000"/>
                <a:gd name="connsiteY780" fmla="*/ 8527 h 10000"/>
                <a:gd name="connsiteX781" fmla="*/ 1793 w 10000"/>
                <a:gd name="connsiteY781" fmla="*/ 8539 h 10000"/>
                <a:gd name="connsiteX782" fmla="*/ 1775 w 10000"/>
                <a:gd name="connsiteY782" fmla="*/ 8546 h 10000"/>
                <a:gd name="connsiteX783" fmla="*/ 1758 w 10000"/>
                <a:gd name="connsiteY783" fmla="*/ 8548 h 10000"/>
                <a:gd name="connsiteX784" fmla="*/ 1742 w 10000"/>
                <a:gd name="connsiteY784" fmla="*/ 8551 h 10000"/>
                <a:gd name="connsiteX785" fmla="*/ 1727 w 10000"/>
                <a:gd name="connsiteY785" fmla="*/ 8537 h 10000"/>
                <a:gd name="connsiteX786" fmla="*/ 1717 w 10000"/>
                <a:gd name="connsiteY786" fmla="*/ 8518 h 10000"/>
                <a:gd name="connsiteX787" fmla="*/ 1710 w 10000"/>
                <a:gd name="connsiteY787" fmla="*/ 8499 h 10000"/>
                <a:gd name="connsiteX788" fmla="*/ 1702 w 10000"/>
                <a:gd name="connsiteY788" fmla="*/ 8476 h 10000"/>
                <a:gd name="connsiteX789" fmla="*/ 1684 w 10000"/>
                <a:gd name="connsiteY789" fmla="*/ 8429 h 10000"/>
                <a:gd name="connsiteX790" fmla="*/ 1674 w 10000"/>
                <a:gd name="connsiteY790" fmla="*/ 8380 h 10000"/>
                <a:gd name="connsiteX791" fmla="*/ 1667 w 10000"/>
                <a:gd name="connsiteY791" fmla="*/ 8329 h 10000"/>
                <a:gd name="connsiteX792" fmla="*/ 1659 w 10000"/>
                <a:gd name="connsiteY792" fmla="*/ 8282 h 10000"/>
                <a:gd name="connsiteX793" fmla="*/ 1657 w 10000"/>
                <a:gd name="connsiteY793" fmla="*/ 8235 h 10000"/>
                <a:gd name="connsiteX794" fmla="*/ 1657 w 10000"/>
                <a:gd name="connsiteY794" fmla="*/ 8195 h 10000"/>
                <a:gd name="connsiteX795" fmla="*/ 1652 w 10000"/>
                <a:gd name="connsiteY795" fmla="*/ 8191 h 10000"/>
                <a:gd name="connsiteX796" fmla="*/ 1586 w 10000"/>
                <a:gd name="connsiteY796" fmla="*/ 8188 h 10000"/>
                <a:gd name="connsiteX797" fmla="*/ 1525 w 10000"/>
                <a:gd name="connsiteY797" fmla="*/ 8186 h 10000"/>
                <a:gd name="connsiteX798" fmla="*/ 1500 w 10000"/>
                <a:gd name="connsiteY798" fmla="*/ 8191 h 10000"/>
                <a:gd name="connsiteX799" fmla="*/ 1472 w 10000"/>
                <a:gd name="connsiteY799" fmla="*/ 8198 h 10000"/>
                <a:gd name="connsiteX800" fmla="*/ 1457 w 10000"/>
                <a:gd name="connsiteY800" fmla="*/ 8205 h 10000"/>
                <a:gd name="connsiteX801" fmla="*/ 1444 w 10000"/>
                <a:gd name="connsiteY801" fmla="*/ 8212 h 10000"/>
                <a:gd name="connsiteX802" fmla="*/ 1434 w 10000"/>
                <a:gd name="connsiteY802" fmla="*/ 8223 h 10000"/>
                <a:gd name="connsiteX803" fmla="*/ 1419 w 10000"/>
                <a:gd name="connsiteY803" fmla="*/ 8233 h 10000"/>
                <a:gd name="connsiteX804" fmla="*/ 1412 w 10000"/>
                <a:gd name="connsiteY804" fmla="*/ 8247 h 10000"/>
                <a:gd name="connsiteX805" fmla="*/ 1402 w 10000"/>
                <a:gd name="connsiteY805" fmla="*/ 8261 h 10000"/>
                <a:gd name="connsiteX806" fmla="*/ 1394 w 10000"/>
                <a:gd name="connsiteY806" fmla="*/ 8275 h 10000"/>
                <a:gd name="connsiteX807" fmla="*/ 1386 w 10000"/>
                <a:gd name="connsiteY807" fmla="*/ 8294 h 10000"/>
                <a:gd name="connsiteX808" fmla="*/ 1374 w 10000"/>
                <a:gd name="connsiteY808" fmla="*/ 8331 h 10000"/>
                <a:gd name="connsiteX809" fmla="*/ 1361 w 10000"/>
                <a:gd name="connsiteY809" fmla="*/ 8368 h 10000"/>
                <a:gd name="connsiteX810" fmla="*/ 1354 w 10000"/>
                <a:gd name="connsiteY810" fmla="*/ 8387 h 10000"/>
                <a:gd name="connsiteX811" fmla="*/ 1346 w 10000"/>
                <a:gd name="connsiteY811" fmla="*/ 8406 h 10000"/>
                <a:gd name="connsiteX812" fmla="*/ 1338 w 10000"/>
                <a:gd name="connsiteY812" fmla="*/ 8420 h 10000"/>
                <a:gd name="connsiteX813" fmla="*/ 1328 w 10000"/>
                <a:gd name="connsiteY813" fmla="*/ 8436 h 10000"/>
                <a:gd name="connsiteX814" fmla="*/ 1316 w 10000"/>
                <a:gd name="connsiteY814" fmla="*/ 8446 h 10000"/>
                <a:gd name="connsiteX815" fmla="*/ 1306 w 10000"/>
                <a:gd name="connsiteY815" fmla="*/ 8453 h 10000"/>
                <a:gd name="connsiteX816" fmla="*/ 1293 w 10000"/>
                <a:gd name="connsiteY816" fmla="*/ 8460 h 10000"/>
                <a:gd name="connsiteX817" fmla="*/ 1275 w 10000"/>
                <a:gd name="connsiteY817" fmla="*/ 8460 h 10000"/>
                <a:gd name="connsiteX818" fmla="*/ 1265 w 10000"/>
                <a:gd name="connsiteY818" fmla="*/ 8450 h 10000"/>
                <a:gd name="connsiteX819" fmla="*/ 1258 w 10000"/>
                <a:gd name="connsiteY819" fmla="*/ 8441 h 10000"/>
                <a:gd name="connsiteX820" fmla="*/ 1245 w 10000"/>
                <a:gd name="connsiteY820" fmla="*/ 8424 h 10000"/>
                <a:gd name="connsiteX821" fmla="*/ 1237 w 10000"/>
                <a:gd name="connsiteY821" fmla="*/ 8408 h 10000"/>
                <a:gd name="connsiteX822" fmla="*/ 1217 w 10000"/>
                <a:gd name="connsiteY822" fmla="*/ 8373 h 10000"/>
                <a:gd name="connsiteX823" fmla="*/ 1202 w 10000"/>
                <a:gd name="connsiteY823" fmla="*/ 8333 h 10000"/>
                <a:gd name="connsiteX824" fmla="*/ 1182 w 10000"/>
                <a:gd name="connsiteY824" fmla="*/ 8296 h 10000"/>
                <a:gd name="connsiteX825" fmla="*/ 1162 w 10000"/>
                <a:gd name="connsiteY825" fmla="*/ 8268 h 10000"/>
                <a:gd name="connsiteX826" fmla="*/ 1149 w 10000"/>
                <a:gd name="connsiteY826" fmla="*/ 8256 h 10000"/>
                <a:gd name="connsiteX827" fmla="*/ 1139 w 10000"/>
                <a:gd name="connsiteY827" fmla="*/ 8249 h 10000"/>
                <a:gd name="connsiteX828" fmla="*/ 1126 w 10000"/>
                <a:gd name="connsiteY828" fmla="*/ 8240 h 10000"/>
                <a:gd name="connsiteX829" fmla="*/ 1114 w 10000"/>
                <a:gd name="connsiteY829" fmla="*/ 8240 h 10000"/>
                <a:gd name="connsiteX830" fmla="*/ 1091 w 10000"/>
                <a:gd name="connsiteY830" fmla="*/ 8242 h 10000"/>
                <a:gd name="connsiteX831" fmla="*/ 1071 w 10000"/>
                <a:gd name="connsiteY831" fmla="*/ 8252 h 10000"/>
                <a:gd name="connsiteX832" fmla="*/ 1048 w 10000"/>
                <a:gd name="connsiteY832" fmla="*/ 8261 h 10000"/>
                <a:gd name="connsiteX833" fmla="*/ 1030 w 10000"/>
                <a:gd name="connsiteY833" fmla="*/ 8273 h 10000"/>
                <a:gd name="connsiteX834" fmla="*/ 1010 w 10000"/>
                <a:gd name="connsiteY834" fmla="*/ 8287 h 10000"/>
                <a:gd name="connsiteX835" fmla="*/ 995 w 10000"/>
                <a:gd name="connsiteY835" fmla="*/ 8303 h 10000"/>
                <a:gd name="connsiteX836" fmla="*/ 975 w 10000"/>
                <a:gd name="connsiteY836" fmla="*/ 8322 h 10000"/>
                <a:gd name="connsiteX837" fmla="*/ 960 w 10000"/>
                <a:gd name="connsiteY837" fmla="*/ 8343 h 10000"/>
                <a:gd name="connsiteX838" fmla="*/ 927 w 10000"/>
                <a:gd name="connsiteY838" fmla="*/ 8380 h 10000"/>
                <a:gd name="connsiteX839" fmla="*/ 891 w 10000"/>
                <a:gd name="connsiteY839" fmla="*/ 8417 h 10000"/>
                <a:gd name="connsiteX840" fmla="*/ 874 w 10000"/>
                <a:gd name="connsiteY840" fmla="*/ 8436 h 10000"/>
                <a:gd name="connsiteX841" fmla="*/ 859 w 10000"/>
                <a:gd name="connsiteY841" fmla="*/ 8450 h 10000"/>
                <a:gd name="connsiteX842" fmla="*/ 838 w 10000"/>
                <a:gd name="connsiteY842" fmla="*/ 8462 h 10000"/>
                <a:gd name="connsiteX843" fmla="*/ 821 w 10000"/>
                <a:gd name="connsiteY843" fmla="*/ 8476 h 10000"/>
                <a:gd name="connsiteX844" fmla="*/ 742 w 10000"/>
                <a:gd name="connsiteY844" fmla="*/ 8562 h 10000"/>
                <a:gd name="connsiteX845" fmla="*/ 672 w 10000"/>
                <a:gd name="connsiteY845" fmla="*/ 8644 h 10000"/>
                <a:gd name="connsiteX846" fmla="*/ 639 w 10000"/>
                <a:gd name="connsiteY846" fmla="*/ 8684 h 10000"/>
                <a:gd name="connsiteX847" fmla="*/ 609 w 10000"/>
                <a:gd name="connsiteY847" fmla="*/ 8731 h 10000"/>
                <a:gd name="connsiteX848" fmla="*/ 583 w 10000"/>
                <a:gd name="connsiteY848" fmla="*/ 8777 h 10000"/>
                <a:gd name="connsiteX849" fmla="*/ 556 w 10000"/>
                <a:gd name="connsiteY849" fmla="*/ 8831 h 10000"/>
                <a:gd name="connsiteX850" fmla="*/ 545 w 10000"/>
                <a:gd name="connsiteY850" fmla="*/ 8852 h 10000"/>
                <a:gd name="connsiteX851" fmla="*/ 525 w 10000"/>
                <a:gd name="connsiteY851" fmla="*/ 8885 h 10000"/>
                <a:gd name="connsiteX852" fmla="*/ 503 w 10000"/>
                <a:gd name="connsiteY852" fmla="*/ 8925 h 10000"/>
                <a:gd name="connsiteX853" fmla="*/ 480 w 10000"/>
                <a:gd name="connsiteY853" fmla="*/ 8962 h 10000"/>
                <a:gd name="connsiteX854" fmla="*/ 465 w 10000"/>
                <a:gd name="connsiteY854" fmla="*/ 8981 h 10000"/>
                <a:gd name="connsiteX855" fmla="*/ 455 w 10000"/>
                <a:gd name="connsiteY855" fmla="*/ 8993 h 10000"/>
                <a:gd name="connsiteX856" fmla="*/ 444 w 10000"/>
                <a:gd name="connsiteY856" fmla="*/ 9000 h 10000"/>
                <a:gd name="connsiteX857" fmla="*/ 434 w 10000"/>
                <a:gd name="connsiteY857" fmla="*/ 9007 h 10000"/>
                <a:gd name="connsiteX858" fmla="*/ 432 w 10000"/>
                <a:gd name="connsiteY858" fmla="*/ 9007 h 10000"/>
                <a:gd name="connsiteX859" fmla="*/ 429 w 10000"/>
                <a:gd name="connsiteY859" fmla="*/ 9004 h 10000"/>
                <a:gd name="connsiteX860" fmla="*/ 427 w 10000"/>
                <a:gd name="connsiteY860" fmla="*/ 8997 h 10000"/>
                <a:gd name="connsiteX861" fmla="*/ 427 w 10000"/>
                <a:gd name="connsiteY861" fmla="*/ 8993 h 10000"/>
                <a:gd name="connsiteX862" fmla="*/ 424 w 10000"/>
                <a:gd name="connsiteY862" fmla="*/ 8976 h 10000"/>
                <a:gd name="connsiteX863" fmla="*/ 427 w 10000"/>
                <a:gd name="connsiteY863" fmla="*/ 8948 h 10000"/>
                <a:gd name="connsiteX864" fmla="*/ 437 w 10000"/>
                <a:gd name="connsiteY864" fmla="*/ 8913 h 10000"/>
                <a:gd name="connsiteX865" fmla="*/ 455 w 10000"/>
                <a:gd name="connsiteY865" fmla="*/ 8859 h 10000"/>
                <a:gd name="connsiteX866" fmla="*/ 462 w 10000"/>
                <a:gd name="connsiteY866" fmla="*/ 8834 h 10000"/>
                <a:gd name="connsiteX867" fmla="*/ 470 w 10000"/>
                <a:gd name="connsiteY867" fmla="*/ 8810 h 10000"/>
                <a:gd name="connsiteX868" fmla="*/ 472 w 10000"/>
                <a:gd name="connsiteY868" fmla="*/ 8794 h 10000"/>
                <a:gd name="connsiteX869" fmla="*/ 472 w 10000"/>
                <a:gd name="connsiteY869" fmla="*/ 8780 h 10000"/>
                <a:gd name="connsiteX870" fmla="*/ 462 w 10000"/>
                <a:gd name="connsiteY870" fmla="*/ 8784 h 10000"/>
                <a:gd name="connsiteX871" fmla="*/ 452 w 10000"/>
                <a:gd name="connsiteY871" fmla="*/ 8787 h 10000"/>
                <a:gd name="connsiteX872" fmla="*/ 437 w 10000"/>
                <a:gd name="connsiteY872" fmla="*/ 8794 h 10000"/>
                <a:gd name="connsiteX873" fmla="*/ 424 w 10000"/>
                <a:gd name="connsiteY873" fmla="*/ 8803 h 10000"/>
                <a:gd name="connsiteX874" fmla="*/ 394 w 10000"/>
                <a:gd name="connsiteY874" fmla="*/ 8829 h 10000"/>
                <a:gd name="connsiteX875" fmla="*/ 364 w 10000"/>
                <a:gd name="connsiteY875" fmla="*/ 8859 h 10000"/>
                <a:gd name="connsiteX876" fmla="*/ 311 w 10000"/>
                <a:gd name="connsiteY876" fmla="*/ 8922 h 10000"/>
                <a:gd name="connsiteX877" fmla="*/ 268 w 10000"/>
                <a:gd name="connsiteY877" fmla="*/ 8964 h 10000"/>
                <a:gd name="connsiteX878" fmla="*/ 205 w 10000"/>
                <a:gd name="connsiteY878" fmla="*/ 9016 h 10000"/>
                <a:gd name="connsiteX879" fmla="*/ 146 w 10000"/>
                <a:gd name="connsiteY879" fmla="*/ 9053 h 10000"/>
                <a:gd name="connsiteX880" fmla="*/ 139 w 10000"/>
                <a:gd name="connsiteY880" fmla="*/ 9063 h 10000"/>
                <a:gd name="connsiteX881" fmla="*/ 129 w 10000"/>
                <a:gd name="connsiteY881" fmla="*/ 9077 h 10000"/>
                <a:gd name="connsiteX882" fmla="*/ 126 w 10000"/>
                <a:gd name="connsiteY882" fmla="*/ 9086 h 10000"/>
                <a:gd name="connsiteX883" fmla="*/ 126 w 10000"/>
                <a:gd name="connsiteY883" fmla="*/ 9102 h 10000"/>
                <a:gd name="connsiteX884" fmla="*/ 129 w 10000"/>
                <a:gd name="connsiteY884" fmla="*/ 9116 h 10000"/>
                <a:gd name="connsiteX885" fmla="*/ 139 w 10000"/>
                <a:gd name="connsiteY885" fmla="*/ 9135 h 10000"/>
                <a:gd name="connsiteX886" fmla="*/ 149 w 10000"/>
                <a:gd name="connsiteY886" fmla="*/ 9151 h 10000"/>
                <a:gd name="connsiteX887" fmla="*/ 164 w 10000"/>
                <a:gd name="connsiteY887" fmla="*/ 9175 h 10000"/>
                <a:gd name="connsiteX888" fmla="*/ 184 w 10000"/>
                <a:gd name="connsiteY888" fmla="*/ 9196 h 10000"/>
                <a:gd name="connsiteX889" fmla="*/ 207 w 10000"/>
                <a:gd name="connsiteY889" fmla="*/ 9215 h 10000"/>
                <a:gd name="connsiteX890" fmla="*/ 227 w 10000"/>
                <a:gd name="connsiteY890" fmla="*/ 9233 h 10000"/>
                <a:gd name="connsiteX891" fmla="*/ 253 w 10000"/>
                <a:gd name="connsiteY891" fmla="*/ 9250 h 10000"/>
                <a:gd name="connsiteX892" fmla="*/ 303 w 10000"/>
                <a:gd name="connsiteY892" fmla="*/ 9282 h 10000"/>
                <a:gd name="connsiteX893" fmla="*/ 351 w 10000"/>
                <a:gd name="connsiteY893" fmla="*/ 9315 h 10000"/>
                <a:gd name="connsiteX894" fmla="*/ 414 w 10000"/>
                <a:gd name="connsiteY894" fmla="*/ 9364 h 10000"/>
                <a:gd name="connsiteX895" fmla="*/ 480 w 10000"/>
                <a:gd name="connsiteY895" fmla="*/ 9416 h 10000"/>
                <a:gd name="connsiteX896" fmla="*/ 513 w 10000"/>
                <a:gd name="connsiteY896" fmla="*/ 9437 h 10000"/>
                <a:gd name="connsiteX897" fmla="*/ 548 w 10000"/>
                <a:gd name="connsiteY897" fmla="*/ 9462 h 10000"/>
                <a:gd name="connsiteX898" fmla="*/ 581 w 10000"/>
                <a:gd name="connsiteY898" fmla="*/ 9483 h 10000"/>
                <a:gd name="connsiteX899" fmla="*/ 614 w 10000"/>
                <a:gd name="connsiteY899" fmla="*/ 9502 h 10000"/>
                <a:gd name="connsiteX900" fmla="*/ 641 w 10000"/>
                <a:gd name="connsiteY900" fmla="*/ 9525 h 10000"/>
                <a:gd name="connsiteX901" fmla="*/ 672 w 10000"/>
                <a:gd name="connsiteY901" fmla="*/ 9549 h 10000"/>
                <a:gd name="connsiteX902" fmla="*/ 702 w 10000"/>
                <a:gd name="connsiteY902" fmla="*/ 9568 h 10000"/>
                <a:gd name="connsiteX903" fmla="*/ 737 w 10000"/>
                <a:gd name="connsiteY903" fmla="*/ 9589 h 10000"/>
                <a:gd name="connsiteX904" fmla="*/ 770 w 10000"/>
                <a:gd name="connsiteY904" fmla="*/ 9605 h 10000"/>
                <a:gd name="connsiteX905" fmla="*/ 808 w 10000"/>
                <a:gd name="connsiteY905" fmla="*/ 9617 h 10000"/>
                <a:gd name="connsiteX906" fmla="*/ 843 w 10000"/>
                <a:gd name="connsiteY906" fmla="*/ 9624 h 10000"/>
                <a:gd name="connsiteX907" fmla="*/ 884 w 10000"/>
                <a:gd name="connsiteY907" fmla="*/ 9628 h 10000"/>
                <a:gd name="connsiteX908" fmla="*/ 902 w 10000"/>
                <a:gd name="connsiteY908" fmla="*/ 9628 h 10000"/>
                <a:gd name="connsiteX909" fmla="*/ 914 w 10000"/>
                <a:gd name="connsiteY909" fmla="*/ 9631 h 10000"/>
                <a:gd name="connsiteX910" fmla="*/ 932 w 10000"/>
                <a:gd name="connsiteY910" fmla="*/ 9638 h 10000"/>
                <a:gd name="connsiteX911" fmla="*/ 942 w 10000"/>
                <a:gd name="connsiteY911" fmla="*/ 9642 h 10000"/>
                <a:gd name="connsiteX912" fmla="*/ 967 w 10000"/>
                <a:gd name="connsiteY912" fmla="*/ 9652 h 10000"/>
                <a:gd name="connsiteX913" fmla="*/ 987 w 10000"/>
                <a:gd name="connsiteY913" fmla="*/ 9668 h 10000"/>
                <a:gd name="connsiteX914" fmla="*/ 1005 w 10000"/>
                <a:gd name="connsiteY914" fmla="*/ 9682 h 10000"/>
                <a:gd name="connsiteX915" fmla="*/ 1025 w 10000"/>
                <a:gd name="connsiteY915" fmla="*/ 9698 h 10000"/>
                <a:gd name="connsiteX916" fmla="*/ 1045 w 10000"/>
                <a:gd name="connsiteY916" fmla="*/ 9712 h 10000"/>
                <a:gd name="connsiteX917" fmla="*/ 1073 w 10000"/>
                <a:gd name="connsiteY917" fmla="*/ 9724 h 10000"/>
                <a:gd name="connsiteX918" fmla="*/ 1098 w 10000"/>
                <a:gd name="connsiteY918" fmla="*/ 9738 h 10000"/>
                <a:gd name="connsiteX919" fmla="*/ 1121 w 10000"/>
                <a:gd name="connsiteY919" fmla="*/ 9750 h 10000"/>
                <a:gd name="connsiteX920" fmla="*/ 1141 w 10000"/>
                <a:gd name="connsiteY920" fmla="*/ 9762 h 10000"/>
                <a:gd name="connsiteX921" fmla="*/ 1159 w 10000"/>
                <a:gd name="connsiteY921" fmla="*/ 9776 h 10000"/>
                <a:gd name="connsiteX922" fmla="*/ 1172 w 10000"/>
                <a:gd name="connsiteY922" fmla="*/ 9787 h 10000"/>
                <a:gd name="connsiteX923" fmla="*/ 1182 w 10000"/>
                <a:gd name="connsiteY923" fmla="*/ 9804 h 10000"/>
                <a:gd name="connsiteX924" fmla="*/ 1194 w 10000"/>
                <a:gd name="connsiteY924" fmla="*/ 9818 h 10000"/>
                <a:gd name="connsiteX925" fmla="*/ 1202 w 10000"/>
                <a:gd name="connsiteY925" fmla="*/ 9834 h 10000"/>
                <a:gd name="connsiteX926" fmla="*/ 1212 w 10000"/>
                <a:gd name="connsiteY926" fmla="*/ 9869 h 10000"/>
                <a:gd name="connsiteX927" fmla="*/ 1220 w 10000"/>
                <a:gd name="connsiteY927" fmla="*/ 9906 h 10000"/>
                <a:gd name="connsiteX928" fmla="*/ 1230 w 10000"/>
                <a:gd name="connsiteY928" fmla="*/ 9951 h 10000"/>
                <a:gd name="connsiteX929" fmla="*/ 1237 w 10000"/>
                <a:gd name="connsiteY929" fmla="*/ 10000 h 10000"/>
                <a:gd name="connsiteX930" fmla="*/ 1237 w 10000"/>
                <a:gd name="connsiteY93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235 w 10000"/>
                <a:gd name="connsiteY756" fmla="*/ 7641 h 10000"/>
                <a:gd name="connsiteX757" fmla="*/ 2172 w 10000"/>
                <a:gd name="connsiteY757" fmla="*/ 7714 h 10000"/>
                <a:gd name="connsiteX758" fmla="*/ 2167 w 10000"/>
                <a:gd name="connsiteY758" fmla="*/ 7742 h 10000"/>
                <a:gd name="connsiteX759" fmla="*/ 2162 w 10000"/>
                <a:gd name="connsiteY759" fmla="*/ 7775 h 10000"/>
                <a:gd name="connsiteX760" fmla="*/ 2159 w 10000"/>
                <a:gd name="connsiteY760" fmla="*/ 7833 h 10000"/>
                <a:gd name="connsiteX761" fmla="*/ 2157 w 10000"/>
                <a:gd name="connsiteY761" fmla="*/ 7882 h 10000"/>
                <a:gd name="connsiteX762" fmla="*/ 2157 w 10000"/>
                <a:gd name="connsiteY762" fmla="*/ 7938 h 10000"/>
                <a:gd name="connsiteX763" fmla="*/ 2159 w 10000"/>
                <a:gd name="connsiteY763" fmla="*/ 8006 h 10000"/>
                <a:gd name="connsiteX764" fmla="*/ 2162 w 10000"/>
                <a:gd name="connsiteY764" fmla="*/ 8079 h 10000"/>
                <a:gd name="connsiteX765" fmla="*/ 2159 w 10000"/>
                <a:gd name="connsiteY765" fmla="*/ 8156 h 10000"/>
                <a:gd name="connsiteX766" fmla="*/ 2157 w 10000"/>
                <a:gd name="connsiteY766" fmla="*/ 8193 h 10000"/>
                <a:gd name="connsiteX767" fmla="*/ 2154 w 10000"/>
                <a:gd name="connsiteY767" fmla="*/ 8228 h 10000"/>
                <a:gd name="connsiteX768" fmla="*/ 2146 w 10000"/>
                <a:gd name="connsiteY768" fmla="*/ 8261 h 10000"/>
                <a:gd name="connsiteX769" fmla="*/ 2136 w 10000"/>
                <a:gd name="connsiteY769" fmla="*/ 8291 h 10000"/>
                <a:gd name="connsiteX770" fmla="*/ 2124 w 10000"/>
                <a:gd name="connsiteY770" fmla="*/ 8319 h 10000"/>
                <a:gd name="connsiteX771" fmla="*/ 2109 w 10000"/>
                <a:gd name="connsiteY771" fmla="*/ 8345 h 10000"/>
                <a:gd name="connsiteX772" fmla="*/ 2098 w 10000"/>
                <a:gd name="connsiteY772" fmla="*/ 8354 h 10000"/>
                <a:gd name="connsiteX773" fmla="*/ 2088 w 10000"/>
                <a:gd name="connsiteY773" fmla="*/ 8364 h 10000"/>
                <a:gd name="connsiteX774" fmla="*/ 2078 w 10000"/>
                <a:gd name="connsiteY774" fmla="*/ 8373 h 10000"/>
                <a:gd name="connsiteX775" fmla="*/ 2063 w 10000"/>
                <a:gd name="connsiteY775" fmla="*/ 8380 h 10000"/>
                <a:gd name="connsiteX776" fmla="*/ 1990 w 10000"/>
                <a:gd name="connsiteY776" fmla="*/ 8422 h 10000"/>
                <a:gd name="connsiteX777" fmla="*/ 1904 w 10000"/>
                <a:gd name="connsiteY777" fmla="*/ 8481 h 10000"/>
                <a:gd name="connsiteX778" fmla="*/ 1856 w 10000"/>
                <a:gd name="connsiteY778" fmla="*/ 8506 h 10000"/>
                <a:gd name="connsiteX779" fmla="*/ 1816 w 10000"/>
                <a:gd name="connsiteY779" fmla="*/ 8527 h 10000"/>
                <a:gd name="connsiteX780" fmla="*/ 1793 w 10000"/>
                <a:gd name="connsiteY780" fmla="*/ 8539 h 10000"/>
                <a:gd name="connsiteX781" fmla="*/ 1775 w 10000"/>
                <a:gd name="connsiteY781" fmla="*/ 8546 h 10000"/>
                <a:gd name="connsiteX782" fmla="*/ 1758 w 10000"/>
                <a:gd name="connsiteY782" fmla="*/ 8548 h 10000"/>
                <a:gd name="connsiteX783" fmla="*/ 1742 w 10000"/>
                <a:gd name="connsiteY783" fmla="*/ 8551 h 10000"/>
                <a:gd name="connsiteX784" fmla="*/ 1727 w 10000"/>
                <a:gd name="connsiteY784" fmla="*/ 8537 h 10000"/>
                <a:gd name="connsiteX785" fmla="*/ 1717 w 10000"/>
                <a:gd name="connsiteY785" fmla="*/ 8518 h 10000"/>
                <a:gd name="connsiteX786" fmla="*/ 1710 w 10000"/>
                <a:gd name="connsiteY786" fmla="*/ 8499 h 10000"/>
                <a:gd name="connsiteX787" fmla="*/ 1702 w 10000"/>
                <a:gd name="connsiteY787" fmla="*/ 8476 h 10000"/>
                <a:gd name="connsiteX788" fmla="*/ 1684 w 10000"/>
                <a:gd name="connsiteY788" fmla="*/ 8429 h 10000"/>
                <a:gd name="connsiteX789" fmla="*/ 1674 w 10000"/>
                <a:gd name="connsiteY789" fmla="*/ 8380 h 10000"/>
                <a:gd name="connsiteX790" fmla="*/ 1667 w 10000"/>
                <a:gd name="connsiteY790" fmla="*/ 8329 h 10000"/>
                <a:gd name="connsiteX791" fmla="*/ 1659 w 10000"/>
                <a:gd name="connsiteY791" fmla="*/ 8282 h 10000"/>
                <a:gd name="connsiteX792" fmla="*/ 1657 w 10000"/>
                <a:gd name="connsiteY792" fmla="*/ 8235 h 10000"/>
                <a:gd name="connsiteX793" fmla="*/ 1657 w 10000"/>
                <a:gd name="connsiteY793" fmla="*/ 8195 h 10000"/>
                <a:gd name="connsiteX794" fmla="*/ 1652 w 10000"/>
                <a:gd name="connsiteY794" fmla="*/ 8191 h 10000"/>
                <a:gd name="connsiteX795" fmla="*/ 1586 w 10000"/>
                <a:gd name="connsiteY795" fmla="*/ 8188 h 10000"/>
                <a:gd name="connsiteX796" fmla="*/ 1525 w 10000"/>
                <a:gd name="connsiteY796" fmla="*/ 8186 h 10000"/>
                <a:gd name="connsiteX797" fmla="*/ 1500 w 10000"/>
                <a:gd name="connsiteY797" fmla="*/ 8191 h 10000"/>
                <a:gd name="connsiteX798" fmla="*/ 1472 w 10000"/>
                <a:gd name="connsiteY798" fmla="*/ 8198 h 10000"/>
                <a:gd name="connsiteX799" fmla="*/ 1457 w 10000"/>
                <a:gd name="connsiteY799" fmla="*/ 8205 h 10000"/>
                <a:gd name="connsiteX800" fmla="*/ 1444 w 10000"/>
                <a:gd name="connsiteY800" fmla="*/ 8212 h 10000"/>
                <a:gd name="connsiteX801" fmla="*/ 1434 w 10000"/>
                <a:gd name="connsiteY801" fmla="*/ 8223 h 10000"/>
                <a:gd name="connsiteX802" fmla="*/ 1419 w 10000"/>
                <a:gd name="connsiteY802" fmla="*/ 8233 h 10000"/>
                <a:gd name="connsiteX803" fmla="*/ 1412 w 10000"/>
                <a:gd name="connsiteY803" fmla="*/ 8247 h 10000"/>
                <a:gd name="connsiteX804" fmla="*/ 1402 w 10000"/>
                <a:gd name="connsiteY804" fmla="*/ 8261 h 10000"/>
                <a:gd name="connsiteX805" fmla="*/ 1394 w 10000"/>
                <a:gd name="connsiteY805" fmla="*/ 8275 h 10000"/>
                <a:gd name="connsiteX806" fmla="*/ 1386 w 10000"/>
                <a:gd name="connsiteY806" fmla="*/ 8294 h 10000"/>
                <a:gd name="connsiteX807" fmla="*/ 1374 w 10000"/>
                <a:gd name="connsiteY807" fmla="*/ 8331 h 10000"/>
                <a:gd name="connsiteX808" fmla="*/ 1361 w 10000"/>
                <a:gd name="connsiteY808" fmla="*/ 8368 h 10000"/>
                <a:gd name="connsiteX809" fmla="*/ 1354 w 10000"/>
                <a:gd name="connsiteY809" fmla="*/ 8387 h 10000"/>
                <a:gd name="connsiteX810" fmla="*/ 1346 w 10000"/>
                <a:gd name="connsiteY810" fmla="*/ 8406 h 10000"/>
                <a:gd name="connsiteX811" fmla="*/ 1338 w 10000"/>
                <a:gd name="connsiteY811" fmla="*/ 8420 h 10000"/>
                <a:gd name="connsiteX812" fmla="*/ 1328 w 10000"/>
                <a:gd name="connsiteY812" fmla="*/ 8436 h 10000"/>
                <a:gd name="connsiteX813" fmla="*/ 1316 w 10000"/>
                <a:gd name="connsiteY813" fmla="*/ 8446 h 10000"/>
                <a:gd name="connsiteX814" fmla="*/ 1306 w 10000"/>
                <a:gd name="connsiteY814" fmla="*/ 8453 h 10000"/>
                <a:gd name="connsiteX815" fmla="*/ 1293 w 10000"/>
                <a:gd name="connsiteY815" fmla="*/ 8460 h 10000"/>
                <a:gd name="connsiteX816" fmla="*/ 1275 w 10000"/>
                <a:gd name="connsiteY816" fmla="*/ 8460 h 10000"/>
                <a:gd name="connsiteX817" fmla="*/ 1265 w 10000"/>
                <a:gd name="connsiteY817" fmla="*/ 8450 h 10000"/>
                <a:gd name="connsiteX818" fmla="*/ 1258 w 10000"/>
                <a:gd name="connsiteY818" fmla="*/ 8441 h 10000"/>
                <a:gd name="connsiteX819" fmla="*/ 1245 w 10000"/>
                <a:gd name="connsiteY819" fmla="*/ 8424 h 10000"/>
                <a:gd name="connsiteX820" fmla="*/ 1237 w 10000"/>
                <a:gd name="connsiteY820" fmla="*/ 8408 h 10000"/>
                <a:gd name="connsiteX821" fmla="*/ 1217 w 10000"/>
                <a:gd name="connsiteY821" fmla="*/ 8373 h 10000"/>
                <a:gd name="connsiteX822" fmla="*/ 1202 w 10000"/>
                <a:gd name="connsiteY822" fmla="*/ 8333 h 10000"/>
                <a:gd name="connsiteX823" fmla="*/ 1182 w 10000"/>
                <a:gd name="connsiteY823" fmla="*/ 8296 h 10000"/>
                <a:gd name="connsiteX824" fmla="*/ 1162 w 10000"/>
                <a:gd name="connsiteY824" fmla="*/ 8268 h 10000"/>
                <a:gd name="connsiteX825" fmla="*/ 1149 w 10000"/>
                <a:gd name="connsiteY825" fmla="*/ 8256 h 10000"/>
                <a:gd name="connsiteX826" fmla="*/ 1139 w 10000"/>
                <a:gd name="connsiteY826" fmla="*/ 8249 h 10000"/>
                <a:gd name="connsiteX827" fmla="*/ 1126 w 10000"/>
                <a:gd name="connsiteY827" fmla="*/ 8240 h 10000"/>
                <a:gd name="connsiteX828" fmla="*/ 1114 w 10000"/>
                <a:gd name="connsiteY828" fmla="*/ 8240 h 10000"/>
                <a:gd name="connsiteX829" fmla="*/ 1091 w 10000"/>
                <a:gd name="connsiteY829" fmla="*/ 8242 h 10000"/>
                <a:gd name="connsiteX830" fmla="*/ 1071 w 10000"/>
                <a:gd name="connsiteY830" fmla="*/ 8252 h 10000"/>
                <a:gd name="connsiteX831" fmla="*/ 1048 w 10000"/>
                <a:gd name="connsiteY831" fmla="*/ 8261 h 10000"/>
                <a:gd name="connsiteX832" fmla="*/ 1030 w 10000"/>
                <a:gd name="connsiteY832" fmla="*/ 8273 h 10000"/>
                <a:gd name="connsiteX833" fmla="*/ 1010 w 10000"/>
                <a:gd name="connsiteY833" fmla="*/ 8287 h 10000"/>
                <a:gd name="connsiteX834" fmla="*/ 995 w 10000"/>
                <a:gd name="connsiteY834" fmla="*/ 8303 h 10000"/>
                <a:gd name="connsiteX835" fmla="*/ 975 w 10000"/>
                <a:gd name="connsiteY835" fmla="*/ 8322 h 10000"/>
                <a:gd name="connsiteX836" fmla="*/ 960 w 10000"/>
                <a:gd name="connsiteY836" fmla="*/ 8343 h 10000"/>
                <a:gd name="connsiteX837" fmla="*/ 927 w 10000"/>
                <a:gd name="connsiteY837" fmla="*/ 8380 h 10000"/>
                <a:gd name="connsiteX838" fmla="*/ 891 w 10000"/>
                <a:gd name="connsiteY838" fmla="*/ 8417 h 10000"/>
                <a:gd name="connsiteX839" fmla="*/ 874 w 10000"/>
                <a:gd name="connsiteY839" fmla="*/ 8436 h 10000"/>
                <a:gd name="connsiteX840" fmla="*/ 859 w 10000"/>
                <a:gd name="connsiteY840" fmla="*/ 8450 h 10000"/>
                <a:gd name="connsiteX841" fmla="*/ 838 w 10000"/>
                <a:gd name="connsiteY841" fmla="*/ 8462 h 10000"/>
                <a:gd name="connsiteX842" fmla="*/ 821 w 10000"/>
                <a:gd name="connsiteY842" fmla="*/ 8476 h 10000"/>
                <a:gd name="connsiteX843" fmla="*/ 742 w 10000"/>
                <a:gd name="connsiteY843" fmla="*/ 8562 h 10000"/>
                <a:gd name="connsiteX844" fmla="*/ 672 w 10000"/>
                <a:gd name="connsiteY844" fmla="*/ 8644 h 10000"/>
                <a:gd name="connsiteX845" fmla="*/ 639 w 10000"/>
                <a:gd name="connsiteY845" fmla="*/ 8684 h 10000"/>
                <a:gd name="connsiteX846" fmla="*/ 609 w 10000"/>
                <a:gd name="connsiteY846" fmla="*/ 8731 h 10000"/>
                <a:gd name="connsiteX847" fmla="*/ 583 w 10000"/>
                <a:gd name="connsiteY847" fmla="*/ 8777 h 10000"/>
                <a:gd name="connsiteX848" fmla="*/ 556 w 10000"/>
                <a:gd name="connsiteY848" fmla="*/ 8831 h 10000"/>
                <a:gd name="connsiteX849" fmla="*/ 545 w 10000"/>
                <a:gd name="connsiteY849" fmla="*/ 8852 h 10000"/>
                <a:gd name="connsiteX850" fmla="*/ 525 w 10000"/>
                <a:gd name="connsiteY850" fmla="*/ 8885 h 10000"/>
                <a:gd name="connsiteX851" fmla="*/ 503 w 10000"/>
                <a:gd name="connsiteY851" fmla="*/ 8925 h 10000"/>
                <a:gd name="connsiteX852" fmla="*/ 480 w 10000"/>
                <a:gd name="connsiteY852" fmla="*/ 8962 h 10000"/>
                <a:gd name="connsiteX853" fmla="*/ 465 w 10000"/>
                <a:gd name="connsiteY853" fmla="*/ 8981 h 10000"/>
                <a:gd name="connsiteX854" fmla="*/ 455 w 10000"/>
                <a:gd name="connsiteY854" fmla="*/ 8993 h 10000"/>
                <a:gd name="connsiteX855" fmla="*/ 444 w 10000"/>
                <a:gd name="connsiteY855" fmla="*/ 9000 h 10000"/>
                <a:gd name="connsiteX856" fmla="*/ 434 w 10000"/>
                <a:gd name="connsiteY856" fmla="*/ 9007 h 10000"/>
                <a:gd name="connsiteX857" fmla="*/ 432 w 10000"/>
                <a:gd name="connsiteY857" fmla="*/ 9007 h 10000"/>
                <a:gd name="connsiteX858" fmla="*/ 429 w 10000"/>
                <a:gd name="connsiteY858" fmla="*/ 9004 h 10000"/>
                <a:gd name="connsiteX859" fmla="*/ 427 w 10000"/>
                <a:gd name="connsiteY859" fmla="*/ 8997 h 10000"/>
                <a:gd name="connsiteX860" fmla="*/ 427 w 10000"/>
                <a:gd name="connsiteY860" fmla="*/ 8993 h 10000"/>
                <a:gd name="connsiteX861" fmla="*/ 424 w 10000"/>
                <a:gd name="connsiteY861" fmla="*/ 8976 h 10000"/>
                <a:gd name="connsiteX862" fmla="*/ 427 w 10000"/>
                <a:gd name="connsiteY862" fmla="*/ 8948 h 10000"/>
                <a:gd name="connsiteX863" fmla="*/ 437 w 10000"/>
                <a:gd name="connsiteY863" fmla="*/ 8913 h 10000"/>
                <a:gd name="connsiteX864" fmla="*/ 455 w 10000"/>
                <a:gd name="connsiteY864" fmla="*/ 8859 h 10000"/>
                <a:gd name="connsiteX865" fmla="*/ 462 w 10000"/>
                <a:gd name="connsiteY865" fmla="*/ 8834 h 10000"/>
                <a:gd name="connsiteX866" fmla="*/ 470 w 10000"/>
                <a:gd name="connsiteY866" fmla="*/ 8810 h 10000"/>
                <a:gd name="connsiteX867" fmla="*/ 472 w 10000"/>
                <a:gd name="connsiteY867" fmla="*/ 8794 h 10000"/>
                <a:gd name="connsiteX868" fmla="*/ 472 w 10000"/>
                <a:gd name="connsiteY868" fmla="*/ 8780 h 10000"/>
                <a:gd name="connsiteX869" fmla="*/ 462 w 10000"/>
                <a:gd name="connsiteY869" fmla="*/ 8784 h 10000"/>
                <a:gd name="connsiteX870" fmla="*/ 452 w 10000"/>
                <a:gd name="connsiteY870" fmla="*/ 8787 h 10000"/>
                <a:gd name="connsiteX871" fmla="*/ 437 w 10000"/>
                <a:gd name="connsiteY871" fmla="*/ 8794 h 10000"/>
                <a:gd name="connsiteX872" fmla="*/ 424 w 10000"/>
                <a:gd name="connsiteY872" fmla="*/ 8803 h 10000"/>
                <a:gd name="connsiteX873" fmla="*/ 394 w 10000"/>
                <a:gd name="connsiteY873" fmla="*/ 8829 h 10000"/>
                <a:gd name="connsiteX874" fmla="*/ 364 w 10000"/>
                <a:gd name="connsiteY874" fmla="*/ 8859 h 10000"/>
                <a:gd name="connsiteX875" fmla="*/ 311 w 10000"/>
                <a:gd name="connsiteY875" fmla="*/ 8922 h 10000"/>
                <a:gd name="connsiteX876" fmla="*/ 268 w 10000"/>
                <a:gd name="connsiteY876" fmla="*/ 8964 h 10000"/>
                <a:gd name="connsiteX877" fmla="*/ 205 w 10000"/>
                <a:gd name="connsiteY877" fmla="*/ 9016 h 10000"/>
                <a:gd name="connsiteX878" fmla="*/ 146 w 10000"/>
                <a:gd name="connsiteY878" fmla="*/ 9053 h 10000"/>
                <a:gd name="connsiteX879" fmla="*/ 139 w 10000"/>
                <a:gd name="connsiteY879" fmla="*/ 9063 h 10000"/>
                <a:gd name="connsiteX880" fmla="*/ 129 w 10000"/>
                <a:gd name="connsiteY880" fmla="*/ 9077 h 10000"/>
                <a:gd name="connsiteX881" fmla="*/ 126 w 10000"/>
                <a:gd name="connsiteY881" fmla="*/ 9086 h 10000"/>
                <a:gd name="connsiteX882" fmla="*/ 126 w 10000"/>
                <a:gd name="connsiteY882" fmla="*/ 9102 h 10000"/>
                <a:gd name="connsiteX883" fmla="*/ 129 w 10000"/>
                <a:gd name="connsiteY883" fmla="*/ 9116 h 10000"/>
                <a:gd name="connsiteX884" fmla="*/ 139 w 10000"/>
                <a:gd name="connsiteY884" fmla="*/ 9135 h 10000"/>
                <a:gd name="connsiteX885" fmla="*/ 149 w 10000"/>
                <a:gd name="connsiteY885" fmla="*/ 9151 h 10000"/>
                <a:gd name="connsiteX886" fmla="*/ 164 w 10000"/>
                <a:gd name="connsiteY886" fmla="*/ 9175 h 10000"/>
                <a:gd name="connsiteX887" fmla="*/ 184 w 10000"/>
                <a:gd name="connsiteY887" fmla="*/ 9196 h 10000"/>
                <a:gd name="connsiteX888" fmla="*/ 207 w 10000"/>
                <a:gd name="connsiteY888" fmla="*/ 9215 h 10000"/>
                <a:gd name="connsiteX889" fmla="*/ 227 w 10000"/>
                <a:gd name="connsiteY889" fmla="*/ 9233 h 10000"/>
                <a:gd name="connsiteX890" fmla="*/ 253 w 10000"/>
                <a:gd name="connsiteY890" fmla="*/ 9250 h 10000"/>
                <a:gd name="connsiteX891" fmla="*/ 303 w 10000"/>
                <a:gd name="connsiteY891" fmla="*/ 9282 h 10000"/>
                <a:gd name="connsiteX892" fmla="*/ 351 w 10000"/>
                <a:gd name="connsiteY892" fmla="*/ 9315 h 10000"/>
                <a:gd name="connsiteX893" fmla="*/ 414 w 10000"/>
                <a:gd name="connsiteY893" fmla="*/ 9364 h 10000"/>
                <a:gd name="connsiteX894" fmla="*/ 480 w 10000"/>
                <a:gd name="connsiteY894" fmla="*/ 9416 h 10000"/>
                <a:gd name="connsiteX895" fmla="*/ 513 w 10000"/>
                <a:gd name="connsiteY895" fmla="*/ 9437 h 10000"/>
                <a:gd name="connsiteX896" fmla="*/ 548 w 10000"/>
                <a:gd name="connsiteY896" fmla="*/ 9462 h 10000"/>
                <a:gd name="connsiteX897" fmla="*/ 581 w 10000"/>
                <a:gd name="connsiteY897" fmla="*/ 9483 h 10000"/>
                <a:gd name="connsiteX898" fmla="*/ 614 w 10000"/>
                <a:gd name="connsiteY898" fmla="*/ 9502 h 10000"/>
                <a:gd name="connsiteX899" fmla="*/ 641 w 10000"/>
                <a:gd name="connsiteY899" fmla="*/ 9525 h 10000"/>
                <a:gd name="connsiteX900" fmla="*/ 672 w 10000"/>
                <a:gd name="connsiteY900" fmla="*/ 9549 h 10000"/>
                <a:gd name="connsiteX901" fmla="*/ 702 w 10000"/>
                <a:gd name="connsiteY901" fmla="*/ 9568 h 10000"/>
                <a:gd name="connsiteX902" fmla="*/ 737 w 10000"/>
                <a:gd name="connsiteY902" fmla="*/ 9589 h 10000"/>
                <a:gd name="connsiteX903" fmla="*/ 770 w 10000"/>
                <a:gd name="connsiteY903" fmla="*/ 9605 h 10000"/>
                <a:gd name="connsiteX904" fmla="*/ 808 w 10000"/>
                <a:gd name="connsiteY904" fmla="*/ 9617 h 10000"/>
                <a:gd name="connsiteX905" fmla="*/ 843 w 10000"/>
                <a:gd name="connsiteY905" fmla="*/ 9624 h 10000"/>
                <a:gd name="connsiteX906" fmla="*/ 884 w 10000"/>
                <a:gd name="connsiteY906" fmla="*/ 9628 h 10000"/>
                <a:gd name="connsiteX907" fmla="*/ 902 w 10000"/>
                <a:gd name="connsiteY907" fmla="*/ 9628 h 10000"/>
                <a:gd name="connsiteX908" fmla="*/ 914 w 10000"/>
                <a:gd name="connsiteY908" fmla="*/ 9631 h 10000"/>
                <a:gd name="connsiteX909" fmla="*/ 932 w 10000"/>
                <a:gd name="connsiteY909" fmla="*/ 9638 h 10000"/>
                <a:gd name="connsiteX910" fmla="*/ 942 w 10000"/>
                <a:gd name="connsiteY910" fmla="*/ 9642 h 10000"/>
                <a:gd name="connsiteX911" fmla="*/ 967 w 10000"/>
                <a:gd name="connsiteY911" fmla="*/ 9652 h 10000"/>
                <a:gd name="connsiteX912" fmla="*/ 987 w 10000"/>
                <a:gd name="connsiteY912" fmla="*/ 9668 h 10000"/>
                <a:gd name="connsiteX913" fmla="*/ 1005 w 10000"/>
                <a:gd name="connsiteY913" fmla="*/ 9682 h 10000"/>
                <a:gd name="connsiteX914" fmla="*/ 1025 w 10000"/>
                <a:gd name="connsiteY914" fmla="*/ 9698 h 10000"/>
                <a:gd name="connsiteX915" fmla="*/ 1045 w 10000"/>
                <a:gd name="connsiteY915" fmla="*/ 9712 h 10000"/>
                <a:gd name="connsiteX916" fmla="*/ 1073 w 10000"/>
                <a:gd name="connsiteY916" fmla="*/ 9724 h 10000"/>
                <a:gd name="connsiteX917" fmla="*/ 1098 w 10000"/>
                <a:gd name="connsiteY917" fmla="*/ 9738 h 10000"/>
                <a:gd name="connsiteX918" fmla="*/ 1121 w 10000"/>
                <a:gd name="connsiteY918" fmla="*/ 9750 h 10000"/>
                <a:gd name="connsiteX919" fmla="*/ 1141 w 10000"/>
                <a:gd name="connsiteY919" fmla="*/ 9762 h 10000"/>
                <a:gd name="connsiteX920" fmla="*/ 1159 w 10000"/>
                <a:gd name="connsiteY920" fmla="*/ 9776 h 10000"/>
                <a:gd name="connsiteX921" fmla="*/ 1172 w 10000"/>
                <a:gd name="connsiteY921" fmla="*/ 9787 h 10000"/>
                <a:gd name="connsiteX922" fmla="*/ 1182 w 10000"/>
                <a:gd name="connsiteY922" fmla="*/ 9804 h 10000"/>
                <a:gd name="connsiteX923" fmla="*/ 1194 w 10000"/>
                <a:gd name="connsiteY923" fmla="*/ 9818 h 10000"/>
                <a:gd name="connsiteX924" fmla="*/ 1202 w 10000"/>
                <a:gd name="connsiteY924" fmla="*/ 9834 h 10000"/>
                <a:gd name="connsiteX925" fmla="*/ 1212 w 10000"/>
                <a:gd name="connsiteY925" fmla="*/ 9869 h 10000"/>
                <a:gd name="connsiteX926" fmla="*/ 1220 w 10000"/>
                <a:gd name="connsiteY926" fmla="*/ 9906 h 10000"/>
                <a:gd name="connsiteX927" fmla="*/ 1230 w 10000"/>
                <a:gd name="connsiteY927" fmla="*/ 9951 h 10000"/>
                <a:gd name="connsiteX928" fmla="*/ 1237 w 10000"/>
                <a:gd name="connsiteY928" fmla="*/ 10000 h 10000"/>
                <a:gd name="connsiteX929" fmla="*/ 1237 w 10000"/>
                <a:gd name="connsiteY92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253 w 10000"/>
                <a:gd name="connsiteY755" fmla="*/ 7641 h 10000"/>
                <a:gd name="connsiteX756" fmla="*/ 2172 w 10000"/>
                <a:gd name="connsiteY756" fmla="*/ 7714 h 10000"/>
                <a:gd name="connsiteX757" fmla="*/ 2167 w 10000"/>
                <a:gd name="connsiteY757" fmla="*/ 7742 h 10000"/>
                <a:gd name="connsiteX758" fmla="*/ 2162 w 10000"/>
                <a:gd name="connsiteY758" fmla="*/ 7775 h 10000"/>
                <a:gd name="connsiteX759" fmla="*/ 2159 w 10000"/>
                <a:gd name="connsiteY759" fmla="*/ 7833 h 10000"/>
                <a:gd name="connsiteX760" fmla="*/ 2157 w 10000"/>
                <a:gd name="connsiteY760" fmla="*/ 7882 h 10000"/>
                <a:gd name="connsiteX761" fmla="*/ 2157 w 10000"/>
                <a:gd name="connsiteY761" fmla="*/ 7938 h 10000"/>
                <a:gd name="connsiteX762" fmla="*/ 2159 w 10000"/>
                <a:gd name="connsiteY762" fmla="*/ 8006 h 10000"/>
                <a:gd name="connsiteX763" fmla="*/ 2162 w 10000"/>
                <a:gd name="connsiteY763" fmla="*/ 8079 h 10000"/>
                <a:gd name="connsiteX764" fmla="*/ 2159 w 10000"/>
                <a:gd name="connsiteY764" fmla="*/ 8156 h 10000"/>
                <a:gd name="connsiteX765" fmla="*/ 2157 w 10000"/>
                <a:gd name="connsiteY765" fmla="*/ 8193 h 10000"/>
                <a:gd name="connsiteX766" fmla="*/ 2154 w 10000"/>
                <a:gd name="connsiteY766" fmla="*/ 8228 h 10000"/>
                <a:gd name="connsiteX767" fmla="*/ 2146 w 10000"/>
                <a:gd name="connsiteY767" fmla="*/ 8261 h 10000"/>
                <a:gd name="connsiteX768" fmla="*/ 2136 w 10000"/>
                <a:gd name="connsiteY768" fmla="*/ 8291 h 10000"/>
                <a:gd name="connsiteX769" fmla="*/ 2124 w 10000"/>
                <a:gd name="connsiteY769" fmla="*/ 8319 h 10000"/>
                <a:gd name="connsiteX770" fmla="*/ 2109 w 10000"/>
                <a:gd name="connsiteY770" fmla="*/ 8345 h 10000"/>
                <a:gd name="connsiteX771" fmla="*/ 2098 w 10000"/>
                <a:gd name="connsiteY771" fmla="*/ 8354 h 10000"/>
                <a:gd name="connsiteX772" fmla="*/ 2088 w 10000"/>
                <a:gd name="connsiteY772" fmla="*/ 8364 h 10000"/>
                <a:gd name="connsiteX773" fmla="*/ 2078 w 10000"/>
                <a:gd name="connsiteY773" fmla="*/ 8373 h 10000"/>
                <a:gd name="connsiteX774" fmla="*/ 2063 w 10000"/>
                <a:gd name="connsiteY774" fmla="*/ 8380 h 10000"/>
                <a:gd name="connsiteX775" fmla="*/ 1990 w 10000"/>
                <a:gd name="connsiteY775" fmla="*/ 8422 h 10000"/>
                <a:gd name="connsiteX776" fmla="*/ 1904 w 10000"/>
                <a:gd name="connsiteY776" fmla="*/ 8481 h 10000"/>
                <a:gd name="connsiteX777" fmla="*/ 1856 w 10000"/>
                <a:gd name="connsiteY777" fmla="*/ 8506 h 10000"/>
                <a:gd name="connsiteX778" fmla="*/ 1816 w 10000"/>
                <a:gd name="connsiteY778" fmla="*/ 8527 h 10000"/>
                <a:gd name="connsiteX779" fmla="*/ 1793 w 10000"/>
                <a:gd name="connsiteY779" fmla="*/ 8539 h 10000"/>
                <a:gd name="connsiteX780" fmla="*/ 1775 w 10000"/>
                <a:gd name="connsiteY780" fmla="*/ 8546 h 10000"/>
                <a:gd name="connsiteX781" fmla="*/ 1758 w 10000"/>
                <a:gd name="connsiteY781" fmla="*/ 8548 h 10000"/>
                <a:gd name="connsiteX782" fmla="*/ 1742 w 10000"/>
                <a:gd name="connsiteY782" fmla="*/ 8551 h 10000"/>
                <a:gd name="connsiteX783" fmla="*/ 1727 w 10000"/>
                <a:gd name="connsiteY783" fmla="*/ 8537 h 10000"/>
                <a:gd name="connsiteX784" fmla="*/ 1717 w 10000"/>
                <a:gd name="connsiteY784" fmla="*/ 8518 h 10000"/>
                <a:gd name="connsiteX785" fmla="*/ 1710 w 10000"/>
                <a:gd name="connsiteY785" fmla="*/ 8499 h 10000"/>
                <a:gd name="connsiteX786" fmla="*/ 1702 w 10000"/>
                <a:gd name="connsiteY786" fmla="*/ 8476 h 10000"/>
                <a:gd name="connsiteX787" fmla="*/ 1684 w 10000"/>
                <a:gd name="connsiteY787" fmla="*/ 8429 h 10000"/>
                <a:gd name="connsiteX788" fmla="*/ 1674 w 10000"/>
                <a:gd name="connsiteY788" fmla="*/ 8380 h 10000"/>
                <a:gd name="connsiteX789" fmla="*/ 1667 w 10000"/>
                <a:gd name="connsiteY789" fmla="*/ 8329 h 10000"/>
                <a:gd name="connsiteX790" fmla="*/ 1659 w 10000"/>
                <a:gd name="connsiteY790" fmla="*/ 8282 h 10000"/>
                <a:gd name="connsiteX791" fmla="*/ 1657 w 10000"/>
                <a:gd name="connsiteY791" fmla="*/ 8235 h 10000"/>
                <a:gd name="connsiteX792" fmla="*/ 1657 w 10000"/>
                <a:gd name="connsiteY792" fmla="*/ 8195 h 10000"/>
                <a:gd name="connsiteX793" fmla="*/ 1652 w 10000"/>
                <a:gd name="connsiteY793" fmla="*/ 8191 h 10000"/>
                <a:gd name="connsiteX794" fmla="*/ 1586 w 10000"/>
                <a:gd name="connsiteY794" fmla="*/ 8188 h 10000"/>
                <a:gd name="connsiteX795" fmla="*/ 1525 w 10000"/>
                <a:gd name="connsiteY795" fmla="*/ 8186 h 10000"/>
                <a:gd name="connsiteX796" fmla="*/ 1500 w 10000"/>
                <a:gd name="connsiteY796" fmla="*/ 8191 h 10000"/>
                <a:gd name="connsiteX797" fmla="*/ 1472 w 10000"/>
                <a:gd name="connsiteY797" fmla="*/ 8198 h 10000"/>
                <a:gd name="connsiteX798" fmla="*/ 1457 w 10000"/>
                <a:gd name="connsiteY798" fmla="*/ 8205 h 10000"/>
                <a:gd name="connsiteX799" fmla="*/ 1444 w 10000"/>
                <a:gd name="connsiteY799" fmla="*/ 8212 h 10000"/>
                <a:gd name="connsiteX800" fmla="*/ 1434 w 10000"/>
                <a:gd name="connsiteY800" fmla="*/ 8223 h 10000"/>
                <a:gd name="connsiteX801" fmla="*/ 1419 w 10000"/>
                <a:gd name="connsiteY801" fmla="*/ 8233 h 10000"/>
                <a:gd name="connsiteX802" fmla="*/ 1412 w 10000"/>
                <a:gd name="connsiteY802" fmla="*/ 8247 h 10000"/>
                <a:gd name="connsiteX803" fmla="*/ 1402 w 10000"/>
                <a:gd name="connsiteY803" fmla="*/ 8261 h 10000"/>
                <a:gd name="connsiteX804" fmla="*/ 1394 w 10000"/>
                <a:gd name="connsiteY804" fmla="*/ 8275 h 10000"/>
                <a:gd name="connsiteX805" fmla="*/ 1386 w 10000"/>
                <a:gd name="connsiteY805" fmla="*/ 8294 h 10000"/>
                <a:gd name="connsiteX806" fmla="*/ 1374 w 10000"/>
                <a:gd name="connsiteY806" fmla="*/ 8331 h 10000"/>
                <a:gd name="connsiteX807" fmla="*/ 1361 w 10000"/>
                <a:gd name="connsiteY807" fmla="*/ 8368 h 10000"/>
                <a:gd name="connsiteX808" fmla="*/ 1354 w 10000"/>
                <a:gd name="connsiteY808" fmla="*/ 8387 h 10000"/>
                <a:gd name="connsiteX809" fmla="*/ 1346 w 10000"/>
                <a:gd name="connsiteY809" fmla="*/ 8406 h 10000"/>
                <a:gd name="connsiteX810" fmla="*/ 1338 w 10000"/>
                <a:gd name="connsiteY810" fmla="*/ 8420 h 10000"/>
                <a:gd name="connsiteX811" fmla="*/ 1328 w 10000"/>
                <a:gd name="connsiteY811" fmla="*/ 8436 h 10000"/>
                <a:gd name="connsiteX812" fmla="*/ 1316 w 10000"/>
                <a:gd name="connsiteY812" fmla="*/ 8446 h 10000"/>
                <a:gd name="connsiteX813" fmla="*/ 1306 w 10000"/>
                <a:gd name="connsiteY813" fmla="*/ 8453 h 10000"/>
                <a:gd name="connsiteX814" fmla="*/ 1293 w 10000"/>
                <a:gd name="connsiteY814" fmla="*/ 8460 h 10000"/>
                <a:gd name="connsiteX815" fmla="*/ 1275 w 10000"/>
                <a:gd name="connsiteY815" fmla="*/ 8460 h 10000"/>
                <a:gd name="connsiteX816" fmla="*/ 1265 w 10000"/>
                <a:gd name="connsiteY816" fmla="*/ 8450 h 10000"/>
                <a:gd name="connsiteX817" fmla="*/ 1258 w 10000"/>
                <a:gd name="connsiteY817" fmla="*/ 8441 h 10000"/>
                <a:gd name="connsiteX818" fmla="*/ 1245 w 10000"/>
                <a:gd name="connsiteY818" fmla="*/ 8424 h 10000"/>
                <a:gd name="connsiteX819" fmla="*/ 1237 w 10000"/>
                <a:gd name="connsiteY819" fmla="*/ 8408 h 10000"/>
                <a:gd name="connsiteX820" fmla="*/ 1217 w 10000"/>
                <a:gd name="connsiteY820" fmla="*/ 8373 h 10000"/>
                <a:gd name="connsiteX821" fmla="*/ 1202 w 10000"/>
                <a:gd name="connsiteY821" fmla="*/ 8333 h 10000"/>
                <a:gd name="connsiteX822" fmla="*/ 1182 w 10000"/>
                <a:gd name="connsiteY822" fmla="*/ 8296 h 10000"/>
                <a:gd name="connsiteX823" fmla="*/ 1162 w 10000"/>
                <a:gd name="connsiteY823" fmla="*/ 8268 h 10000"/>
                <a:gd name="connsiteX824" fmla="*/ 1149 w 10000"/>
                <a:gd name="connsiteY824" fmla="*/ 8256 h 10000"/>
                <a:gd name="connsiteX825" fmla="*/ 1139 w 10000"/>
                <a:gd name="connsiteY825" fmla="*/ 8249 h 10000"/>
                <a:gd name="connsiteX826" fmla="*/ 1126 w 10000"/>
                <a:gd name="connsiteY826" fmla="*/ 8240 h 10000"/>
                <a:gd name="connsiteX827" fmla="*/ 1114 w 10000"/>
                <a:gd name="connsiteY827" fmla="*/ 8240 h 10000"/>
                <a:gd name="connsiteX828" fmla="*/ 1091 w 10000"/>
                <a:gd name="connsiteY828" fmla="*/ 8242 h 10000"/>
                <a:gd name="connsiteX829" fmla="*/ 1071 w 10000"/>
                <a:gd name="connsiteY829" fmla="*/ 8252 h 10000"/>
                <a:gd name="connsiteX830" fmla="*/ 1048 w 10000"/>
                <a:gd name="connsiteY830" fmla="*/ 8261 h 10000"/>
                <a:gd name="connsiteX831" fmla="*/ 1030 w 10000"/>
                <a:gd name="connsiteY831" fmla="*/ 8273 h 10000"/>
                <a:gd name="connsiteX832" fmla="*/ 1010 w 10000"/>
                <a:gd name="connsiteY832" fmla="*/ 8287 h 10000"/>
                <a:gd name="connsiteX833" fmla="*/ 995 w 10000"/>
                <a:gd name="connsiteY833" fmla="*/ 8303 h 10000"/>
                <a:gd name="connsiteX834" fmla="*/ 975 w 10000"/>
                <a:gd name="connsiteY834" fmla="*/ 8322 h 10000"/>
                <a:gd name="connsiteX835" fmla="*/ 960 w 10000"/>
                <a:gd name="connsiteY835" fmla="*/ 8343 h 10000"/>
                <a:gd name="connsiteX836" fmla="*/ 927 w 10000"/>
                <a:gd name="connsiteY836" fmla="*/ 8380 h 10000"/>
                <a:gd name="connsiteX837" fmla="*/ 891 w 10000"/>
                <a:gd name="connsiteY837" fmla="*/ 8417 h 10000"/>
                <a:gd name="connsiteX838" fmla="*/ 874 w 10000"/>
                <a:gd name="connsiteY838" fmla="*/ 8436 h 10000"/>
                <a:gd name="connsiteX839" fmla="*/ 859 w 10000"/>
                <a:gd name="connsiteY839" fmla="*/ 8450 h 10000"/>
                <a:gd name="connsiteX840" fmla="*/ 838 w 10000"/>
                <a:gd name="connsiteY840" fmla="*/ 8462 h 10000"/>
                <a:gd name="connsiteX841" fmla="*/ 821 w 10000"/>
                <a:gd name="connsiteY841" fmla="*/ 8476 h 10000"/>
                <a:gd name="connsiteX842" fmla="*/ 742 w 10000"/>
                <a:gd name="connsiteY842" fmla="*/ 8562 h 10000"/>
                <a:gd name="connsiteX843" fmla="*/ 672 w 10000"/>
                <a:gd name="connsiteY843" fmla="*/ 8644 h 10000"/>
                <a:gd name="connsiteX844" fmla="*/ 639 w 10000"/>
                <a:gd name="connsiteY844" fmla="*/ 8684 h 10000"/>
                <a:gd name="connsiteX845" fmla="*/ 609 w 10000"/>
                <a:gd name="connsiteY845" fmla="*/ 8731 h 10000"/>
                <a:gd name="connsiteX846" fmla="*/ 583 w 10000"/>
                <a:gd name="connsiteY846" fmla="*/ 8777 h 10000"/>
                <a:gd name="connsiteX847" fmla="*/ 556 w 10000"/>
                <a:gd name="connsiteY847" fmla="*/ 8831 h 10000"/>
                <a:gd name="connsiteX848" fmla="*/ 545 w 10000"/>
                <a:gd name="connsiteY848" fmla="*/ 8852 h 10000"/>
                <a:gd name="connsiteX849" fmla="*/ 525 w 10000"/>
                <a:gd name="connsiteY849" fmla="*/ 8885 h 10000"/>
                <a:gd name="connsiteX850" fmla="*/ 503 w 10000"/>
                <a:gd name="connsiteY850" fmla="*/ 8925 h 10000"/>
                <a:gd name="connsiteX851" fmla="*/ 480 w 10000"/>
                <a:gd name="connsiteY851" fmla="*/ 8962 h 10000"/>
                <a:gd name="connsiteX852" fmla="*/ 465 w 10000"/>
                <a:gd name="connsiteY852" fmla="*/ 8981 h 10000"/>
                <a:gd name="connsiteX853" fmla="*/ 455 w 10000"/>
                <a:gd name="connsiteY853" fmla="*/ 8993 h 10000"/>
                <a:gd name="connsiteX854" fmla="*/ 444 w 10000"/>
                <a:gd name="connsiteY854" fmla="*/ 9000 h 10000"/>
                <a:gd name="connsiteX855" fmla="*/ 434 w 10000"/>
                <a:gd name="connsiteY855" fmla="*/ 9007 h 10000"/>
                <a:gd name="connsiteX856" fmla="*/ 432 w 10000"/>
                <a:gd name="connsiteY856" fmla="*/ 9007 h 10000"/>
                <a:gd name="connsiteX857" fmla="*/ 429 w 10000"/>
                <a:gd name="connsiteY857" fmla="*/ 9004 h 10000"/>
                <a:gd name="connsiteX858" fmla="*/ 427 w 10000"/>
                <a:gd name="connsiteY858" fmla="*/ 8997 h 10000"/>
                <a:gd name="connsiteX859" fmla="*/ 427 w 10000"/>
                <a:gd name="connsiteY859" fmla="*/ 8993 h 10000"/>
                <a:gd name="connsiteX860" fmla="*/ 424 w 10000"/>
                <a:gd name="connsiteY860" fmla="*/ 8976 h 10000"/>
                <a:gd name="connsiteX861" fmla="*/ 427 w 10000"/>
                <a:gd name="connsiteY861" fmla="*/ 8948 h 10000"/>
                <a:gd name="connsiteX862" fmla="*/ 437 w 10000"/>
                <a:gd name="connsiteY862" fmla="*/ 8913 h 10000"/>
                <a:gd name="connsiteX863" fmla="*/ 455 w 10000"/>
                <a:gd name="connsiteY863" fmla="*/ 8859 h 10000"/>
                <a:gd name="connsiteX864" fmla="*/ 462 w 10000"/>
                <a:gd name="connsiteY864" fmla="*/ 8834 h 10000"/>
                <a:gd name="connsiteX865" fmla="*/ 470 w 10000"/>
                <a:gd name="connsiteY865" fmla="*/ 8810 h 10000"/>
                <a:gd name="connsiteX866" fmla="*/ 472 w 10000"/>
                <a:gd name="connsiteY866" fmla="*/ 8794 h 10000"/>
                <a:gd name="connsiteX867" fmla="*/ 472 w 10000"/>
                <a:gd name="connsiteY867" fmla="*/ 8780 h 10000"/>
                <a:gd name="connsiteX868" fmla="*/ 462 w 10000"/>
                <a:gd name="connsiteY868" fmla="*/ 8784 h 10000"/>
                <a:gd name="connsiteX869" fmla="*/ 452 w 10000"/>
                <a:gd name="connsiteY869" fmla="*/ 8787 h 10000"/>
                <a:gd name="connsiteX870" fmla="*/ 437 w 10000"/>
                <a:gd name="connsiteY870" fmla="*/ 8794 h 10000"/>
                <a:gd name="connsiteX871" fmla="*/ 424 w 10000"/>
                <a:gd name="connsiteY871" fmla="*/ 8803 h 10000"/>
                <a:gd name="connsiteX872" fmla="*/ 394 w 10000"/>
                <a:gd name="connsiteY872" fmla="*/ 8829 h 10000"/>
                <a:gd name="connsiteX873" fmla="*/ 364 w 10000"/>
                <a:gd name="connsiteY873" fmla="*/ 8859 h 10000"/>
                <a:gd name="connsiteX874" fmla="*/ 311 w 10000"/>
                <a:gd name="connsiteY874" fmla="*/ 8922 h 10000"/>
                <a:gd name="connsiteX875" fmla="*/ 268 w 10000"/>
                <a:gd name="connsiteY875" fmla="*/ 8964 h 10000"/>
                <a:gd name="connsiteX876" fmla="*/ 205 w 10000"/>
                <a:gd name="connsiteY876" fmla="*/ 9016 h 10000"/>
                <a:gd name="connsiteX877" fmla="*/ 146 w 10000"/>
                <a:gd name="connsiteY877" fmla="*/ 9053 h 10000"/>
                <a:gd name="connsiteX878" fmla="*/ 139 w 10000"/>
                <a:gd name="connsiteY878" fmla="*/ 9063 h 10000"/>
                <a:gd name="connsiteX879" fmla="*/ 129 w 10000"/>
                <a:gd name="connsiteY879" fmla="*/ 9077 h 10000"/>
                <a:gd name="connsiteX880" fmla="*/ 126 w 10000"/>
                <a:gd name="connsiteY880" fmla="*/ 9086 h 10000"/>
                <a:gd name="connsiteX881" fmla="*/ 126 w 10000"/>
                <a:gd name="connsiteY881" fmla="*/ 9102 h 10000"/>
                <a:gd name="connsiteX882" fmla="*/ 129 w 10000"/>
                <a:gd name="connsiteY882" fmla="*/ 9116 h 10000"/>
                <a:gd name="connsiteX883" fmla="*/ 139 w 10000"/>
                <a:gd name="connsiteY883" fmla="*/ 9135 h 10000"/>
                <a:gd name="connsiteX884" fmla="*/ 149 w 10000"/>
                <a:gd name="connsiteY884" fmla="*/ 9151 h 10000"/>
                <a:gd name="connsiteX885" fmla="*/ 164 w 10000"/>
                <a:gd name="connsiteY885" fmla="*/ 9175 h 10000"/>
                <a:gd name="connsiteX886" fmla="*/ 184 w 10000"/>
                <a:gd name="connsiteY886" fmla="*/ 9196 h 10000"/>
                <a:gd name="connsiteX887" fmla="*/ 207 w 10000"/>
                <a:gd name="connsiteY887" fmla="*/ 9215 h 10000"/>
                <a:gd name="connsiteX888" fmla="*/ 227 w 10000"/>
                <a:gd name="connsiteY888" fmla="*/ 9233 h 10000"/>
                <a:gd name="connsiteX889" fmla="*/ 253 w 10000"/>
                <a:gd name="connsiteY889" fmla="*/ 9250 h 10000"/>
                <a:gd name="connsiteX890" fmla="*/ 303 w 10000"/>
                <a:gd name="connsiteY890" fmla="*/ 9282 h 10000"/>
                <a:gd name="connsiteX891" fmla="*/ 351 w 10000"/>
                <a:gd name="connsiteY891" fmla="*/ 9315 h 10000"/>
                <a:gd name="connsiteX892" fmla="*/ 414 w 10000"/>
                <a:gd name="connsiteY892" fmla="*/ 9364 h 10000"/>
                <a:gd name="connsiteX893" fmla="*/ 480 w 10000"/>
                <a:gd name="connsiteY893" fmla="*/ 9416 h 10000"/>
                <a:gd name="connsiteX894" fmla="*/ 513 w 10000"/>
                <a:gd name="connsiteY894" fmla="*/ 9437 h 10000"/>
                <a:gd name="connsiteX895" fmla="*/ 548 w 10000"/>
                <a:gd name="connsiteY895" fmla="*/ 9462 h 10000"/>
                <a:gd name="connsiteX896" fmla="*/ 581 w 10000"/>
                <a:gd name="connsiteY896" fmla="*/ 9483 h 10000"/>
                <a:gd name="connsiteX897" fmla="*/ 614 w 10000"/>
                <a:gd name="connsiteY897" fmla="*/ 9502 h 10000"/>
                <a:gd name="connsiteX898" fmla="*/ 641 w 10000"/>
                <a:gd name="connsiteY898" fmla="*/ 9525 h 10000"/>
                <a:gd name="connsiteX899" fmla="*/ 672 w 10000"/>
                <a:gd name="connsiteY899" fmla="*/ 9549 h 10000"/>
                <a:gd name="connsiteX900" fmla="*/ 702 w 10000"/>
                <a:gd name="connsiteY900" fmla="*/ 9568 h 10000"/>
                <a:gd name="connsiteX901" fmla="*/ 737 w 10000"/>
                <a:gd name="connsiteY901" fmla="*/ 9589 h 10000"/>
                <a:gd name="connsiteX902" fmla="*/ 770 w 10000"/>
                <a:gd name="connsiteY902" fmla="*/ 9605 h 10000"/>
                <a:gd name="connsiteX903" fmla="*/ 808 w 10000"/>
                <a:gd name="connsiteY903" fmla="*/ 9617 h 10000"/>
                <a:gd name="connsiteX904" fmla="*/ 843 w 10000"/>
                <a:gd name="connsiteY904" fmla="*/ 9624 h 10000"/>
                <a:gd name="connsiteX905" fmla="*/ 884 w 10000"/>
                <a:gd name="connsiteY905" fmla="*/ 9628 h 10000"/>
                <a:gd name="connsiteX906" fmla="*/ 902 w 10000"/>
                <a:gd name="connsiteY906" fmla="*/ 9628 h 10000"/>
                <a:gd name="connsiteX907" fmla="*/ 914 w 10000"/>
                <a:gd name="connsiteY907" fmla="*/ 9631 h 10000"/>
                <a:gd name="connsiteX908" fmla="*/ 932 w 10000"/>
                <a:gd name="connsiteY908" fmla="*/ 9638 h 10000"/>
                <a:gd name="connsiteX909" fmla="*/ 942 w 10000"/>
                <a:gd name="connsiteY909" fmla="*/ 9642 h 10000"/>
                <a:gd name="connsiteX910" fmla="*/ 967 w 10000"/>
                <a:gd name="connsiteY910" fmla="*/ 9652 h 10000"/>
                <a:gd name="connsiteX911" fmla="*/ 987 w 10000"/>
                <a:gd name="connsiteY911" fmla="*/ 9668 h 10000"/>
                <a:gd name="connsiteX912" fmla="*/ 1005 w 10000"/>
                <a:gd name="connsiteY912" fmla="*/ 9682 h 10000"/>
                <a:gd name="connsiteX913" fmla="*/ 1025 w 10000"/>
                <a:gd name="connsiteY913" fmla="*/ 9698 h 10000"/>
                <a:gd name="connsiteX914" fmla="*/ 1045 w 10000"/>
                <a:gd name="connsiteY914" fmla="*/ 9712 h 10000"/>
                <a:gd name="connsiteX915" fmla="*/ 1073 w 10000"/>
                <a:gd name="connsiteY915" fmla="*/ 9724 h 10000"/>
                <a:gd name="connsiteX916" fmla="*/ 1098 w 10000"/>
                <a:gd name="connsiteY916" fmla="*/ 9738 h 10000"/>
                <a:gd name="connsiteX917" fmla="*/ 1121 w 10000"/>
                <a:gd name="connsiteY917" fmla="*/ 9750 h 10000"/>
                <a:gd name="connsiteX918" fmla="*/ 1141 w 10000"/>
                <a:gd name="connsiteY918" fmla="*/ 9762 h 10000"/>
                <a:gd name="connsiteX919" fmla="*/ 1159 w 10000"/>
                <a:gd name="connsiteY919" fmla="*/ 9776 h 10000"/>
                <a:gd name="connsiteX920" fmla="*/ 1172 w 10000"/>
                <a:gd name="connsiteY920" fmla="*/ 9787 h 10000"/>
                <a:gd name="connsiteX921" fmla="*/ 1182 w 10000"/>
                <a:gd name="connsiteY921" fmla="*/ 9804 h 10000"/>
                <a:gd name="connsiteX922" fmla="*/ 1194 w 10000"/>
                <a:gd name="connsiteY922" fmla="*/ 9818 h 10000"/>
                <a:gd name="connsiteX923" fmla="*/ 1202 w 10000"/>
                <a:gd name="connsiteY923" fmla="*/ 9834 h 10000"/>
                <a:gd name="connsiteX924" fmla="*/ 1212 w 10000"/>
                <a:gd name="connsiteY924" fmla="*/ 9869 h 10000"/>
                <a:gd name="connsiteX925" fmla="*/ 1220 w 10000"/>
                <a:gd name="connsiteY925" fmla="*/ 9906 h 10000"/>
                <a:gd name="connsiteX926" fmla="*/ 1230 w 10000"/>
                <a:gd name="connsiteY926" fmla="*/ 9951 h 10000"/>
                <a:gd name="connsiteX927" fmla="*/ 1237 w 10000"/>
                <a:gd name="connsiteY927" fmla="*/ 10000 h 10000"/>
                <a:gd name="connsiteX928" fmla="*/ 1237 w 10000"/>
                <a:gd name="connsiteY92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265 w 10000"/>
                <a:gd name="connsiteY754" fmla="*/ 7641 h 10000"/>
                <a:gd name="connsiteX755" fmla="*/ 2172 w 10000"/>
                <a:gd name="connsiteY755" fmla="*/ 7714 h 10000"/>
                <a:gd name="connsiteX756" fmla="*/ 2167 w 10000"/>
                <a:gd name="connsiteY756" fmla="*/ 7742 h 10000"/>
                <a:gd name="connsiteX757" fmla="*/ 2162 w 10000"/>
                <a:gd name="connsiteY757" fmla="*/ 7775 h 10000"/>
                <a:gd name="connsiteX758" fmla="*/ 2159 w 10000"/>
                <a:gd name="connsiteY758" fmla="*/ 7833 h 10000"/>
                <a:gd name="connsiteX759" fmla="*/ 2157 w 10000"/>
                <a:gd name="connsiteY759" fmla="*/ 7882 h 10000"/>
                <a:gd name="connsiteX760" fmla="*/ 2157 w 10000"/>
                <a:gd name="connsiteY760" fmla="*/ 7938 h 10000"/>
                <a:gd name="connsiteX761" fmla="*/ 2159 w 10000"/>
                <a:gd name="connsiteY761" fmla="*/ 8006 h 10000"/>
                <a:gd name="connsiteX762" fmla="*/ 2162 w 10000"/>
                <a:gd name="connsiteY762" fmla="*/ 8079 h 10000"/>
                <a:gd name="connsiteX763" fmla="*/ 2159 w 10000"/>
                <a:gd name="connsiteY763" fmla="*/ 8156 h 10000"/>
                <a:gd name="connsiteX764" fmla="*/ 2157 w 10000"/>
                <a:gd name="connsiteY764" fmla="*/ 8193 h 10000"/>
                <a:gd name="connsiteX765" fmla="*/ 2154 w 10000"/>
                <a:gd name="connsiteY765" fmla="*/ 8228 h 10000"/>
                <a:gd name="connsiteX766" fmla="*/ 2146 w 10000"/>
                <a:gd name="connsiteY766" fmla="*/ 8261 h 10000"/>
                <a:gd name="connsiteX767" fmla="*/ 2136 w 10000"/>
                <a:gd name="connsiteY767" fmla="*/ 8291 h 10000"/>
                <a:gd name="connsiteX768" fmla="*/ 2124 w 10000"/>
                <a:gd name="connsiteY768" fmla="*/ 8319 h 10000"/>
                <a:gd name="connsiteX769" fmla="*/ 2109 w 10000"/>
                <a:gd name="connsiteY769" fmla="*/ 8345 h 10000"/>
                <a:gd name="connsiteX770" fmla="*/ 2098 w 10000"/>
                <a:gd name="connsiteY770" fmla="*/ 8354 h 10000"/>
                <a:gd name="connsiteX771" fmla="*/ 2088 w 10000"/>
                <a:gd name="connsiteY771" fmla="*/ 8364 h 10000"/>
                <a:gd name="connsiteX772" fmla="*/ 2078 w 10000"/>
                <a:gd name="connsiteY772" fmla="*/ 8373 h 10000"/>
                <a:gd name="connsiteX773" fmla="*/ 2063 w 10000"/>
                <a:gd name="connsiteY773" fmla="*/ 8380 h 10000"/>
                <a:gd name="connsiteX774" fmla="*/ 1990 w 10000"/>
                <a:gd name="connsiteY774" fmla="*/ 8422 h 10000"/>
                <a:gd name="connsiteX775" fmla="*/ 1904 w 10000"/>
                <a:gd name="connsiteY775" fmla="*/ 8481 h 10000"/>
                <a:gd name="connsiteX776" fmla="*/ 1856 w 10000"/>
                <a:gd name="connsiteY776" fmla="*/ 8506 h 10000"/>
                <a:gd name="connsiteX777" fmla="*/ 1816 w 10000"/>
                <a:gd name="connsiteY777" fmla="*/ 8527 h 10000"/>
                <a:gd name="connsiteX778" fmla="*/ 1793 w 10000"/>
                <a:gd name="connsiteY778" fmla="*/ 8539 h 10000"/>
                <a:gd name="connsiteX779" fmla="*/ 1775 w 10000"/>
                <a:gd name="connsiteY779" fmla="*/ 8546 h 10000"/>
                <a:gd name="connsiteX780" fmla="*/ 1758 w 10000"/>
                <a:gd name="connsiteY780" fmla="*/ 8548 h 10000"/>
                <a:gd name="connsiteX781" fmla="*/ 1742 w 10000"/>
                <a:gd name="connsiteY781" fmla="*/ 8551 h 10000"/>
                <a:gd name="connsiteX782" fmla="*/ 1727 w 10000"/>
                <a:gd name="connsiteY782" fmla="*/ 8537 h 10000"/>
                <a:gd name="connsiteX783" fmla="*/ 1717 w 10000"/>
                <a:gd name="connsiteY783" fmla="*/ 8518 h 10000"/>
                <a:gd name="connsiteX784" fmla="*/ 1710 w 10000"/>
                <a:gd name="connsiteY784" fmla="*/ 8499 h 10000"/>
                <a:gd name="connsiteX785" fmla="*/ 1702 w 10000"/>
                <a:gd name="connsiteY785" fmla="*/ 8476 h 10000"/>
                <a:gd name="connsiteX786" fmla="*/ 1684 w 10000"/>
                <a:gd name="connsiteY786" fmla="*/ 8429 h 10000"/>
                <a:gd name="connsiteX787" fmla="*/ 1674 w 10000"/>
                <a:gd name="connsiteY787" fmla="*/ 8380 h 10000"/>
                <a:gd name="connsiteX788" fmla="*/ 1667 w 10000"/>
                <a:gd name="connsiteY788" fmla="*/ 8329 h 10000"/>
                <a:gd name="connsiteX789" fmla="*/ 1659 w 10000"/>
                <a:gd name="connsiteY789" fmla="*/ 8282 h 10000"/>
                <a:gd name="connsiteX790" fmla="*/ 1657 w 10000"/>
                <a:gd name="connsiteY790" fmla="*/ 8235 h 10000"/>
                <a:gd name="connsiteX791" fmla="*/ 1657 w 10000"/>
                <a:gd name="connsiteY791" fmla="*/ 8195 h 10000"/>
                <a:gd name="connsiteX792" fmla="*/ 1652 w 10000"/>
                <a:gd name="connsiteY792" fmla="*/ 8191 h 10000"/>
                <a:gd name="connsiteX793" fmla="*/ 1586 w 10000"/>
                <a:gd name="connsiteY793" fmla="*/ 8188 h 10000"/>
                <a:gd name="connsiteX794" fmla="*/ 1525 w 10000"/>
                <a:gd name="connsiteY794" fmla="*/ 8186 h 10000"/>
                <a:gd name="connsiteX795" fmla="*/ 1500 w 10000"/>
                <a:gd name="connsiteY795" fmla="*/ 8191 h 10000"/>
                <a:gd name="connsiteX796" fmla="*/ 1472 w 10000"/>
                <a:gd name="connsiteY796" fmla="*/ 8198 h 10000"/>
                <a:gd name="connsiteX797" fmla="*/ 1457 w 10000"/>
                <a:gd name="connsiteY797" fmla="*/ 8205 h 10000"/>
                <a:gd name="connsiteX798" fmla="*/ 1444 w 10000"/>
                <a:gd name="connsiteY798" fmla="*/ 8212 h 10000"/>
                <a:gd name="connsiteX799" fmla="*/ 1434 w 10000"/>
                <a:gd name="connsiteY799" fmla="*/ 8223 h 10000"/>
                <a:gd name="connsiteX800" fmla="*/ 1419 w 10000"/>
                <a:gd name="connsiteY800" fmla="*/ 8233 h 10000"/>
                <a:gd name="connsiteX801" fmla="*/ 1412 w 10000"/>
                <a:gd name="connsiteY801" fmla="*/ 8247 h 10000"/>
                <a:gd name="connsiteX802" fmla="*/ 1402 w 10000"/>
                <a:gd name="connsiteY802" fmla="*/ 8261 h 10000"/>
                <a:gd name="connsiteX803" fmla="*/ 1394 w 10000"/>
                <a:gd name="connsiteY803" fmla="*/ 8275 h 10000"/>
                <a:gd name="connsiteX804" fmla="*/ 1386 w 10000"/>
                <a:gd name="connsiteY804" fmla="*/ 8294 h 10000"/>
                <a:gd name="connsiteX805" fmla="*/ 1374 w 10000"/>
                <a:gd name="connsiteY805" fmla="*/ 8331 h 10000"/>
                <a:gd name="connsiteX806" fmla="*/ 1361 w 10000"/>
                <a:gd name="connsiteY806" fmla="*/ 8368 h 10000"/>
                <a:gd name="connsiteX807" fmla="*/ 1354 w 10000"/>
                <a:gd name="connsiteY807" fmla="*/ 8387 h 10000"/>
                <a:gd name="connsiteX808" fmla="*/ 1346 w 10000"/>
                <a:gd name="connsiteY808" fmla="*/ 8406 h 10000"/>
                <a:gd name="connsiteX809" fmla="*/ 1338 w 10000"/>
                <a:gd name="connsiteY809" fmla="*/ 8420 h 10000"/>
                <a:gd name="connsiteX810" fmla="*/ 1328 w 10000"/>
                <a:gd name="connsiteY810" fmla="*/ 8436 h 10000"/>
                <a:gd name="connsiteX811" fmla="*/ 1316 w 10000"/>
                <a:gd name="connsiteY811" fmla="*/ 8446 h 10000"/>
                <a:gd name="connsiteX812" fmla="*/ 1306 w 10000"/>
                <a:gd name="connsiteY812" fmla="*/ 8453 h 10000"/>
                <a:gd name="connsiteX813" fmla="*/ 1293 w 10000"/>
                <a:gd name="connsiteY813" fmla="*/ 8460 h 10000"/>
                <a:gd name="connsiteX814" fmla="*/ 1275 w 10000"/>
                <a:gd name="connsiteY814" fmla="*/ 8460 h 10000"/>
                <a:gd name="connsiteX815" fmla="*/ 1265 w 10000"/>
                <a:gd name="connsiteY815" fmla="*/ 8450 h 10000"/>
                <a:gd name="connsiteX816" fmla="*/ 1258 w 10000"/>
                <a:gd name="connsiteY816" fmla="*/ 8441 h 10000"/>
                <a:gd name="connsiteX817" fmla="*/ 1245 w 10000"/>
                <a:gd name="connsiteY817" fmla="*/ 8424 h 10000"/>
                <a:gd name="connsiteX818" fmla="*/ 1237 w 10000"/>
                <a:gd name="connsiteY818" fmla="*/ 8408 h 10000"/>
                <a:gd name="connsiteX819" fmla="*/ 1217 w 10000"/>
                <a:gd name="connsiteY819" fmla="*/ 8373 h 10000"/>
                <a:gd name="connsiteX820" fmla="*/ 1202 w 10000"/>
                <a:gd name="connsiteY820" fmla="*/ 8333 h 10000"/>
                <a:gd name="connsiteX821" fmla="*/ 1182 w 10000"/>
                <a:gd name="connsiteY821" fmla="*/ 8296 h 10000"/>
                <a:gd name="connsiteX822" fmla="*/ 1162 w 10000"/>
                <a:gd name="connsiteY822" fmla="*/ 8268 h 10000"/>
                <a:gd name="connsiteX823" fmla="*/ 1149 w 10000"/>
                <a:gd name="connsiteY823" fmla="*/ 8256 h 10000"/>
                <a:gd name="connsiteX824" fmla="*/ 1139 w 10000"/>
                <a:gd name="connsiteY824" fmla="*/ 8249 h 10000"/>
                <a:gd name="connsiteX825" fmla="*/ 1126 w 10000"/>
                <a:gd name="connsiteY825" fmla="*/ 8240 h 10000"/>
                <a:gd name="connsiteX826" fmla="*/ 1114 w 10000"/>
                <a:gd name="connsiteY826" fmla="*/ 8240 h 10000"/>
                <a:gd name="connsiteX827" fmla="*/ 1091 w 10000"/>
                <a:gd name="connsiteY827" fmla="*/ 8242 h 10000"/>
                <a:gd name="connsiteX828" fmla="*/ 1071 w 10000"/>
                <a:gd name="connsiteY828" fmla="*/ 8252 h 10000"/>
                <a:gd name="connsiteX829" fmla="*/ 1048 w 10000"/>
                <a:gd name="connsiteY829" fmla="*/ 8261 h 10000"/>
                <a:gd name="connsiteX830" fmla="*/ 1030 w 10000"/>
                <a:gd name="connsiteY830" fmla="*/ 8273 h 10000"/>
                <a:gd name="connsiteX831" fmla="*/ 1010 w 10000"/>
                <a:gd name="connsiteY831" fmla="*/ 8287 h 10000"/>
                <a:gd name="connsiteX832" fmla="*/ 995 w 10000"/>
                <a:gd name="connsiteY832" fmla="*/ 8303 h 10000"/>
                <a:gd name="connsiteX833" fmla="*/ 975 w 10000"/>
                <a:gd name="connsiteY833" fmla="*/ 8322 h 10000"/>
                <a:gd name="connsiteX834" fmla="*/ 960 w 10000"/>
                <a:gd name="connsiteY834" fmla="*/ 8343 h 10000"/>
                <a:gd name="connsiteX835" fmla="*/ 927 w 10000"/>
                <a:gd name="connsiteY835" fmla="*/ 8380 h 10000"/>
                <a:gd name="connsiteX836" fmla="*/ 891 w 10000"/>
                <a:gd name="connsiteY836" fmla="*/ 8417 h 10000"/>
                <a:gd name="connsiteX837" fmla="*/ 874 w 10000"/>
                <a:gd name="connsiteY837" fmla="*/ 8436 h 10000"/>
                <a:gd name="connsiteX838" fmla="*/ 859 w 10000"/>
                <a:gd name="connsiteY838" fmla="*/ 8450 h 10000"/>
                <a:gd name="connsiteX839" fmla="*/ 838 w 10000"/>
                <a:gd name="connsiteY839" fmla="*/ 8462 h 10000"/>
                <a:gd name="connsiteX840" fmla="*/ 821 w 10000"/>
                <a:gd name="connsiteY840" fmla="*/ 8476 h 10000"/>
                <a:gd name="connsiteX841" fmla="*/ 742 w 10000"/>
                <a:gd name="connsiteY841" fmla="*/ 8562 h 10000"/>
                <a:gd name="connsiteX842" fmla="*/ 672 w 10000"/>
                <a:gd name="connsiteY842" fmla="*/ 8644 h 10000"/>
                <a:gd name="connsiteX843" fmla="*/ 639 w 10000"/>
                <a:gd name="connsiteY843" fmla="*/ 8684 h 10000"/>
                <a:gd name="connsiteX844" fmla="*/ 609 w 10000"/>
                <a:gd name="connsiteY844" fmla="*/ 8731 h 10000"/>
                <a:gd name="connsiteX845" fmla="*/ 583 w 10000"/>
                <a:gd name="connsiteY845" fmla="*/ 8777 h 10000"/>
                <a:gd name="connsiteX846" fmla="*/ 556 w 10000"/>
                <a:gd name="connsiteY846" fmla="*/ 8831 h 10000"/>
                <a:gd name="connsiteX847" fmla="*/ 545 w 10000"/>
                <a:gd name="connsiteY847" fmla="*/ 8852 h 10000"/>
                <a:gd name="connsiteX848" fmla="*/ 525 w 10000"/>
                <a:gd name="connsiteY848" fmla="*/ 8885 h 10000"/>
                <a:gd name="connsiteX849" fmla="*/ 503 w 10000"/>
                <a:gd name="connsiteY849" fmla="*/ 8925 h 10000"/>
                <a:gd name="connsiteX850" fmla="*/ 480 w 10000"/>
                <a:gd name="connsiteY850" fmla="*/ 8962 h 10000"/>
                <a:gd name="connsiteX851" fmla="*/ 465 w 10000"/>
                <a:gd name="connsiteY851" fmla="*/ 8981 h 10000"/>
                <a:gd name="connsiteX852" fmla="*/ 455 w 10000"/>
                <a:gd name="connsiteY852" fmla="*/ 8993 h 10000"/>
                <a:gd name="connsiteX853" fmla="*/ 444 w 10000"/>
                <a:gd name="connsiteY853" fmla="*/ 9000 h 10000"/>
                <a:gd name="connsiteX854" fmla="*/ 434 w 10000"/>
                <a:gd name="connsiteY854" fmla="*/ 9007 h 10000"/>
                <a:gd name="connsiteX855" fmla="*/ 432 w 10000"/>
                <a:gd name="connsiteY855" fmla="*/ 9007 h 10000"/>
                <a:gd name="connsiteX856" fmla="*/ 429 w 10000"/>
                <a:gd name="connsiteY856" fmla="*/ 9004 h 10000"/>
                <a:gd name="connsiteX857" fmla="*/ 427 w 10000"/>
                <a:gd name="connsiteY857" fmla="*/ 8997 h 10000"/>
                <a:gd name="connsiteX858" fmla="*/ 427 w 10000"/>
                <a:gd name="connsiteY858" fmla="*/ 8993 h 10000"/>
                <a:gd name="connsiteX859" fmla="*/ 424 w 10000"/>
                <a:gd name="connsiteY859" fmla="*/ 8976 h 10000"/>
                <a:gd name="connsiteX860" fmla="*/ 427 w 10000"/>
                <a:gd name="connsiteY860" fmla="*/ 8948 h 10000"/>
                <a:gd name="connsiteX861" fmla="*/ 437 w 10000"/>
                <a:gd name="connsiteY861" fmla="*/ 8913 h 10000"/>
                <a:gd name="connsiteX862" fmla="*/ 455 w 10000"/>
                <a:gd name="connsiteY862" fmla="*/ 8859 h 10000"/>
                <a:gd name="connsiteX863" fmla="*/ 462 w 10000"/>
                <a:gd name="connsiteY863" fmla="*/ 8834 h 10000"/>
                <a:gd name="connsiteX864" fmla="*/ 470 w 10000"/>
                <a:gd name="connsiteY864" fmla="*/ 8810 h 10000"/>
                <a:gd name="connsiteX865" fmla="*/ 472 w 10000"/>
                <a:gd name="connsiteY865" fmla="*/ 8794 h 10000"/>
                <a:gd name="connsiteX866" fmla="*/ 472 w 10000"/>
                <a:gd name="connsiteY866" fmla="*/ 8780 h 10000"/>
                <a:gd name="connsiteX867" fmla="*/ 462 w 10000"/>
                <a:gd name="connsiteY867" fmla="*/ 8784 h 10000"/>
                <a:gd name="connsiteX868" fmla="*/ 452 w 10000"/>
                <a:gd name="connsiteY868" fmla="*/ 8787 h 10000"/>
                <a:gd name="connsiteX869" fmla="*/ 437 w 10000"/>
                <a:gd name="connsiteY869" fmla="*/ 8794 h 10000"/>
                <a:gd name="connsiteX870" fmla="*/ 424 w 10000"/>
                <a:gd name="connsiteY870" fmla="*/ 8803 h 10000"/>
                <a:gd name="connsiteX871" fmla="*/ 394 w 10000"/>
                <a:gd name="connsiteY871" fmla="*/ 8829 h 10000"/>
                <a:gd name="connsiteX872" fmla="*/ 364 w 10000"/>
                <a:gd name="connsiteY872" fmla="*/ 8859 h 10000"/>
                <a:gd name="connsiteX873" fmla="*/ 311 w 10000"/>
                <a:gd name="connsiteY873" fmla="*/ 8922 h 10000"/>
                <a:gd name="connsiteX874" fmla="*/ 268 w 10000"/>
                <a:gd name="connsiteY874" fmla="*/ 8964 h 10000"/>
                <a:gd name="connsiteX875" fmla="*/ 205 w 10000"/>
                <a:gd name="connsiteY875" fmla="*/ 9016 h 10000"/>
                <a:gd name="connsiteX876" fmla="*/ 146 w 10000"/>
                <a:gd name="connsiteY876" fmla="*/ 9053 h 10000"/>
                <a:gd name="connsiteX877" fmla="*/ 139 w 10000"/>
                <a:gd name="connsiteY877" fmla="*/ 9063 h 10000"/>
                <a:gd name="connsiteX878" fmla="*/ 129 w 10000"/>
                <a:gd name="connsiteY878" fmla="*/ 9077 h 10000"/>
                <a:gd name="connsiteX879" fmla="*/ 126 w 10000"/>
                <a:gd name="connsiteY879" fmla="*/ 9086 h 10000"/>
                <a:gd name="connsiteX880" fmla="*/ 126 w 10000"/>
                <a:gd name="connsiteY880" fmla="*/ 9102 h 10000"/>
                <a:gd name="connsiteX881" fmla="*/ 129 w 10000"/>
                <a:gd name="connsiteY881" fmla="*/ 9116 h 10000"/>
                <a:gd name="connsiteX882" fmla="*/ 139 w 10000"/>
                <a:gd name="connsiteY882" fmla="*/ 9135 h 10000"/>
                <a:gd name="connsiteX883" fmla="*/ 149 w 10000"/>
                <a:gd name="connsiteY883" fmla="*/ 9151 h 10000"/>
                <a:gd name="connsiteX884" fmla="*/ 164 w 10000"/>
                <a:gd name="connsiteY884" fmla="*/ 9175 h 10000"/>
                <a:gd name="connsiteX885" fmla="*/ 184 w 10000"/>
                <a:gd name="connsiteY885" fmla="*/ 9196 h 10000"/>
                <a:gd name="connsiteX886" fmla="*/ 207 w 10000"/>
                <a:gd name="connsiteY886" fmla="*/ 9215 h 10000"/>
                <a:gd name="connsiteX887" fmla="*/ 227 w 10000"/>
                <a:gd name="connsiteY887" fmla="*/ 9233 h 10000"/>
                <a:gd name="connsiteX888" fmla="*/ 253 w 10000"/>
                <a:gd name="connsiteY888" fmla="*/ 9250 h 10000"/>
                <a:gd name="connsiteX889" fmla="*/ 303 w 10000"/>
                <a:gd name="connsiteY889" fmla="*/ 9282 h 10000"/>
                <a:gd name="connsiteX890" fmla="*/ 351 w 10000"/>
                <a:gd name="connsiteY890" fmla="*/ 9315 h 10000"/>
                <a:gd name="connsiteX891" fmla="*/ 414 w 10000"/>
                <a:gd name="connsiteY891" fmla="*/ 9364 h 10000"/>
                <a:gd name="connsiteX892" fmla="*/ 480 w 10000"/>
                <a:gd name="connsiteY892" fmla="*/ 9416 h 10000"/>
                <a:gd name="connsiteX893" fmla="*/ 513 w 10000"/>
                <a:gd name="connsiteY893" fmla="*/ 9437 h 10000"/>
                <a:gd name="connsiteX894" fmla="*/ 548 w 10000"/>
                <a:gd name="connsiteY894" fmla="*/ 9462 h 10000"/>
                <a:gd name="connsiteX895" fmla="*/ 581 w 10000"/>
                <a:gd name="connsiteY895" fmla="*/ 9483 h 10000"/>
                <a:gd name="connsiteX896" fmla="*/ 614 w 10000"/>
                <a:gd name="connsiteY896" fmla="*/ 9502 h 10000"/>
                <a:gd name="connsiteX897" fmla="*/ 641 w 10000"/>
                <a:gd name="connsiteY897" fmla="*/ 9525 h 10000"/>
                <a:gd name="connsiteX898" fmla="*/ 672 w 10000"/>
                <a:gd name="connsiteY898" fmla="*/ 9549 h 10000"/>
                <a:gd name="connsiteX899" fmla="*/ 702 w 10000"/>
                <a:gd name="connsiteY899" fmla="*/ 9568 h 10000"/>
                <a:gd name="connsiteX900" fmla="*/ 737 w 10000"/>
                <a:gd name="connsiteY900" fmla="*/ 9589 h 10000"/>
                <a:gd name="connsiteX901" fmla="*/ 770 w 10000"/>
                <a:gd name="connsiteY901" fmla="*/ 9605 h 10000"/>
                <a:gd name="connsiteX902" fmla="*/ 808 w 10000"/>
                <a:gd name="connsiteY902" fmla="*/ 9617 h 10000"/>
                <a:gd name="connsiteX903" fmla="*/ 843 w 10000"/>
                <a:gd name="connsiteY903" fmla="*/ 9624 h 10000"/>
                <a:gd name="connsiteX904" fmla="*/ 884 w 10000"/>
                <a:gd name="connsiteY904" fmla="*/ 9628 h 10000"/>
                <a:gd name="connsiteX905" fmla="*/ 902 w 10000"/>
                <a:gd name="connsiteY905" fmla="*/ 9628 h 10000"/>
                <a:gd name="connsiteX906" fmla="*/ 914 w 10000"/>
                <a:gd name="connsiteY906" fmla="*/ 9631 h 10000"/>
                <a:gd name="connsiteX907" fmla="*/ 932 w 10000"/>
                <a:gd name="connsiteY907" fmla="*/ 9638 h 10000"/>
                <a:gd name="connsiteX908" fmla="*/ 942 w 10000"/>
                <a:gd name="connsiteY908" fmla="*/ 9642 h 10000"/>
                <a:gd name="connsiteX909" fmla="*/ 967 w 10000"/>
                <a:gd name="connsiteY909" fmla="*/ 9652 h 10000"/>
                <a:gd name="connsiteX910" fmla="*/ 987 w 10000"/>
                <a:gd name="connsiteY910" fmla="*/ 9668 h 10000"/>
                <a:gd name="connsiteX911" fmla="*/ 1005 w 10000"/>
                <a:gd name="connsiteY911" fmla="*/ 9682 h 10000"/>
                <a:gd name="connsiteX912" fmla="*/ 1025 w 10000"/>
                <a:gd name="connsiteY912" fmla="*/ 9698 h 10000"/>
                <a:gd name="connsiteX913" fmla="*/ 1045 w 10000"/>
                <a:gd name="connsiteY913" fmla="*/ 9712 h 10000"/>
                <a:gd name="connsiteX914" fmla="*/ 1073 w 10000"/>
                <a:gd name="connsiteY914" fmla="*/ 9724 h 10000"/>
                <a:gd name="connsiteX915" fmla="*/ 1098 w 10000"/>
                <a:gd name="connsiteY915" fmla="*/ 9738 h 10000"/>
                <a:gd name="connsiteX916" fmla="*/ 1121 w 10000"/>
                <a:gd name="connsiteY916" fmla="*/ 9750 h 10000"/>
                <a:gd name="connsiteX917" fmla="*/ 1141 w 10000"/>
                <a:gd name="connsiteY917" fmla="*/ 9762 h 10000"/>
                <a:gd name="connsiteX918" fmla="*/ 1159 w 10000"/>
                <a:gd name="connsiteY918" fmla="*/ 9776 h 10000"/>
                <a:gd name="connsiteX919" fmla="*/ 1172 w 10000"/>
                <a:gd name="connsiteY919" fmla="*/ 9787 h 10000"/>
                <a:gd name="connsiteX920" fmla="*/ 1182 w 10000"/>
                <a:gd name="connsiteY920" fmla="*/ 9804 h 10000"/>
                <a:gd name="connsiteX921" fmla="*/ 1194 w 10000"/>
                <a:gd name="connsiteY921" fmla="*/ 9818 h 10000"/>
                <a:gd name="connsiteX922" fmla="*/ 1202 w 10000"/>
                <a:gd name="connsiteY922" fmla="*/ 9834 h 10000"/>
                <a:gd name="connsiteX923" fmla="*/ 1212 w 10000"/>
                <a:gd name="connsiteY923" fmla="*/ 9869 h 10000"/>
                <a:gd name="connsiteX924" fmla="*/ 1220 w 10000"/>
                <a:gd name="connsiteY924" fmla="*/ 9906 h 10000"/>
                <a:gd name="connsiteX925" fmla="*/ 1230 w 10000"/>
                <a:gd name="connsiteY925" fmla="*/ 9951 h 10000"/>
                <a:gd name="connsiteX926" fmla="*/ 1237 w 10000"/>
                <a:gd name="connsiteY926" fmla="*/ 10000 h 10000"/>
                <a:gd name="connsiteX927" fmla="*/ 1237 w 10000"/>
                <a:gd name="connsiteY92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283 w 10000"/>
                <a:gd name="connsiteY753" fmla="*/ 7644 h 10000"/>
                <a:gd name="connsiteX754" fmla="*/ 2172 w 10000"/>
                <a:gd name="connsiteY754" fmla="*/ 7714 h 10000"/>
                <a:gd name="connsiteX755" fmla="*/ 2167 w 10000"/>
                <a:gd name="connsiteY755" fmla="*/ 7742 h 10000"/>
                <a:gd name="connsiteX756" fmla="*/ 2162 w 10000"/>
                <a:gd name="connsiteY756" fmla="*/ 7775 h 10000"/>
                <a:gd name="connsiteX757" fmla="*/ 2159 w 10000"/>
                <a:gd name="connsiteY757" fmla="*/ 7833 h 10000"/>
                <a:gd name="connsiteX758" fmla="*/ 2157 w 10000"/>
                <a:gd name="connsiteY758" fmla="*/ 7882 h 10000"/>
                <a:gd name="connsiteX759" fmla="*/ 2157 w 10000"/>
                <a:gd name="connsiteY759" fmla="*/ 7938 h 10000"/>
                <a:gd name="connsiteX760" fmla="*/ 2159 w 10000"/>
                <a:gd name="connsiteY760" fmla="*/ 8006 h 10000"/>
                <a:gd name="connsiteX761" fmla="*/ 2162 w 10000"/>
                <a:gd name="connsiteY761" fmla="*/ 8079 h 10000"/>
                <a:gd name="connsiteX762" fmla="*/ 2159 w 10000"/>
                <a:gd name="connsiteY762" fmla="*/ 8156 h 10000"/>
                <a:gd name="connsiteX763" fmla="*/ 2157 w 10000"/>
                <a:gd name="connsiteY763" fmla="*/ 8193 h 10000"/>
                <a:gd name="connsiteX764" fmla="*/ 2154 w 10000"/>
                <a:gd name="connsiteY764" fmla="*/ 8228 h 10000"/>
                <a:gd name="connsiteX765" fmla="*/ 2146 w 10000"/>
                <a:gd name="connsiteY765" fmla="*/ 8261 h 10000"/>
                <a:gd name="connsiteX766" fmla="*/ 2136 w 10000"/>
                <a:gd name="connsiteY766" fmla="*/ 8291 h 10000"/>
                <a:gd name="connsiteX767" fmla="*/ 2124 w 10000"/>
                <a:gd name="connsiteY767" fmla="*/ 8319 h 10000"/>
                <a:gd name="connsiteX768" fmla="*/ 2109 w 10000"/>
                <a:gd name="connsiteY768" fmla="*/ 8345 h 10000"/>
                <a:gd name="connsiteX769" fmla="*/ 2098 w 10000"/>
                <a:gd name="connsiteY769" fmla="*/ 8354 h 10000"/>
                <a:gd name="connsiteX770" fmla="*/ 2088 w 10000"/>
                <a:gd name="connsiteY770" fmla="*/ 8364 h 10000"/>
                <a:gd name="connsiteX771" fmla="*/ 2078 w 10000"/>
                <a:gd name="connsiteY771" fmla="*/ 8373 h 10000"/>
                <a:gd name="connsiteX772" fmla="*/ 2063 w 10000"/>
                <a:gd name="connsiteY772" fmla="*/ 8380 h 10000"/>
                <a:gd name="connsiteX773" fmla="*/ 1990 w 10000"/>
                <a:gd name="connsiteY773" fmla="*/ 8422 h 10000"/>
                <a:gd name="connsiteX774" fmla="*/ 1904 w 10000"/>
                <a:gd name="connsiteY774" fmla="*/ 8481 h 10000"/>
                <a:gd name="connsiteX775" fmla="*/ 1856 w 10000"/>
                <a:gd name="connsiteY775" fmla="*/ 8506 h 10000"/>
                <a:gd name="connsiteX776" fmla="*/ 1816 w 10000"/>
                <a:gd name="connsiteY776" fmla="*/ 8527 h 10000"/>
                <a:gd name="connsiteX777" fmla="*/ 1793 w 10000"/>
                <a:gd name="connsiteY777" fmla="*/ 8539 h 10000"/>
                <a:gd name="connsiteX778" fmla="*/ 1775 w 10000"/>
                <a:gd name="connsiteY778" fmla="*/ 8546 h 10000"/>
                <a:gd name="connsiteX779" fmla="*/ 1758 w 10000"/>
                <a:gd name="connsiteY779" fmla="*/ 8548 h 10000"/>
                <a:gd name="connsiteX780" fmla="*/ 1742 w 10000"/>
                <a:gd name="connsiteY780" fmla="*/ 8551 h 10000"/>
                <a:gd name="connsiteX781" fmla="*/ 1727 w 10000"/>
                <a:gd name="connsiteY781" fmla="*/ 8537 h 10000"/>
                <a:gd name="connsiteX782" fmla="*/ 1717 w 10000"/>
                <a:gd name="connsiteY782" fmla="*/ 8518 h 10000"/>
                <a:gd name="connsiteX783" fmla="*/ 1710 w 10000"/>
                <a:gd name="connsiteY783" fmla="*/ 8499 h 10000"/>
                <a:gd name="connsiteX784" fmla="*/ 1702 w 10000"/>
                <a:gd name="connsiteY784" fmla="*/ 8476 h 10000"/>
                <a:gd name="connsiteX785" fmla="*/ 1684 w 10000"/>
                <a:gd name="connsiteY785" fmla="*/ 8429 h 10000"/>
                <a:gd name="connsiteX786" fmla="*/ 1674 w 10000"/>
                <a:gd name="connsiteY786" fmla="*/ 8380 h 10000"/>
                <a:gd name="connsiteX787" fmla="*/ 1667 w 10000"/>
                <a:gd name="connsiteY787" fmla="*/ 8329 h 10000"/>
                <a:gd name="connsiteX788" fmla="*/ 1659 w 10000"/>
                <a:gd name="connsiteY788" fmla="*/ 8282 h 10000"/>
                <a:gd name="connsiteX789" fmla="*/ 1657 w 10000"/>
                <a:gd name="connsiteY789" fmla="*/ 8235 h 10000"/>
                <a:gd name="connsiteX790" fmla="*/ 1657 w 10000"/>
                <a:gd name="connsiteY790" fmla="*/ 8195 h 10000"/>
                <a:gd name="connsiteX791" fmla="*/ 1652 w 10000"/>
                <a:gd name="connsiteY791" fmla="*/ 8191 h 10000"/>
                <a:gd name="connsiteX792" fmla="*/ 1586 w 10000"/>
                <a:gd name="connsiteY792" fmla="*/ 8188 h 10000"/>
                <a:gd name="connsiteX793" fmla="*/ 1525 w 10000"/>
                <a:gd name="connsiteY793" fmla="*/ 8186 h 10000"/>
                <a:gd name="connsiteX794" fmla="*/ 1500 w 10000"/>
                <a:gd name="connsiteY794" fmla="*/ 8191 h 10000"/>
                <a:gd name="connsiteX795" fmla="*/ 1472 w 10000"/>
                <a:gd name="connsiteY795" fmla="*/ 8198 h 10000"/>
                <a:gd name="connsiteX796" fmla="*/ 1457 w 10000"/>
                <a:gd name="connsiteY796" fmla="*/ 8205 h 10000"/>
                <a:gd name="connsiteX797" fmla="*/ 1444 w 10000"/>
                <a:gd name="connsiteY797" fmla="*/ 8212 h 10000"/>
                <a:gd name="connsiteX798" fmla="*/ 1434 w 10000"/>
                <a:gd name="connsiteY798" fmla="*/ 8223 h 10000"/>
                <a:gd name="connsiteX799" fmla="*/ 1419 w 10000"/>
                <a:gd name="connsiteY799" fmla="*/ 8233 h 10000"/>
                <a:gd name="connsiteX800" fmla="*/ 1412 w 10000"/>
                <a:gd name="connsiteY800" fmla="*/ 8247 h 10000"/>
                <a:gd name="connsiteX801" fmla="*/ 1402 w 10000"/>
                <a:gd name="connsiteY801" fmla="*/ 8261 h 10000"/>
                <a:gd name="connsiteX802" fmla="*/ 1394 w 10000"/>
                <a:gd name="connsiteY802" fmla="*/ 8275 h 10000"/>
                <a:gd name="connsiteX803" fmla="*/ 1386 w 10000"/>
                <a:gd name="connsiteY803" fmla="*/ 8294 h 10000"/>
                <a:gd name="connsiteX804" fmla="*/ 1374 w 10000"/>
                <a:gd name="connsiteY804" fmla="*/ 8331 h 10000"/>
                <a:gd name="connsiteX805" fmla="*/ 1361 w 10000"/>
                <a:gd name="connsiteY805" fmla="*/ 8368 h 10000"/>
                <a:gd name="connsiteX806" fmla="*/ 1354 w 10000"/>
                <a:gd name="connsiteY806" fmla="*/ 8387 h 10000"/>
                <a:gd name="connsiteX807" fmla="*/ 1346 w 10000"/>
                <a:gd name="connsiteY807" fmla="*/ 8406 h 10000"/>
                <a:gd name="connsiteX808" fmla="*/ 1338 w 10000"/>
                <a:gd name="connsiteY808" fmla="*/ 8420 h 10000"/>
                <a:gd name="connsiteX809" fmla="*/ 1328 w 10000"/>
                <a:gd name="connsiteY809" fmla="*/ 8436 h 10000"/>
                <a:gd name="connsiteX810" fmla="*/ 1316 w 10000"/>
                <a:gd name="connsiteY810" fmla="*/ 8446 h 10000"/>
                <a:gd name="connsiteX811" fmla="*/ 1306 w 10000"/>
                <a:gd name="connsiteY811" fmla="*/ 8453 h 10000"/>
                <a:gd name="connsiteX812" fmla="*/ 1293 w 10000"/>
                <a:gd name="connsiteY812" fmla="*/ 8460 h 10000"/>
                <a:gd name="connsiteX813" fmla="*/ 1275 w 10000"/>
                <a:gd name="connsiteY813" fmla="*/ 8460 h 10000"/>
                <a:gd name="connsiteX814" fmla="*/ 1265 w 10000"/>
                <a:gd name="connsiteY814" fmla="*/ 8450 h 10000"/>
                <a:gd name="connsiteX815" fmla="*/ 1258 w 10000"/>
                <a:gd name="connsiteY815" fmla="*/ 8441 h 10000"/>
                <a:gd name="connsiteX816" fmla="*/ 1245 w 10000"/>
                <a:gd name="connsiteY816" fmla="*/ 8424 h 10000"/>
                <a:gd name="connsiteX817" fmla="*/ 1237 w 10000"/>
                <a:gd name="connsiteY817" fmla="*/ 8408 h 10000"/>
                <a:gd name="connsiteX818" fmla="*/ 1217 w 10000"/>
                <a:gd name="connsiteY818" fmla="*/ 8373 h 10000"/>
                <a:gd name="connsiteX819" fmla="*/ 1202 w 10000"/>
                <a:gd name="connsiteY819" fmla="*/ 8333 h 10000"/>
                <a:gd name="connsiteX820" fmla="*/ 1182 w 10000"/>
                <a:gd name="connsiteY820" fmla="*/ 8296 h 10000"/>
                <a:gd name="connsiteX821" fmla="*/ 1162 w 10000"/>
                <a:gd name="connsiteY821" fmla="*/ 8268 h 10000"/>
                <a:gd name="connsiteX822" fmla="*/ 1149 w 10000"/>
                <a:gd name="connsiteY822" fmla="*/ 8256 h 10000"/>
                <a:gd name="connsiteX823" fmla="*/ 1139 w 10000"/>
                <a:gd name="connsiteY823" fmla="*/ 8249 h 10000"/>
                <a:gd name="connsiteX824" fmla="*/ 1126 w 10000"/>
                <a:gd name="connsiteY824" fmla="*/ 8240 h 10000"/>
                <a:gd name="connsiteX825" fmla="*/ 1114 w 10000"/>
                <a:gd name="connsiteY825" fmla="*/ 8240 h 10000"/>
                <a:gd name="connsiteX826" fmla="*/ 1091 w 10000"/>
                <a:gd name="connsiteY826" fmla="*/ 8242 h 10000"/>
                <a:gd name="connsiteX827" fmla="*/ 1071 w 10000"/>
                <a:gd name="connsiteY827" fmla="*/ 8252 h 10000"/>
                <a:gd name="connsiteX828" fmla="*/ 1048 w 10000"/>
                <a:gd name="connsiteY828" fmla="*/ 8261 h 10000"/>
                <a:gd name="connsiteX829" fmla="*/ 1030 w 10000"/>
                <a:gd name="connsiteY829" fmla="*/ 8273 h 10000"/>
                <a:gd name="connsiteX830" fmla="*/ 1010 w 10000"/>
                <a:gd name="connsiteY830" fmla="*/ 8287 h 10000"/>
                <a:gd name="connsiteX831" fmla="*/ 995 w 10000"/>
                <a:gd name="connsiteY831" fmla="*/ 8303 h 10000"/>
                <a:gd name="connsiteX832" fmla="*/ 975 w 10000"/>
                <a:gd name="connsiteY832" fmla="*/ 8322 h 10000"/>
                <a:gd name="connsiteX833" fmla="*/ 960 w 10000"/>
                <a:gd name="connsiteY833" fmla="*/ 8343 h 10000"/>
                <a:gd name="connsiteX834" fmla="*/ 927 w 10000"/>
                <a:gd name="connsiteY834" fmla="*/ 8380 h 10000"/>
                <a:gd name="connsiteX835" fmla="*/ 891 w 10000"/>
                <a:gd name="connsiteY835" fmla="*/ 8417 h 10000"/>
                <a:gd name="connsiteX836" fmla="*/ 874 w 10000"/>
                <a:gd name="connsiteY836" fmla="*/ 8436 h 10000"/>
                <a:gd name="connsiteX837" fmla="*/ 859 w 10000"/>
                <a:gd name="connsiteY837" fmla="*/ 8450 h 10000"/>
                <a:gd name="connsiteX838" fmla="*/ 838 w 10000"/>
                <a:gd name="connsiteY838" fmla="*/ 8462 h 10000"/>
                <a:gd name="connsiteX839" fmla="*/ 821 w 10000"/>
                <a:gd name="connsiteY839" fmla="*/ 8476 h 10000"/>
                <a:gd name="connsiteX840" fmla="*/ 742 w 10000"/>
                <a:gd name="connsiteY840" fmla="*/ 8562 h 10000"/>
                <a:gd name="connsiteX841" fmla="*/ 672 w 10000"/>
                <a:gd name="connsiteY841" fmla="*/ 8644 h 10000"/>
                <a:gd name="connsiteX842" fmla="*/ 639 w 10000"/>
                <a:gd name="connsiteY842" fmla="*/ 8684 h 10000"/>
                <a:gd name="connsiteX843" fmla="*/ 609 w 10000"/>
                <a:gd name="connsiteY843" fmla="*/ 8731 h 10000"/>
                <a:gd name="connsiteX844" fmla="*/ 583 w 10000"/>
                <a:gd name="connsiteY844" fmla="*/ 8777 h 10000"/>
                <a:gd name="connsiteX845" fmla="*/ 556 w 10000"/>
                <a:gd name="connsiteY845" fmla="*/ 8831 h 10000"/>
                <a:gd name="connsiteX846" fmla="*/ 545 w 10000"/>
                <a:gd name="connsiteY846" fmla="*/ 8852 h 10000"/>
                <a:gd name="connsiteX847" fmla="*/ 525 w 10000"/>
                <a:gd name="connsiteY847" fmla="*/ 8885 h 10000"/>
                <a:gd name="connsiteX848" fmla="*/ 503 w 10000"/>
                <a:gd name="connsiteY848" fmla="*/ 8925 h 10000"/>
                <a:gd name="connsiteX849" fmla="*/ 480 w 10000"/>
                <a:gd name="connsiteY849" fmla="*/ 8962 h 10000"/>
                <a:gd name="connsiteX850" fmla="*/ 465 w 10000"/>
                <a:gd name="connsiteY850" fmla="*/ 8981 h 10000"/>
                <a:gd name="connsiteX851" fmla="*/ 455 w 10000"/>
                <a:gd name="connsiteY851" fmla="*/ 8993 h 10000"/>
                <a:gd name="connsiteX852" fmla="*/ 444 w 10000"/>
                <a:gd name="connsiteY852" fmla="*/ 9000 h 10000"/>
                <a:gd name="connsiteX853" fmla="*/ 434 w 10000"/>
                <a:gd name="connsiteY853" fmla="*/ 9007 h 10000"/>
                <a:gd name="connsiteX854" fmla="*/ 432 w 10000"/>
                <a:gd name="connsiteY854" fmla="*/ 9007 h 10000"/>
                <a:gd name="connsiteX855" fmla="*/ 429 w 10000"/>
                <a:gd name="connsiteY855" fmla="*/ 9004 h 10000"/>
                <a:gd name="connsiteX856" fmla="*/ 427 w 10000"/>
                <a:gd name="connsiteY856" fmla="*/ 8997 h 10000"/>
                <a:gd name="connsiteX857" fmla="*/ 427 w 10000"/>
                <a:gd name="connsiteY857" fmla="*/ 8993 h 10000"/>
                <a:gd name="connsiteX858" fmla="*/ 424 w 10000"/>
                <a:gd name="connsiteY858" fmla="*/ 8976 h 10000"/>
                <a:gd name="connsiteX859" fmla="*/ 427 w 10000"/>
                <a:gd name="connsiteY859" fmla="*/ 8948 h 10000"/>
                <a:gd name="connsiteX860" fmla="*/ 437 w 10000"/>
                <a:gd name="connsiteY860" fmla="*/ 8913 h 10000"/>
                <a:gd name="connsiteX861" fmla="*/ 455 w 10000"/>
                <a:gd name="connsiteY861" fmla="*/ 8859 h 10000"/>
                <a:gd name="connsiteX862" fmla="*/ 462 w 10000"/>
                <a:gd name="connsiteY862" fmla="*/ 8834 h 10000"/>
                <a:gd name="connsiteX863" fmla="*/ 470 w 10000"/>
                <a:gd name="connsiteY863" fmla="*/ 8810 h 10000"/>
                <a:gd name="connsiteX864" fmla="*/ 472 w 10000"/>
                <a:gd name="connsiteY864" fmla="*/ 8794 h 10000"/>
                <a:gd name="connsiteX865" fmla="*/ 472 w 10000"/>
                <a:gd name="connsiteY865" fmla="*/ 8780 h 10000"/>
                <a:gd name="connsiteX866" fmla="*/ 462 w 10000"/>
                <a:gd name="connsiteY866" fmla="*/ 8784 h 10000"/>
                <a:gd name="connsiteX867" fmla="*/ 452 w 10000"/>
                <a:gd name="connsiteY867" fmla="*/ 8787 h 10000"/>
                <a:gd name="connsiteX868" fmla="*/ 437 w 10000"/>
                <a:gd name="connsiteY868" fmla="*/ 8794 h 10000"/>
                <a:gd name="connsiteX869" fmla="*/ 424 w 10000"/>
                <a:gd name="connsiteY869" fmla="*/ 8803 h 10000"/>
                <a:gd name="connsiteX870" fmla="*/ 394 w 10000"/>
                <a:gd name="connsiteY870" fmla="*/ 8829 h 10000"/>
                <a:gd name="connsiteX871" fmla="*/ 364 w 10000"/>
                <a:gd name="connsiteY871" fmla="*/ 8859 h 10000"/>
                <a:gd name="connsiteX872" fmla="*/ 311 w 10000"/>
                <a:gd name="connsiteY872" fmla="*/ 8922 h 10000"/>
                <a:gd name="connsiteX873" fmla="*/ 268 w 10000"/>
                <a:gd name="connsiteY873" fmla="*/ 8964 h 10000"/>
                <a:gd name="connsiteX874" fmla="*/ 205 w 10000"/>
                <a:gd name="connsiteY874" fmla="*/ 9016 h 10000"/>
                <a:gd name="connsiteX875" fmla="*/ 146 w 10000"/>
                <a:gd name="connsiteY875" fmla="*/ 9053 h 10000"/>
                <a:gd name="connsiteX876" fmla="*/ 139 w 10000"/>
                <a:gd name="connsiteY876" fmla="*/ 9063 h 10000"/>
                <a:gd name="connsiteX877" fmla="*/ 129 w 10000"/>
                <a:gd name="connsiteY877" fmla="*/ 9077 h 10000"/>
                <a:gd name="connsiteX878" fmla="*/ 126 w 10000"/>
                <a:gd name="connsiteY878" fmla="*/ 9086 h 10000"/>
                <a:gd name="connsiteX879" fmla="*/ 126 w 10000"/>
                <a:gd name="connsiteY879" fmla="*/ 9102 h 10000"/>
                <a:gd name="connsiteX880" fmla="*/ 129 w 10000"/>
                <a:gd name="connsiteY880" fmla="*/ 9116 h 10000"/>
                <a:gd name="connsiteX881" fmla="*/ 139 w 10000"/>
                <a:gd name="connsiteY881" fmla="*/ 9135 h 10000"/>
                <a:gd name="connsiteX882" fmla="*/ 149 w 10000"/>
                <a:gd name="connsiteY882" fmla="*/ 9151 h 10000"/>
                <a:gd name="connsiteX883" fmla="*/ 164 w 10000"/>
                <a:gd name="connsiteY883" fmla="*/ 9175 h 10000"/>
                <a:gd name="connsiteX884" fmla="*/ 184 w 10000"/>
                <a:gd name="connsiteY884" fmla="*/ 9196 h 10000"/>
                <a:gd name="connsiteX885" fmla="*/ 207 w 10000"/>
                <a:gd name="connsiteY885" fmla="*/ 9215 h 10000"/>
                <a:gd name="connsiteX886" fmla="*/ 227 w 10000"/>
                <a:gd name="connsiteY886" fmla="*/ 9233 h 10000"/>
                <a:gd name="connsiteX887" fmla="*/ 253 w 10000"/>
                <a:gd name="connsiteY887" fmla="*/ 9250 h 10000"/>
                <a:gd name="connsiteX888" fmla="*/ 303 w 10000"/>
                <a:gd name="connsiteY888" fmla="*/ 9282 h 10000"/>
                <a:gd name="connsiteX889" fmla="*/ 351 w 10000"/>
                <a:gd name="connsiteY889" fmla="*/ 9315 h 10000"/>
                <a:gd name="connsiteX890" fmla="*/ 414 w 10000"/>
                <a:gd name="connsiteY890" fmla="*/ 9364 h 10000"/>
                <a:gd name="connsiteX891" fmla="*/ 480 w 10000"/>
                <a:gd name="connsiteY891" fmla="*/ 9416 h 10000"/>
                <a:gd name="connsiteX892" fmla="*/ 513 w 10000"/>
                <a:gd name="connsiteY892" fmla="*/ 9437 h 10000"/>
                <a:gd name="connsiteX893" fmla="*/ 548 w 10000"/>
                <a:gd name="connsiteY893" fmla="*/ 9462 h 10000"/>
                <a:gd name="connsiteX894" fmla="*/ 581 w 10000"/>
                <a:gd name="connsiteY894" fmla="*/ 9483 h 10000"/>
                <a:gd name="connsiteX895" fmla="*/ 614 w 10000"/>
                <a:gd name="connsiteY895" fmla="*/ 9502 h 10000"/>
                <a:gd name="connsiteX896" fmla="*/ 641 w 10000"/>
                <a:gd name="connsiteY896" fmla="*/ 9525 h 10000"/>
                <a:gd name="connsiteX897" fmla="*/ 672 w 10000"/>
                <a:gd name="connsiteY897" fmla="*/ 9549 h 10000"/>
                <a:gd name="connsiteX898" fmla="*/ 702 w 10000"/>
                <a:gd name="connsiteY898" fmla="*/ 9568 h 10000"/>
                <a:gd name="connsiteX899" fmla="*/ 737 w 10000"/>
                <a:gd name="connsiteY899" fmla="*/ 9589 h 10000"/>
                <a:gd name="connsiteX900" fmla="*/ 770 w 10000"/>
                <a:gd name="connsiteY900" fmla="*/ 9605 h 10000"/>
                <a:gd name="connsiteX901" fmla="*/ 808 w 10000"/>
                <a:gd name="connsiteY901" fmla="*/ 9617 h 10000"/>
                <a:gd name="connsiteX902" fmla="*/ 843 w 10000"/>
                <a:gd name="connsiteY902" fmla="*/ 9624 h 10000"/>
                <a:gd name="connsiteX903" fmla="*/ 884 w 10000"/>
                <a:gd name="connsiteY903" fmla="*/ 9628 h 10000"/>
                <a:gd name="connsiteX904" fmla="*/ 902 w 10000"/>
                <a:gd name="connsiteY904" fmla="*/ 9628 h 10000"/>
                <a:gd name="connsiteX905" fmla="*/ 914 w 10000"/>
                <a:gd name="connsiteY905" fmla="*/ 9631 h 10000"/>
                <a:gd name="connsiteX906" fmla="*/ 932 w 10000"/>
                <a:gd name="connsiteY906" fmla="*/ 9638 h 10000"/>
                <a:gd name="connsiteX907" fmla="*/ 942 w 10000"/>
                <a:gd name="connsiteY907" fmla="*/ 9642 h 10000"/>
                <a:gd name="connsiteX908" fmla="*/ 967 w 10000"/>
                <a:gd name="connsiteY908" fmla="*/ 9652 h 10000"/>
                <a:gd name="connsiteX909" fmla="*/ 987 w 10000"/>
                <a:gd name="connsiteY909" fmla="*/ 9668 h 10000"/>
                <a:gd name="connsiteX910" fmla="*/ 1005 w 10000"/>
                <a:gd name="connsiteY910" fmla="*/ 9682 h 10000"/>
                <a:gd name="connsiteX911" fmla="*/ 1025 w 10000"/>
                <a:gd name="connsiteY911" fmla="*/ 9698 h 10000"/>
                <a:gd name="connsiteX912" fmla="*/ 1045 w 10000"/>
                <a:gd name="connsiteY912" fmla="*/ 9712 h 10000"/>
                <a:gd name="connsiteX913" fmla="*/ 1073 w 10000"/>
                <a:gd name="connsiteY913" fmla="*/ 9724 h 10000"/>
                <a:gd name="connsiteX914" fmla="*/ 1098 w 10000"/>
                <a:gd name="connsiteY914" fmla="*/ 9738 h 10000"/>
                <a:gd name="connsiteX915" fmla="*/ 1121 w 10000"/>
                <a:gd name="connsiteY915" fmla="*/ 9750 h 10000"/>
                <a:gd name="connsiteX916" fmla="*/ 1141 w 10000"/>
                <a:gd name="connsiteY916" fmla="*/ 9762 h 10000"/>
                <a:gd name="connsiteX917" fmla="*/ 1159 w 10000"/>
                <a:gd name="connsiteY917" fmla="*/ 9776 h 10000"/>
                <a:gd name="connsiteX918" fmla="*/ 1172 w 10000"/>
                <a:gd name="connsiteY918" fmla="*/ 9787 h 10000"/>
                <a:gd name="connsiteX919" fmla="*/ 1182 w 10000"/>
                <a:gd name="connsiteY919" fmla="*/ 9804 h 10000"/>
                <a:gd name="connsiteX920" fmla="*/ 1194 w 10000"/>
                <a:gd name="connsiteY920" fmla="*/ 9818 h 10000"/>
                <a:gd name="connsiteX921" fmla="*/ 1202 w 10000"/>
                <a:gd name="connsiteY921" fmla="*/ 9834 h 10000"/>
                <a:gd name="connsiteX922" fmla="*/ 1212 w 10000"/>
                <a:gd name="connsiteY922" fmla="*/ 9869 h 10000"/>
                <a:gd name="connsiteX923" fmla="*/ 1220 w 10000"/>
                <a:gd name="connsiteY923" fmla="*/ 9906 h 10000"/>
                <a:gd name="connsiteX924" fmla="*/ 1230 w 10000"/>
                <a:gd name="connsiteY924" fmla="*/ 9951 h 10000"/>
                <a:gd name="connsiteX925" fmla="*/ 1237 w 10000"/>
                <a:gd name="connsiteY925" fmla="*/ 10000 h 10000"/>
                <a:gd name="connsiteX926" fmla="*/ 1237 w 10000"/>
                <a:gd name="connsiteY92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295 w 10000"/>
                <a:gd name="connsiteY752" fmla="*/ 7651 h 10000"/>
                <a:gd name="connsiteX753" fmla="*/ 2172 w 10000"/>
                <a:gd name="connsiteY753" fmla="*/ 7714 h 10000"/>
                <a:gd name="connsiteX754" fmla="*/ 2167 w 10000"/>
                <a:gd name="connsiteY754" fmla="*/ 7742 h 10000"/>
                <a:gd name="connsiteX755" fmla="*/ 2162 w 10000"/>
                <a:gd name="connsiteY755" fmla="*/ 7775 h 10000"/>
                <a:gd name="connsiteX756" fmla="*/ 2159 w 10000"/>
                <a:gd name="connsiteY756" fmla="*/ 7833 h 10000"/>
                <a:gd name="connsiteX757" fmla="*/ 2157 w 10000"/>
                <a:gd name="connsiteY757" fmla="*/ 7882 h 10000"/>
                <a:gd name="connsiteX758" fmla="*/ 2157 w 10000"/>
                <a:gd name="connsiteY758" fmla="*/ 7938 h 10000"/>
                <a:gd name="connsiteX759" fmla="*/ 2159 w 10000"/>
                <a:gd name="connsiteY759" fmla="*/ 8006 h 10000"/>
                <a:gd name="connsiteX760" fmla="*/ 2162 w 10000"/>
                <a:gd name="connsiteY760" fmla="*/ 8079 h 10000"/>
                <a:gd name="connsiteX761" fmla="*/ 2159 w 10000"/>
                <a:gd name="connsiteY761" fmla="*/ 8156 h 10000"/>
                <a:gd name="connsiteX762" fmla="*/ 2157 w 10000"/>
                <a:gd name="connsiteY762" fmla="*/ 8193 h 10000"/>
                <a:gd name="connsiteX763" fmla="*/ 2154 w 10000"/>
                <a:gd name="connsiteY763" fmla="*/ 8228 h 10000"/>
                <a:gd name="connsiteX764" fmla="*/ 2146 w 10000"/>
                <a:gd name="connsiteY764" fmla="*/ 8261 h 10000"/>
                <a:gd name="connsiteX765" fmla="*/ 2136 w 10000"/>
                <a:gd name="connsiteY765" fmla="*/ 8291 h 10000"/>
                <a:gd name="connsiteX766" fmla="*/ 2124 w 10000"/>
                <a:gd name="connsiteY766" fmla="*/ 8319 h 10000"/>
                <a:gd name="connsiteX767" fmla="*/ 2109 w 10000"/>
                <a:gd name="connsiteY767" fmla="*/ 8345 h 10000"/>
                <a:gd name="connsiteX768" fmla="*/ 2098 w 10000"/>
                <a:gd name="connsiteY768" fmla="*/ 8354 h 10000"/>
                <a:gd name="connsiteX769" fmla="*/ 2088 w 10000"/>
                <a:gd name="connsiteY769" fmla="*/ 8364 h 10000"/>
                <a:gd name="connsiteX770" fmla="*/ 2078 w 10000"/>
                <a:gd name="connsiteY770" fmla="*/ 8373 h 10000"/>
                <a:gd name="connsiteX771" fmla="*/ 2063 w 10000"/>
                <a:gd name="connsiteY771" fmla="*/ 8380 h 10000"/>
                <a:gd name="connsiteX772" fmla="*/ 1990 w 10000"/>
                <a:gd name="connsiteY772" fmla="*/ 8422 h 10000"/>
                <a:gd name="connsiteX773" fmla="*/ 1904 w 10000"/>
                <a:gd name="connsiteY773" fmla="*/ 8481 h 10000"/>
                <a:gd name="connsiteX774" fmla="*/ 1856 w 10000"/>
                <a:gd name="connsiteY774" fmla="*/ 8506 h 10000"/>
                <a:gd name="connsiteX775" fmla="*/ 1816 w 10000"/>
                <a:gd name="connsiteY775" fmla="*/ 8527 h 10000"/>
                <a:gd name="connsiteX776" fmla="*/ 1793 w 10000"/>
                <a:gd name="connsiteY776" fmla="*/ 8539 h 10000"/>
                <a:gd name="connsiteX777" fmla="*/ 1775 w 10000"/>
                <a:gd name="connsiteY777" fmla="*/ 8546 h 10000"/>
                <a:gd name="connsiteX778" fmla="*/ 1758 w 10000"/>
                <a:gd name="connsiteY778" fmla="*/ 8548 h 10000"/>
                <a:gd name="connsiteX779" fmla="*/ 1742 w 10000"/>
                <a:gd name="connsiteY779" fmla="*/ 8551 h 10000"/>
                <a:gd name="connsiteX780" fmla="*/ 1727 w 10000"/>
                <a:gd name="connsiteY780" fmla="*/ 8537 h 10000"/>
                <a:gd name="connsiteX781" fmla="*/ 1717 w 10000"/>
                <a:gd name="connsiteY781" fmla="*/ 8518 h 10000"/>
                <a:gd name="connsiteX782" fmla="*/ 1710 w 10000"/>
                <a:gd name="connsiteY782" fmla="*/ 8499 h 10000"/>
                <a:gd name="connsiteX783" fmla="*/ 1702 w 10000"/>
                <a:gd name="connsiteY783" fmla="*/ 8476 h 10000"/>
                <a:gd name="connsiteX784" fmla="*/ 1684 w 10000"/>
                <a:gd name="connsiteY784" fmla="*/ 8429 h 10000"/>
                <a:gd name="connsiteX785" fmla="*/ 1674 w 10000"/>
                <a:gd name="connsiteY785" fmla="*/ 8380 h 10000"/>
                <a:gd name="connsiteX786" fmla="*/ 1667 w 10000"/>
                <a:gd name="connsiteY786" fmla="*/ 8329 h 10000"/>
                <a:gd name="connsiteX787" fmla="*/ 1659 w 10000"/>
                <a:gd name="connsiteY787" fmla="*/ 8282 h 10000"/>
                <a:gd name="connsiteX788" fmla="*/ 1657 w 10000"/>
                <a:gd name="connsiteY788" fmla="*/ 8235 h 10000"/>
                <a:gd name="connsiteX789" fmla="*/ 1657 w 10000"/>
                <a:gd name="connsiteY789" fmla="*/ 8195 h 10000"/>
                <a:gd name="connsiteX790" fmla="*/ 1652 w 10000"/>
                <a:gd name="connsiteY790" fmla="*/ 8191 h 10000"/>
                <a:gd name="connsiteX791" fmla="*/ 1586 w 10000"/>
                <a:gd name="connsiteY791" fmla="*/ 8188 h 10000"/>
                <a:gd name="connsiteX792" fmla="*/ 1525 w 10000"/>
                <a:gd name="connsiteY792" fmla="*/ 8186 h 10000"/>
                <a:gd name="connsiteX793" fmla="*/ 1500 w 10000"/>
                <a:gd name="connsiteY793" fmla="*/ 8191 h 10000"/>
                <a:gd name="connsiteX794" fmla="*/ 1472 w 10000"/>
                <a:gd name="connsiteY794" fmla="*/ 8198 h 10000"/>
                <a:gd name="connsiteX795" fmla="*/ 1457 w 10000"/>
                <a:gd name="connsiteY795" fmla="*/ 8205 h 10000"/>
                <a:gd name="connsiteX796" fmla="*/ 1444 w 10000"/>
                <a:gd name="connsiteY796" fmla="*/ 8212 h 10000"/>
                <a:gd name="connsiteX797" fmla="*/ 1434 w 10000"/>
                <a:gd name="connsiteY797" fmla="*/ 8223 h 10000"/>
                <a:gd name="connsiteX798" fmla="*/ 1419 w 10000"/>
                <a:gd name="connsiteY798" fmla="*/ 8233 h 10000"/>
                <a:gd name="connsiteX799" fmla="*/ 1412 w 10000"/>
                <a:gd name="connsiteY799" fmla="*/ 8247 h 10000"/>
                <a:gd name="connsiteX800" fmla="*/ 1402 w 10000"/>
                <a:gd name="connsiteY800" fmla="*/ 8261 h 10000"/>
                <a:gd name="connsiteX801" fmla="*/ 1394 w 10000"/>
                <a:gd name="connsiteY801" fmla="*/ 8275 h 10000"/>
                <a:gd name="connsiteX802" fmla="*/ 1386 w 10000"/>
                <a:gd name="connsiteY802" fmla="*/ 8294 h 10000"/>
                <a:gd name="connsiteX803" fmla="*/ 1374 w 10000"/>
                <a:gd name="connsiteY803" fmla="*/ 8331 h 10000"/>
                <a:gd name="connsiteX804" fmla="*/ 1361 w 10000"/>
                <a:gd name="connsiteY804" fmla="*/ 8368 h 10000"/>
                <a:gd name="connsiteX805" fmla="*/ 1354 w 10000"/>
                <a:gd name="connsiteY805" fmla="*/ 8387 h 10000"/>
                <a:gd name="connsiteX806" fmla="*/ 1346 w 10000"/>
                <a:gd name="connsiteY806" fmla="*/ 8406 h 10000"/>
                <a:gd name="connsiteX807" fmla="*/ 1338 w 10000"/>
                <a:gd name="connsiteY807" fmla="*/ 8420 h 10000"/>
                <a:gd name="connsiteX808" fmla="*/ 1328 w 10000"/>
                <a:gd name="connsiteY808" fmla="*/ 8436 h 10000"/>
                <a:gd name="connsiteX809" fmla="*/ 1316 w 10000"/>
                <a:gd name="connsiteY809" fmla="*/ 8446 h 10000"/>
                <a:gd name="connsiteX810" fmla="*/ 1306 w 10000"/>
                <a:gd name="connsiteY810" fmla="*/ 8453 h 10000"/>
                <a:gd name="connsiteX811" fmla="*/ 1293 w 10000"/>
                <a:gd name="connsiteY811" fmla="*/ 8460 h 10000"/>
                <a:gd name="connsiteX812" fmla="*/ 1275 w 10000"/>
                <a:gd name="connsiteY812" fmla="*/ 8460 h 10000"/>
                <a:gd name="connsiteX813" fmla="*/ 1265 w 10000"/>
                <a:gd name="connsiteY813" fmla="*/ 8450 h 10000"/>
                <a:gd name="connsiteX814" fmla="*/ 1258 w 10000"/>
                <a:gd name="connsiteY814" fmla="*/ 8441 h 10000"/>
                <a:gd name="connsiteX815" fmla="*/ 1245 w 10000"/>
                <a:gd name="connsiteY815" fmla="*/ 8424 h 10000"/>
                <a:gd name="connsiteX816" fmla="*/ 1237 w 10000"/>
                <a:gd name="connsiteY816" fmla="*/ 8408 h 10000"/>
                <a:gd name="connsiteX817" fmla="*/ 1217 w 10000"/>
                <a:gd name="connsiteY817" fmla="*/ 8373 h 10000"/>
                <a:gd name="connsiteX818" fmla="*/ 1202 w 10000"/>
                <a:gd name="connsiteY818" fmla="*/ 8333 h 10000"/>
                <a:gd name="connsiteX819" fmla="*/ 1182 w 10000"/>
                <a:gd name="connsiteY819" fmla="*/ 8296 h 10000"/>
                <a:gd name="connsiteX820" fmla="*/ 1162 w 10000"/>
                <a:gd name="connsiteY820" fmla="*/ 8268 h 10000"/>
                <a:gd name="connsiteX821" fmla="*/ 1149 w 10000"/>
                <a:gd name="connsiteY821" fmla="*/ 8256 h 10000"/>
                <a:gd name="connsiteX822" fmla="*/ 1139 w 10000"/>
                <a:gd name="connsiteY822" fmla="*/ 8249 h 10000"/>
                <a:gd name="connsiteX823" fmla="*/ 1126 w 10000"/>
                <a:gd name="connsiteY823" fmla="*/ 8240 h 10000"/>
                <a:gd name="connsiteX824" fmla="*/ 1114 w 10000"/>
                <a:gd name="connsiteY824" fmla="*/ 8240 h 10000"/>
                <a:gd name="connsiteX825" fmla="*/ 1091 w 10000"/>
                <a:gd name="connsiteY825" fmla="*/ 8242 h 10000"/>
                <a:gd name="connsiteX826" fmla="*/ 1071 w 10000"/>
                <a:gd name="connsiteY826" fmla="*/ 8252 h 10000"/>
                <a:gd name="connsiteX827" fmla="*/ 1048 w 10000"/>
                <a:gd name="connsiteY827" fmla="*/ 8261 h 10000"/>
                <a:gd name="connsiteX828" fmla="*/ 1030 w 10000"/>
                <a:gd name="connsiteY828" fmla="*/ 8273 h 10000"/>
                <a:gd name="connsiteX829" fmla="*/ 1010 w 10000"/>
                <a:gd name="connsiteY829" fmla="*/ 8287 h 10000"/>
                <a:gd name="connsiteX830" fmla="*/ 995 w 10000"/>
                <a:gd name="connsiteY830" fmla="*/ 8303 h 10000"/>
                <a:gd name="connsiteX831" fmla="*/ 975 w 10000"/>
                <a:gd name="connsiteY831" fmla="*/ 8322 h 10000"/>
                <a:gd name="connsiteX832" fmla="*/ 960 w 10000"/>
                <a:gd name="connsiteY832" fmla="*/ 8343 h 10000"/>
                <a:gd name="connsiteX833" fmla="*/ 927 w 10000"/>
                <a:gd name="connsiteY833" fmla="*/ 8380 h 10000"/>
                <a:gd name="connsiteX834" fmla="*/ 891 w 10000"/>
                <a:gd name="connsiteY834" fmla="*/ 8417 h 10000"/>
                <a:gd name="connsiteX835" fmla="*/ 874 w 10000"/>
                <a:gd name="connsiteY835" fmla="*/ 8436 h 10000"/>
                <a:gd name="connsiteX836" fmla="*/ 859 w 10000"/>
                <a:gd name="connsiteY836" fmla="*/ 8450 h 10000"/>
                <a:gd name="connsiteX837" fmla="*/ 838 w 10000"/>
                <a:gd name="connsiteY837" fmla="*/ 8462 h 10000"/>
                <a:gd name="connsiteX838" fmla="*/ 821 w 10000"/>
                <a:gd name="connsiteY838" fmla="*/ 8476 h 10000"/>
                <a:gd name="connsiteX839" fmla="*/ 742 w 10000"/>
                <a:gd name="connsiteY839" fmla="*/ 8562 h 10000"/>
                <a:gd name="connsiteX840" fmla="*/ 672 w 10000"/>
                <a:gd name="connsiteY840" fmla="*/ 8644 h 10000"/>
                <a:gd name="connsiteX841" fmla="*/ 639 w 10000"/>
                <a:gd name="connsiteY841" fmla="*/ 8684 h 10000"/>
                <a:gd name="connsiteX842" fmla="*/ 609 w 10000"/>
                <a:gd name="connsiteY842" fmla="*/ 8731 h 10000"/>
                <a:gd name="connsiteX843" fmla="*/ 583 w 10000"/>
                <a:gd name="connsiteY843" fmla="*/ 8777 h 10000"/>
                <a:gd name="connsiteX844" fmla="*/ 556 w 10000"/>
                <a:gd name="connsiteY844" fmla="*/ 8831 h 10000"/>
                <a:gd name="connsiteX845" fmla="*/ 545 w 10000"/>
                <a:gd name="connsiteY845" fmla="*/ 8852 h 10000"/>
                <a:gd name="connsiteX846" fmla="*/ 525 w 10000"/>
                <a:gd name="connsiteY846" fmla="*/ 8885 h 10000"/>
                <a:gd name="connsiteX847" fmla="*/ 503 w 10000"/>
                <a:gd name="connsiteY847" fmla="*/ 8925 h 10000"/>
                <a:gd name="connsiteX848" fmla="*/ 480 w 10000"/>
                <a:gd name="connsiteY848" fmla="*/ 8962 h 10000"/>
                <a:gd name="connsiteX849" fmla="*/ 465 w 10000"/>
                <a:gd name="connsiteY849" fmla="*/ 8981 h 10000"/>
                <a:gd name="connsiteX850" fmla="*/ 455 w 10000"/>
                <a:gd name="connsiteY850" fmla="*/ 8993 h 10000"/>
                <a:gd name="connsiteX851" fmla="*/ 444 w 10000"/>
                <a:gd name="connsiteY851" fmla="*/ 9000 h 10000"/>
                <a:gd name="connsiteX852" fmla="*/ 434 w 10000"/>
                <a:gd name="connsiteY852" fmla="*/ 9007 h 10000"/>
                <a:gd name="connsiteX853" fmla="*/ 432 w 10000"/>
                <a:gd name="connsiteY853" fmla="*/ 9007 h 10000"/>
                <a:gd name="connsiteX854" fmla="*/ 429 w 10000"/>
                <a:gd name="connsiteY854" fmla="*/ 9004 h 10000"/>
                <a:gd name="connsiteX855" fmla="*/ 427 w 10000"/>
                <a:gd name="connsiteY855" fmla="*/ 8997 h 10000"/>
                <a:gd name="connsiteX856" fmla="*/ 427 w 10000"/>
                <a:gd name="connsiteY856" fmla="*/ 8993 h 10000"/>
                <a:gd name="connsiteX857" fmla="*/ 424 w 10000"/>
                <a:gd name="connsiteY857" fmla="*/ 8976 h 10000"/>
                <a:gd name="connsiteX858" fmla="*/ 427 w 10000"/>
                <a:gd name="connsiteY858" fmla="*/ 8948 h 10000"/>
                <a:gd name="connsiteX859" fmla="*/ 437 w 10000"/>
                <a:gd name="connsiteY859" fmla="*/ 8913 h 10000"/>
                <a:gd name="connsiteX860" fmla="*/ 455 w 10000"/>
                <a:gd name="connsiteY860" fmla="*/ 8859 h 10000"/>
                <a:gd name="connsiteX861" fmla="*/ 462 w 10000"/>
                <a:gd name="connsiteY861" fmla="*/ 8834 h 10000"/>
                <a:gd name="connsiteX862" fmla="*/ 470 w 10000"/>
                <a:gd name="connsiteY862" fmla="*/ 8810 h 10000"/>
                <a:gd name="connsiteX863" fmla="*/ 472 w 10000"/>
                <a:gd name="connsiteY863" fmla="*/ 8794 h 10000"/>
                <a:gd name="connsiteX864" fmla="*/ 472 w 10000"/>
                <a:gd name="connsiteY864" fmla="*/ 8780 h 10000"/>
                <a:gd name="connsiteX865" fmla="*/ 462 w 10000"/>
                <a:gd name="connsiteY865" fmla="*/ 8784 h 10000"/>
                <a:gd name="connsiteX866" fmla="*/ 452 w 10000"/>
                <a:gd name="connsiteY866" fmla="*/ 8787 h 10000"/>
                <a:gd name="connsiteX867" fmla="*/ 437 w 10000"/>
                <a:gd name="connsiteY867" fmla="*/ 8794 h 10000"/>
                <a:gd name="connsiteX868" fmla="*/ 424 w 10000"/>
                <a:gd name="connsiteY868" fmla="*/ 8803 h 10000"/>
                <a:gd name="connsiteX869" fmla="*/ 394 w 10000"/>
                <a:gd name="connsiteY869" fmla="*/ 8829 h 10000"/>
                <a:gd name="connsiteX870" fmla="*/ 364 w 10000"/>
                <a:gd name="connsiteY870" fmla="*/ 8859 h 10000"/>
                <a:gd name="connsiteX871" fmla="*/ 311 w 10000"/>
                <a:gd name="connsiteY871" fmla="*/ 8922 h 10000"/>
                <a:gd name="connsiteX872" fmla="*/ 268 w 10000"/>
                <a:gd name="connsiteY872" fmla="*/ 8964 h 10000"/>
                <a:gd name="connsiteX873" fmla="*/ 205 w 10000"/>
                <a:gd name="connsiteY873" fmla="*/ 9016 h 10000"/>
                <a:gd name="connsiteX874" fmla="*/ 146 w 10000"/>
                <a:gd name="connsiteY874" fmla="*/ 9053 h 10000"/>
                <a:gd name="connsiteX875" fmla="*/ 139 w 10000"/>
                <a:gd name="connsiteY875" fmla="*/ 9063 h 10000"/>
                <a:gd name="connsiteX876" fmla="*/ 129 w 10000"/>
                <a:gd name="connsiteY876" fmla="*/ 9077 h 10000"/>
                <a:gd name="connsiteX877" fmla="*/ 126 w 10000"/>
                <a:gd name="connsiteY877" fmla="*/ 9086 h 10000"/>
                <a:gd name="connsiteX878" fmla="*/ 126 w 10000"/>
                <a:gd name="connsiteY878" fmla="*/ 9102 h 10000"/>
                <a:gd name="connsiteX879" fmla="*/ 129 w 10000"/>
                <a:gd name="connsiteY879" fmla="*/ 9116 h 10000"/>
                <a:gd name="connsiteX880" fmla="*/ 139 w 10000"/>
                <a:gd name="connsiteY880" fmla="*/ 9135 h 10000"/>
                <a:gd name="connsiteX881" fmla="*/ 149 w 10000"/>
                <a:gd name="connsiteY881" fmla="*/ 9151 h 10000"/>
                <a:gd name="connsiteX882" fmla="*/ 164 w 10000"/>
                <a:gd name="connsiteY882" fmla="*/ 9175 h 10000"/>
                <a:gd name="connsiteX883" fmla="*/ 184 w 10000"/>
                <a:gd name="connsiteY883" fmla="*/ 9196 h 10000"/>
                <a:gd name="connsiteX884" fmla="*/ 207 w 10000"/>
                <a:gd name="connsiteY884" fmla="*/ 9215 h 10000"/>
                <a:gd name="connsiteX885" fmla="*/ 227 w 10000"/>
                <a:gd name="connsiteY885" fmla="*/ 9233 h 10000"/>
                <a:gd name="connsiteX886" fmla="*/ 253 w 10000"/>
                <a:gd name="connsiteY886" fmla="*/ 9250 h 10000"/>
                <a:gd name="connsiteX887" fmla="*/ 303 w 10000"/>
                <a:gd name="connsiteY887" fmla="*/ 9282 h 10000"/>
                <a:gd name="connsiteX888" fmla="*/ 351 w 10000"/>
                <a:gd name="connsiteY888" fmla="*/ 9315 h 10000"/>
                <a:gd name="connsiteX889" fmla="*/ 414 w 10000"/>
                <a:gd name="connsiteY889" fmla="*/ 9364 h 10000"/>
                <a:gd name="connsiteX890" fmla="*/ 480 w 10000"/>
                <a:gd name="connsiteY890" fmla="*/ 9416 h 10000"/>
                <a:gd name="connsiteX891" fmla="*/ 513 w 10000"/>
                <a:gd name="connsiteY891" fmla="*/ 9437 h 10000"/>
                <a:gd name="connsiteX892" fmla="*/ 548 w 10000"/>
                <a:gd name="connsiteY892" fmla="*/ 9462 h 10000"/>
                <a:gd name="connsiteX893" fmla="*/ 581 w 10000"/>
                <a:gd name="connsiteY893" fmla="*/ 9483 h 10000"/>
                <a:gd name="connsiteX894" fmla="*/ 614 w 10000"/>
                <a:gd name="connsiteY894" fmla="*/ 9502 h 10000"/>
                <a:gd name="connsiteX895" fmla="*/ 641 w 10000"/>
                <a:gd name="connsiteY895" fmla="*/ 9525 h 10000"/>
                <a:gd name="connsiteX896" fmla="*/ 672 w 10000"/>
                <a:gd name="connsiteY896" fmla="*/ 9549 h 10000"/>
                <a:gd name="connsiteX897" fmla="*/ 702 w 10000"/>
                <a:gd name="connsiteY897" fmla="*/ 9568 h 10000"/>
                <a:gd name="connsiteX898" fmla="*/ 737 w 10000"/>
                <a:gd name="connsiteY898" fmla="*/ 9589 h 10000"/>
                <a:gd name="connsiteX899" fmla="*/ 770 w 10000"/>
                <a:gd name="connsiteY899" fmla="*/ 9605 h 10000"/>
                <a:gd name="connsiteX900" fmla="*/ 808 w 10000"/>
                <a:gd name="connsiteY900" fmla="*/ 9617 h 10000"/>
                <a:gd name="connsiteX901" fmla="*/ 843 w 10000"/>
                <a:gd name="connsiteY901" fmla="*/ 9624 h 10000"/>
                <a:gd name="connsiteX902" fmla="*/ 884 w 10000"/>
                <a:gd name="connsiteY902" fmla="*/ 9628 h 10000"/>
                <a:gd name="connsiteX903" fmla="*/ 902 w 10000"/>
                <a:gd name="connsiteY903" fmla="*/ 9628 h 10000"/>
                <a:gd name="connsiteX904" fmla="*/ 914 w 10000"/>
                <a:gd name="connsiteY904" fmla="*/ 9631 h 10000"/>
                <a:gd name="connsiteX905" fmla="*/ 932 w 10000"/>
                <a:gd name="connsiteY905" fmla="*/ 9638 h 10000"/>
                <a:gd name="connsiteX906" fmla="*/ 942 w 10000"/>
                <a:gd name="connsiteY906" fmla="*/ 9642 h 10000"/>
                <a:gd name="connsiteX907" fmla="*/ 967 w 10000"/>
                <a:gd name="connsiteY907" fmla="*/ 9652 h 10000"/>
                <a:gd name="connsiteX908" fmla="*/ 987 w 10000"/>
                <a:gd name="connsiteY908" fmla="*/ 9668 h 10000"/>
                <a:gd name="connsiteX909" fmla="*/ 1005 w 10000"/>
                <a:gd name="connsiteY909" fmla="*/ 9682 h 10000"/>
                <a:gd name="connsiteX910" fmla="*/ 1025 w 10000"/>
                <a:gd name="connsiteY910" fmla="*/ 9698 h 10000"/>
                <a:gd name="connsiteX911" fmla="*/ 1045 w 10000"/>
                <a:gd name="connsiteY911" fmla="*/ 9712 h 10000"/>
                <a:gd name="connsiteX912" fmla="*/ 1073 w 10000"/>
                <a:gd name="connsiteY912" fmla="*/ 9724 h 10000"/>
                <a:gd name="connsiteX913" fmla="*/ 1098 w 10000"/>
                <a:gd name="connsiteY913" fmla="*/ 9738 h 10000"/>
                <a:gd name="connsiteX914" fmla="*/ 1121 w 10000"/>
                <a:gd name="connsiteY914" fmla="*/ 9750 h 10000"/>
                <a:gd name="connsiteX915" fmla="*/ 1141 w 10000"/>
                <a:gd name="connsiteY915" fmla="*/ 9762 h 10000"/>
                <a:gd name="connsiteX916" fmla="*/ 1159 w 10000"/>
                <a:gd name="connsiteY916" fmla="*/ 9776 h 10000"/>
                <a:gd name="connsiteX917" fmla="*/ 1172 w 10000"/>
                <a:gd name="connsiteY917" fmla="*/ 9787 h 10000"/>
                <a:gd name="connsiteX918" fmla="*/ 1182 w 10000"/>
                <a:gd name="connsiteY918" fmla="*/ 9804 h 10000"/>
                <a:gd name="connsiteX919" fmla="*/ 1194 w 10000"/>
                <a:gd name="connsiteY919" fmla="*/ 9818 h 10000"/>
                <a:gd name="connsiteX920" fmla="*/ 1202 w 10000"/>
                <a:gd name="connsiteY920" fmla="*/ 9834 h 10000"/>
                <a:gd name="connsiteX921" fmla="*/ 1212 w 10000"/>
                <a:gd name="connsiteY921" fmla="*/ 9869 h 10000"/>
                <a:gd name="connsiteX922" fmla="*/ 1220 w 10000"/>
                <a:gd name="connsiteY922" fmla="*/ 9906 h 10000"/>
                <a:gd name="connsiteX923" fmla="*/ 1230 w 10000"/>
                <a:gd name="connsiteY923" fmla="*/ 9951 h 10000"/>
                <a:gd name="connsiteX924" fmla="*/ 1237 w 10000"/>
                <a:gd name="connsiteY924" fmla="*/ 10000 h 10000"/>
                <a:gd name="connsiteX925" fmla="*/ 1237 w 10000"/>
                <a:gd name="connsiteY92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361 w 10000"/>
                <a:gd name="connsiteY751" fmla="*/ 7669 h 10000"/>
                <a:gd name="connsiteX752" fmla="*/ 2172 w 10000"/>
                <a:gd name="connsiteY752" fmla="*/ 7714 h 10000"/>
                <a:gd name="connsiteX753" fmla="*/ 2167 w 10000"/>
                <a:gd name="connsiteY753" fmla="*/ 7742 h 10000"/>
                <a:gd name="connsiteX754" fmla="*/ 2162 w 10000"/>
                <a:gd name="connsiteY754" fmla="*/ 7775 h 10000"/>
                <a:gd name="connsiteX755" fmla="*/ 2159 w 10000"/>
                <a:gd name="connsiteY755" fmla="*/ 7833 h 10000"/>
                <a:gd name="connsiteX756" fmla="*/ 2157 w 10000"/>
                <a:gd name="connsiteY756" fmla="*/ 7882 h 10000"/>
                <a:gd name="connsiteX757" fmla="*/ 2157 w 10000"/>
                <a:gd name="connsiteY757" fmla="*/ 7938 h 10000"/>
                <a:gd name="connsiteX758" fmla="*/ 2159 w 10000"/>
                <a:gd name="connsiteY758" fmla="*/ 8006 h 10000"/>
                <a:gd name="connsiteX759" fmla="*/ 2162 w 10000"/>
                <a:gd name="connsiteY759" fmla="*/ 8079 h 10000"/>
                <a:gd name="connsiteX760" fmla="*/ 2159 w 10000"/>
                <a:gd name="connsiteY760" fmla="*/ 8156 h 10000"/>
                <a:gd name="connsiteX761" fmla="*/ 2157 w 10000"/>
                <a:gd name="connsiteY761" fmla="*/ 8193 h 10000"/>
                <a:gd name="connsiteX762" fmla="*/ 2154 w 10000"/>
                <a:gd name="connsiteY762" fmla="*/ 8228 h 10000"/>
                <a:gd name="connsiteX763" fmla="*/ 2146 w 10000"/>
                <a:gd name="connsiteY763" fmla="*/ 8261 h 10000"/>
                <a:gd name="connsiteX764" fmla="*/ 2136 w 10000"/>
                <a:gd name="connsiteY764" fmla="*/ 8291 h 10000"/>
                <a:gd name="connsiteX765" fmla="*/ 2124 w 10000"/>
                <a:gd name="connsiteY765" fmla="*/ 8319 h 10000"/>
                <a:gd name="connsiteX766" fmla="*/ 2109 w 10000"/>
                <a:gd name="connsiteY766" fmla="*/ 8345 h 10000"/>
                <a:gd name="connsiteX767" fmla="*/ 2098 w 10000"/>
                <a:gd name="connsiteY767" fmla="*/ 8354 h 10000"/>
                <a:gd name="connsiteX768" fmla="*/ 2088 w 10000"/>
                <a:gd name="connsiteY768" fmla="*/ 8364 h 10000"/>
                <a:gd name="connsiteX769" fmla="*/ 2078 w 10000"/>
                <a:gd name="connsiteY769" fmla="*/ 8373 h 10000"/>
                <a:gd name="connsiteX770" fmla="*/ 2063 w 10000"/>
                <a:gd name="connsiteY770" fmla="*/ 8380 h 10000"/>
                <a:gd name="connsiteX771" fmla="*/ 1990 w 10000"/>
                <a:gd name="connsiteY771" fmla="*/ 8422 h 10000"/>
                <a:gd name="connsiteX772" fmla="*/ 1904 w 10000"/>
                <a:gd name="connsiteY772" fmla="*/ 8481 h 10000"/>
                <a:gd name="connsiteX773" fmla="*/ 1856 w 10000"/>
                <a:gd name="connsiteY773" fmla="*/ 8506 h 10000"/>
                <a:gd name="connsiteX774" fmla="*/ 1816 w 10000"/>
                <a:gd name="connsiteY774" fmla="*/ 8527 h 10000"/>
                <a:gd name="connsiteX775" fmla="*/ 1793 w 10000"/>
                <a:gd name="connsiteY775" fmla="*/ 8539 h 10000"/>
                <a:gd name="connsiteX776" fmla="*/ 1775 w 10000"/>
                <a:gd name="connsiteY776" fmla="*/ 8546 h 10000"/>
                <a:gd name="connsiteX777" fmla="*/ 1758 w 10000"/>
                <a:gd name="connsiteY777" fmla="*/ 8548 h 10000"/>
                <a:gd name="connsiteX778" fmla="*/ 1742 w 10000"/>
                <a:gd name="connsiteY778" fmla="*/ 8551 h 10000"/>
                <a:gd name="connsiteX779" fmla="*/ 1727 w 10000"/>
                <a:gd name="connsiteY779" fmla="*/ 8537 h 10000"/>
                <a:gd name="connsiteX780" fmla="*/ 1717 w 10000"/>
                <a:gd name="connsiteY780" fmla="*/ 8518 h 10000"/>
                <a:gd name="connsiteX781" fmla="*/ 1710 w 10000"/>
                <a:gd name="connsiteY781" fmla="*/ 8499 h 10000"/>
                <a:gd name="connsiteX782" fmla="*/ 1702 w 10000"/>
                <a:gd name="connsiteY782" fmla="*/ 8476 h 10000"/>
                <a:gd name="connsiteX783" fmla="*/ 1684 w 10000"/>
                <a:gd name="connsiteY783" fmla="*/ 8429 h 10000"/>
                <a:gd name="connsiteX784" fmla="*/ 1674 w 10000"/>
                <a:gd name="connsiteY784" fmla="*/ 8380 h 10000"/>
                <a:gd name="connsiteX785" fmla="*/ 1667 w 10000"/>
                <a:gd name="connsiteY785" fmla="*/ 8329 h 10000"/>
                <a:gd name="connsiteX786" fmla="*/ 1659 w 10000"/>
                <a:gd name="connsiteY786" fmla="*/ 8282 h 10000"/>
                <a:gd name="connsiteX787" fmla="*/ 1657 w 10000"/>
                <a:gd name="connsiteY787" fmla="*/ 8235 h 10000"/>
                <a:gd name="connsiteX788" fmla="*/ 1657 w 10000"/>
                <a:gd name="connsiteY788" fmla="*/ 8195 h 10000"/>
                <a:gd name="connsiteX789" fmla="*/ 1652 w 10000"/>
                <a:gd name="connsiteY789" fmla="*/ 8191 h 10000"/>
                <a:gd name="connsiteX790" fmla="*/ 1586 w 10000"/>
                <a:gd name="connsiteY790" fmla="*/ 8188 h 10000"/>
                <a:gd name="connsiteX791" fmla="*/ 1525 w 10000"/>
                <a:gd name="connsiteY791" fmla="*/ 8186 h 10000"/>
                <a:gd name="connsiteX792" fmla="*/ 1500 w 10000"/>
                <a:gd name="connsiteY792" fmla="*/ 8191 h 10000"/>
                <a:gd name="connsiteX793" fmla="*/ 1472 w 10000"/>
                <a:gd name="connsiteY793" fmla="*/ 8198 h 10000"/>
                <a:gd name="connsiteX794" fmla="*/ 1457 w 10000"/>
                <a:gd name="connsiteY794" fmla="*/ 8205 h 10000"/>
                <a:gd name="connsiteX795" fmla="*/ 1444 w 10000"/>
                <a:gd name="connsiteY795" fmla="*/ 8212 h 10000"/>
                <a:gd name="connsiteX796" fmla="*/ 1434 w 10000"/>
                <a:gd name="connsiteY796" fmla="*/ 8223 h 10000"/>
                <a:gd name="connsiteX797" fmla="*/ 1419 w 10000"/>
                <a:gd name="connsiteY797" fmla="*/ 8233 h 10000"/>
                <a:gd name="connsiteX798" fmla="*/ 1412 w 10000"/>
                <a:gd name="connsiteY798" fmla="*/ 8247 h 10000"/>
                <a:gd name="connsiteX799" fmla="*/ 1402 w 10000"/>
                <a:gd name="connsiteY799" fmla="*/ 8261 h 10000"/>
                <a:gd name="connsiteX800" fmla="*/ 1394 w 10000"/>
                <a:gd name="connsiteY800" fmla="*/ 8275 h 10000"/>
                <a:gd name="connsiteX801" fmla="*/ 1386 w 10000"/>
                <a:gd name="connsiteY801" fmla="*/ 8294 h 10000"/>
                <a:gd name="connsiteX802" fmla="*/ 1374 w 10000"/>
                <a:gd name="connsiteY802" fmla="*/ 8331 h 10000"/>
                <a:gd name="connsiteX803" fmla="*/ 1361 w 10000"/>
                <a:gd name="connsiteY803" fmla="*/ 8368 h 10000"/>
                <a:gd name="connsiteX804" fmla="*/ 1354 w 10000"/>
                <a:gd name="connsiteY804" fmla="*/ 8387 h 10000"/>
                <a:gd name="connsiteX805" fmla="*/ 1346 w 10000"/>
                <a:gd name="connsiteY805" fmla="*/ 8406 h 10000"/>
                <a:gd name="connsiteX806" fmla="*/ 1338 w 10000"/>
                <a:gd name="connsiteY806" fmla="*/ 8420 h 10000"/>
                <a:gd name="connsiteX807" fmla="*/ 1328 w 10000"/>
                <a:gd name="connsiteY807" fmla="*/ 8436 h 10000"/>
                <a:gd name="connsiteX808" fmla="*/ 1316 w 10000"/>
                <a:gd name="connsiteY808" fmla="*/ 8446 h 10000"/>
                <a:gd name="connsiteX809" fmla="*/ 1306 w 10000"/>
                <a:gd name="connsiteY809" fmla="*/ 8453 h 10000"/>
                <a:gd name="connsiteX810" fmla="*/ 1293 w 10000"/>
                <a:gd name="connsiteY810" fmla="*/ 8460 h 10000"/>
                <a:gd name="connsiteX811" fmla="*/ 1275 w 10000"/>
                <a:gd name="connsiteY811" fmla="*/ 8460 h 10000"/>
                <a:gd name="connsiteX812" fmla="*/ 1265 w 10000"/>
                <a:gd name="connsiteY812" fmla="*/ 8450 h 10000"/>
                <a:gd name="connsiteX813" fmla="*/ 1258 w 10000"/>
                <a:gd name="connsiteY813" fmla="*/ 8441 h 10000"/>
                <a:gd name="connsiteX814" fmla="*/ 1245 w 10000"/>
                <a:gd name="connsiteY814" fmla="*/ 8424 h 10000"/>
                <a:gd name="connsiteX815" fmla="*/ 1237 w 10000"/>
                <a:gd name="connsiteY815" fmla="*/ 8408 h 10000"/>
                <a:gd name="connsiteX816" fmla="*/ 1217 w 10000"/>
                <a:gd name="connsiteY816" fmla="*/ 8373 h 10000"/>
                <a:gd name="connsiteX817" fmla="*/ 1202 w 10000"/>
                <a:gd name="connsiteY817" fmla="*/ 8333 h 10000"/>
                <a:gd name="connsiteX818" fmla="*/ 1182 w 10000"/>
                <a:gd name="connsiteY818" fmla="*/ 8296 h 10000"/>
                <a:gd name="connsiteX819" fmla="*/ 1162 w 10000"/>
                <a:gd name="connsiteY819" fmla="*/ 8268 h 10000"/>
                <a:gd name="connsiteX820" fmla="*/ 1149 w 10000"/>
                <a:gd name="connsiteY820" fmla="*/ 8256 h 10000"/>
                <a:gd name="connsiteX821" fmla="*/ 1139 w 10000"/>
                <a:gd name="connsiteY821" fmla="*/ 8249 h 10000"/>
                <a:gd name="connsiteX822" fmla="*/ 1126 w 10000"/>
                <a:gd name="connsiteY822" fmla="*/ 8240 h 10000"/>
                <a:gd name="connsiteX823" fmla="*/ 1114 w 10000"/>
                <a:gd name="connsiteY823" fmla="*/ 8240 h 10000"/>
                <a:gd name="connsiteX824" fmla="*/ 1091 w 10000"/>
                <a:gd name="connsiteY824" fmla="*/ 8242 h 10000"/>
                <a:gd name="connsiteX825" fmla="*/ 1071 w 10000"/>
                <a:gd name="connsiteY825" fmla="*/ 8252 h 10000"/>
                <a:gd name="connsiteX826" fmla="*/ 1048 w 10000"/>
                <a:gd name="connsiteY826" fmla="*/ 8261 h 10000"/>
                <a:gd name="connsiteX827" fmla="*/ 1030 w 10000"/>
                <a:gd name="connsiteY827" fmla="*/ 8273 h 10000"/>
                <a:gd name="connsiteX828" fmla="*/ 1010 w 10000"/>
                <a:gd name="connsiteY828" fmla="*/ 8287 h 10000"/>
                <a:gd name="connsiteX829" fmla="*/ 995 w 10000"/>
                <a:gd name="connsiteY829" fmla="*/ 8303 h 10000"/>
                <a:gd name="connsiteX830" fmla="*/ 975 w 10000"/>
                <a:gd name="connsiteY830" fmla="*/ 8322 h 10000"/>
                <a:gd name="connsiteX831" fmla="*/ 960 w 10000"/>
                <a:gd name="connsiteY831" fmla="*/ 8343 h 10000"/>
                <a:gd name="connsiteX832" fmla="*/ 927 w 10000"/>
                <a:gd name="connsiteY832" fmla="*/ 8380 h 10000"/>
                <a:gd name="connsiteX833" fmla="*/ 891 w 10000"/>
                <a:gd name="connsiteY833" fmla="*/ 8417 h 10000"/>
                <a:gd name="connsiteX834" fmla="*/ 874 w 10000"/>
                <a:gd name="connsiteY834" fmla="*/ 8436 h 10000"/>
                <a:gd name="connsiteX835" fmla="*/ 859 w 10000"/>
                <a:gd name="connsiteY835" fmla="*/ 8450 h 10000"/>
                <a:gd name="connsiteX836" fmla="*/ 838 w 10000"/>
                <a:gd name="connsiteY836" fmla="*/ 8462 h 10000"/>
                <a:gd name="connsiteX837" fmla="*/ 821 w 10000"/>
                <a:gd name="connsiteY837" fmla="*/ 8476 h 10000"/>
                <a:gd name="connsiteX838" fmla="*/ 742 w 10000"/>
                <a:gd name="connsiteY838" fmla="*/ 8562 h 10000"/>
                <a:gd name="connsiteX839" fmla="*/ 672 w 10000"/>
                <a:gd name="connsiteY839" fmla="*/ 8644 h 10000"/>
                <a:gd name="connsiteX840" fmla="*/ 639 w 10000"/>
                <a:gd name="connsiteY840" fmla="*/ 8684 h 10000"/>
                <a:gd name="connsiteX841" fmla="*/ 609 w 10000"/>
                <a:gd name="connsiteY841" fmla="*/ 8731 h 10000"/>
                <a:gd name="connsiteX842" fmla="*/ 583 w 10000"/>
                <a:gd name="connsiteY842" fmla="*/ 8777 h 10000"/>
                <a:gd name="connsiteX843" fmla="*/ 556 w 10000"/>
                <a:gd name="connsiteY843" fmla="*/ 8831 h 10000"/>
                <a:gd name="connsiteX844" fmla="*/ 545 w 10000"/>
                <a:gd name="connsiteY844" fmla="*/ 8852 h 10000"/>
                <a:gd name="connsiteX845" fmla="*/ 525 w 10000"/>
                <a:gd name="connsiteY845" fmla="*/ 8885 h 10000"/>
                <a:gd name="connsiteX846" fmla="*/ 503 w 10000"/>
                <a:gd name="connsiteY846" fmla="*/ 8925 h 10000"/>
                <a:gd name="connsiteX847" fmla="*/ 480 w 10000"/>
                <a:gd name="connsiteY847" fmla="*/ 8962 h 10000"/>
                <a:gd name="connsiteX848" fmla="*/ 465 w 10000"/>
                <a:gd name="connsiteY848" fmla="*/ 8981 h 10000"/>
                <a:gd name="connsiteX849" fmla="*/ 455 w 10000"/>
                <a:gd name="connsiteY849" fmla="*/ 8993 h 10000"/>
                <a:gd name="connsiteX850" fmla="*/ 444 w 10000"/>
                <a:gd name="connsiteY850" fmla="*/ 9000 h 10000"/>
                <a:gd name="connsiteX851" fmla="*/ 434 w 10000"/>
                <a:gd name="connsiteY851" fmla="*/ 9007 h 10000"/>
                <a:gd name="connsiteX852" fmla="*/ 432 w 10000"/>
                <a:gd name="connsiteY852" fmla="*/ 9007 h 10000"/>
                <a:gd name="connsiteX853" fmla="*/ 429 w 10000"/>
                <a:gd name="connsiteY853" fmla="*/ 9004 h 10000"/>
                <a:gd name="connsiteX854" fmla="*/ 427 w 10000"/>
                <a:gd name="connsiteY854" fmla="*/ 8997 h 10000"/>
                <a:gd name="connsiteX855" fmla="*/ 427 w 10000"/>
                <a:gd name="connsiteY855" fmla="*/ 8993 h 10000"/>
                <a:gd name="connsiteX856" fmla="*/ 424 w 10000"/>
                <a:gd name="connsiteY856" fmla="*/ 8976 h 10000"/>
                <a:gd name="connsiteX857" fmla="*/ 427 w 10000"/>
                <a:gd name="connsiteY857" fmla="*/ 8948 h 10000"/>
                <a:gd name="connsiteX858" fmla="*/ 437 w 10000"/>
                <a:gd name="connsiteY858" fmla="*/ 8913 h 10000"/>
                <a:gd name="connsiteX859" fmla="*/ 455 w 10000"/>
                <a:gd name="connsiteY859" fmla="*/ 8859 h 10000"/>
                <a:gd name="connsiteX860" fmla="*/ 462 w 10000"/>
                <a:gd name="connsiteY860" fmla="*/ 8834 h 10000"/>
                <a:gd name="connsiteX861" fmla="*/ 470 w 10000"/>
                <a:gd name="connsiteY861" fmla="*/ 8810 h 10000"/>
                <a:gd name="connsiteX862" fmla="*/ 472 w 10000"/>
                <a:gd name="connsiteY862" fmla="*/ 8794 h 10000"/>
                <a:gd name="connsiteX863" fmla="*/ 472 w 10000"/>
                <a:gd name="connsiteY863" fmla="*/ 8780 h 10000"/>
                <a:gd name="connsiteX864" fmla="*/ 462 w 10000"/>
                <a:gd name="connsiteY864" fmla="*/ 8784 h 10000"/>
                <a:gd name="connsiteX865" fmla="*/ 452 w 10000"/>
                <a:gd name="connsiteY865" fmla="*/ 8787 h 10000"/>
                <a:gd name="connsiteX866" fmla="*/ 437 w 10000"/>
                <a:gd name="connsiteY866" fmla="*/ 8794 h 10000"/>
                <a:gd name="connsiteX867" fmla="*/ 424 w 10000"/>
                <a:gd name="connsiteY867" fmla="*/ 8803 h 10000"/>
                <a:gd name="connsiteX868" fmla="*/ 394 w 10000"/>
                <a:gd name="connsiteY868" fmla="*/ 8829 h 10000"/>
                <a:gd name="connsiteX869" fmla="*/ 364 w 10000"/>
                <a:gd name="connsiteY869" fmla="*/ 8859 h 10000"/>
                <a:gd name="connsiteX870" fmla="*/ 311 w 10000"/>
                <a:gd name="connsiteY870" fmla="*/ 8922 h 10000"/>
                <a:gd name="connsiteX871" fmla="*/ 268 w 10000"/>
                <a:gd name="connsiteY871" fmla="*/ 8964 h 10000"/>
                <a:gd name="connsiteX872" fmla="*/ 205 w 10000"/>
                <a:gd name="connsiteY872" fmla="*/ 9016 h 10000"/>
                <a:gd name="connsiteX873" fmla="*/ 146 w 10000"/>
                <a:gd name="connsiteY873" fmla="*/ 9053 h 10000"/>
                <a:gd name="connsiteX874" fmla="*/ 139 w 10000"/>
                <a:gd name="connsiteY874" fmla="*/ 9063 h 10000"/>
                <a:gd name="connsiteX875" fmla="*/ 129 w 10000"/>
                <a:gd name="connsiteY875" fmla="*/ 9077 h 10000"/>
                <a:gd name="connsiteX876" fmla="*/ 126 w 10000"/>
                <a:gd name="connsiteY876" fmla="*/ 9086 h 10000"/>
                <a:gd name="connsiteX877" fmla="*/ 126 w 10000"/>
                <a:gd name="connsiteY877" fmla="*/ 9102 h 10000"/>
                <a:gd name="connsiteX878" fmla="*/ 129 w 10000"/>
                <a:gd name="connsiteY878" fmla="*/ 9116 h 10000"/>
                <a:gd name="connsiteX879" fmla="*/ 139 w 10000"/>
                <a:gd name="connsiteY879" fmla="*/ 9135 h 10000"/>
                <a:gd name="connsiteX880" fmla="*/ 149 w 10000"/>
                <a:gd name="connsiteY880" fmla="*/ 9151 h 10000"/>
                <a:gd name="connsiteX881" fmla="*/ 164 w 10000"/>
                <a:gd name="connsiteY881" fmla="*/ 9175 h 10000"/>
                <a:gd name="connsiteX882" fmla="*/ 184 w 10000"/>
                <a:gd name="connsiteY882" fmla="*/ 9196 h 10000"/>
                <a:gd name="connsiteX883" fmla="*/ 207 w 10000"/>
                <a:gd name="connsiteY883" fmla="*/ 9215 h 10000"/>
                <a:gd name="connsiteX884" fmla="*/ 227 w 10000"/>
                <a:gd name="connsiteY884" fmla="*/ 9233 h 10000"/>
                <a:gd name="connsiteX885" fmla="*/ 253 w 10000"/>
                <a:gd name="connsiteY885" fmla="*/ 9250 h 10000"/>
                <a:gd name="connsiteX886" fmla="*/ 303 w 10000"/>
                <a:gd name="connsiteY886" fmla="*/ 9282 h 10000"/>
                <a:gd name="connsiteX887" fmla="*/ 351 w 10000"/>
                <a:gd name="connsiteY887" fmla="*/ 9315 h 10000"/>
                <a:gd name="connsiteX888" fmla="*/ 414 w 10000"/>
                <a:gd name="connsiteY888" fmla="*/ 9364 h 10000"/>
                <a:gd name="connsiteX889" fmla="*/ 480 w 10000"/>
                <a:gd name="connsiteY889" fmla="*/ 9416 h 10000"/>
                <a:gd name="connsiteX890" fmla="*/ 513 w 10000"/>
                <a:gd name="connsiteY890" fmla="*/ 9437 h 10000"/>
                <a:gd name="connsiteX891" fmla="*/ 548 w 10000"/>
                <a:gd name="connsiteY891" fmla="*/ 9462 h 10000"/>
                <a:gd name="connsiteX892" fmla="*/ 581 w 10000"/>
                <a:gd name="connsiteY892" fmla="*/ 9483 h 10000"/>
                <a:gd name="connsiteX893" fmla="*/ 614 w 10000"/>
                <a:gd name="connsiteY893" fmla="*/ 9502 h 10000"/>
                <a:gd name="connsiteX894" fmla="*/ 641 w 10000"/>
                <a:gd name="connsiteY894" fmla="*/ 9525 h 10000"/>
                <a:gd name="connsiteX895" fmla="*/ 672 w 10000"/>
                <a:gd name="connsiteY895" fmla="*/ 9549 h 10000"/>
                <a:gd name="connsiteX896" fmla="*/ 702 w 10000"/>
                <a:gd name="connsiteY896" fmla="*/ 9568 h 10000"/>
                <a:gd name="connsiteX897" fmla="*/ 737 w 10000"/>
                <a:gd name="connsiteY897" fmla="*/ 9589 h 10000"/>
                <a:gd name="connsiteX898" fmla="*/ 770 w 10000"/>
                <a:gd name="connsiteY898" fmla="*/ 9605 h 10000"/>
                <a:gd name="connsiteX899" fmla="*/ 808 w 10000"/>
                <a:gd name="connsiteY899" fmla="*/ 9617 h 10000"/>
                <a:gd name="connsiteX900" fmla="*/ 843 w 10000"/>
                <a:gd name="connsiteY900" fmla="*/ 9624 h 10000"/>
                <a:gd name="connsiteX901" fmla="*/ 884 w 10000"/>
                <a:gd name="connsiteY901" fmla="*/ 9628 h 10000"/>
                <a:gd name="connsiteX902" fmla="*/ 902 w 10000"/>
                <a:gd name="connsiteY902" fmla="*/ 9628 h 10000"/>
                <a:gd name="connsiteX903" fmla="*/ 914 w 10000"/>
                <a:gd name="connsiteY903" fmla="*/ 9631 h 10000"/>
                <a:gd name="connsiteX904" fmla="*/ 932 w 10000"/>
                <a:gd name="connsiteY904" fmla="*/ 9638 h 10000"/>
                <a:gd name="connsiteX905" fmla="*/ 942 w 10000"/>
                <a:gd name="connsiteY905" fmla="*/ 9642 h 10000"/>
                <a:gd name="connsiteX906" fmla="*/ 967 w 10000"/>
                <a:gd name="connsiteY906" fmla="*/ 9652 h 10000"/>
                <a:gd name="connsiteX907" fmla="*/ 987 w 10000"/>
                <a:gd name="connsiteY907" fmla="*/ 9668 h 10000"/>
                <a:gd name="connsiteX908" fmla="*/ 1005 w 10000"/>
                <a:gd name="connsiteY908" fmla="*/ 9682 h 10000"/>
                <a:gd name="connsiteX909" fmla="*/ 1025 w 10000"/>
                <a:gd name="connsiteY909" fmla="*/ 9698 h 10000"/>
                <a:gd name="connsiteX910" fmla="*/ 1045 w 10000"/>
                <a:gd name="connsiteY910" fmla="*/ 9712 h 10000"/>
                <a:gd name="connsiteX911" fmla="*/ 1073 w 10000"/>
                <a:gd name="connsiteY911" fmla="*/ 9724 h 10000"/>
                <a:gd name="connsiteX912" fmla="*/ 1098 w 10000"/>
                <a:gd name="connsiteY912" fmla="*/ 9738 h 10000"/>
                <a:gd name="connsiteX913" fmla="*/ 1121 w 10000"/>
                <a:gd name="connsiteY913" fmla="*/ 9750 h 10000"/>
                <a:gd name="connsiteX914" fmla="*/ 1141 w 10000"/>
                <a:gd name="connsiteY914" fmla="*/ 9762 h 10000"/>
                <a:gd name="connsiteX915" fmla="*/ 1159 w 10000"/>
                <a:gd name="connsiteY915" fmla="*/ 9776 h 10000"/>
                <a:gd name="connsiteX916" fmla="*/ 1172 w 10000"/>
                <a:gd name="connsiteY916" fmla="*/ 9787 h 10000"/>
                <a:gd name="connsiteX917" fmla="*/ 1182 w 10000"/>
                <a:gd name="connsiteY917" fmla="*/ 9804 h 10000"/>
                <a:gd name="connsiteX918" fmla="*/ 1194 w 10000"/>
                <a:gd name="connsiteY918" fmla="*/ 9818 h 10000"/>
                <a:gd name="connsiteX919" fmla="*/ 1202 w 10000"/>
                <a:gd name="connsiteY919" fmla="*/ 9834 h 10000"/>
                <a:gd name="connsiteX920" fmla="*/ 1212 w 10000"/>
                <a:gd name="connsiteY920" fmla="*/ 9869 h 10000"/>
                <a:gd name="connsiteX921" fmla="*/ 1220 w 10000"/>
                <a:gd name="connsiteY921" fmla="*/ 9906 h 10000"/>
                <a:gd name="connsiteX922" fmla="*/ 1230 w 10000"/>
                <a:gd name="connsiteY922" fmla="*/ 9951 h 10000"/>
                <a:gd name="connsiteX923" fmla="*/ 1237 w 10000"/>
                <a:gd name="connsiteY923" fmla="*/ 10000 h 10000"/>
                <a:gd name="connsiteX924" fmla="*/ 1237 w 10000"/>
                <a:gd name="connsiteY92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172 w 10000"/>
                <a:gd name="connsiteY751" fmla="*/ 7714 h 10000"/>
                <a:gd name="connsiteX752" fmla="*/ 2167 w 10000"/>
                <a:gd name="connsiteY752" fmla="*/ 7742 h 10000"/>
                <a:gd name="connsiteX753" fmla="*/ 2162 w 10000"/>
                <a:gd name="connsiteY753" fmla="*/ 7775 h 10000"/>
                <a:gd name="connsiteX754" fmla="*/ 2159 w 10000"/>
                <a:gd name="connsiteY754" fmla="*/ 7833 h 10000"/>
                <a:gd name="connsiteX755" fmla="*/ 2157 w 10000"/>
                <a:gd name="connsiteY755" fmla="*/ 7882 h 10000"/>
                <a:gd name="connsiteX756" fmla="*/ 2157 w 10000"/>
                <a:gd name="connsiteY756" fmla="*/ 7938 h 10000"/>
                <a:gd name="connsiteX757" fmla="*/ 2159 w 10000"/>
                <a:gd name="connsiteY757" fmla="*/ 8006 h 10000"/>
                <a:gd name="connsiteX758" fmla="*/ 2162 w 10000"/>
                <a:gd name="connsiteY758" fmla="*/ 8079 h 10000"/>
                <a:gd name="connsiteX759" fmla="*/ 2159 w 10000"/>
                <a:gd name="connsiteY759" fmla="*/ 8156 h 10000"/>
                <a:gd name="connsiteX760" fmla="*/ 2157 w 10000"/>
                <a:gd name="connsiteY760" fmla="*/ 8193 h 10000"/>
                <a:gd name="connsiteX761" fmla="*/ 2154 w 10000"/>
                <a:gd name="connsiteY761" fmla="*/ 8228 h 10000"/>
                <a:gd name="connsiteX762" fmla="*/ 2146 w 10000"/>
                <a:gd name="connsiteY762" fmla="*/ 8261 h 10000"/>
                <a:gd name="connsiteX763" fmla="*/ 2136 w 10000"/>
                <a:gd name="connsiteY763" fmla="*/ 8291 h 10000"/>
                <a:gd name="connsiteX764" fmla="*/ 2124 w 10000"/>
                <a:gd name="connsiteY764" fmla="*/ 8319 h 10000"/>
                <a:gd name="connsiteX765" fmla="*/ 2109 w 10000"/>
                <a:gd name="connsiteY765" fmla="*/ 8345 h 10000"/>
                <a:gd name="connsiteX766" fmla="*/ 2098 w 10000"/>
                <a:gd name="connsiteY766" fmla="*/ 8354 h 10000"/>
                <a:gd name="connsiteX767" fmla="*/ 2088 w 10000"/>
                <a:gd name="connsiteY767" fmla="*/ 8364 h 10000"/>
                <a:gd name="connsiteX768" fmla="*/ 2078 w 10000"/>
                <a:gd name="connsiteY768" fmla="*/ 8373 h 10000"/>
                <a:gd name="connsiteX769" fmla="*/ 2063 w 10000"/>
                <a:gd name="connsiteY769" fmla="*/ 8380 h 10000"/>
                <a:gd name="connsiteX770" fmla="*/ 1990 w 10000"/>
                <a:gd name="connsiteY770" fmla="*/ 8422 h 10000"/>
                <a:gd name="connsiteX771" fmla="*/ 1904 w 10000"/>
                <a:gd name="connsiteY771" fmla="*/ 8481 h 10000"/>
                <a:gd name="connsiteX772" fmla="*/ 1856 w 10000"/>
                <a:gd name="connsiteY772" fmla="*/ 8506 h 10000"/>
                <a:gd name="connsiteX773" fmla="*/ 1816 w 10000"/>
                <a:gd name="connsiteY773" fmla="*/ 8527 h 10000"/>
                <a:gd name="connsiteX774" fmla="*/ 1793 w 10000"/>
                <a:gd name="connsiteY774" fmla="*/ 8539 h 10000"/>
                <a:gd name="connsiteX775" fmla="*/ 1775 w 10000"/>
                <a:gd name="connsiteY775" fmla="*/ 8546 h 10000"/>
                <a:gd name="connsiteX776" fmla="*/ 1758 w 10000"/>
                <a:gd name="connsiteY776" fmla="*/ 8548 h 10000"/>
                <a:gd name="connsiteX777" fmla="*/ 1742 w 10000"/>
                <a:gd name="connsiteY777" fmla="*/ 8551 h 10000"/>
                <a:gd name="connsiteX778" fmla="*/ 1727 w 10000"/>
                <a:gd name="connsiteY778" fmla="*/ 8537 h 10000"/>
                <a:gd name="connsiteX779" fmla="*/ 1717 w 10000"/>
                <a:gd name="connsiteY779" fmla="*/ 8518 h 10000"/>
                <a:gd name="connsiteX780" fmla="*/ 1710 w 10000"/>
                <a:gd name="connsiteY780" fmla="*/ 8499 h 10000"/>
                <a:gd name="connsiteX781" fmla="*/ 1702 w 10000"/>
                <a:gd name="connsiteY781" fmla="*/ 8476 h 10000"/>
                <a:gd name="connsiteX782" fmla="*/ 1684 w 10000"/>
                <a:gd name="connsiteY782" fmla="*/ 8429 h 10000"/>
                <a:gd name="connsiteX783" fmla="*/ 1674 w 10000"/>
                <a:gd name="connsiteY783" fmla="*/ 8380 h 10000"/>
                <a:gd name="connsiteX784" fmla="*/ 1667 w 10000"/>
                <a:gd name="connsiteY784" fmla="*/ 8329 h 10000"/>
                <a:gd name="connsiteX785" fmla="*/ 1659 w 10000"/>
                <a:gd name="connsiteY785" fmla="*/ 8282 h 10000"/>
                <a:gd name="connsiteX786" fmla="*/ 1657 w 10000"/>
                <a:gd name="connsiteY786" fmla="*/ 8235 h 10000"/>
                <a:gd name="connsiteX787" fmla="*/ 1657 w 10000"/>
                <a:gd name="connsiteY787" fmla="*/ 8195 h 10000"/>
                <a:gd name="connsiteX788" fmla="*/ 1652 w 10000"/>
                <a:gd name="connsiteY788" fmla="*/ 8191 h 10000"/>
                <a:gd name="connsiteX789" fmla="*/ 1586 w 10000"/>
                <a:gd name="connsiteY789" fmla="*/ 8188 h 10000"/>
                <a:gd name="connsiteX790" fmla="*/ 1525 w 10000"/>
                <a:gd name="connsiteY790" fmla="*/ 8186 h 10000"/>
                <a:gd name="connsiteX791" fmla="*/ 1500 w 10000"/>
                <a:gd name="connsiteY791" fmla="*/ 8191 h 10000"/>
                <a:gd name="connsiteX792" fmla="*/ 1472 w 10000"/>
                <a:gd name="connsiteY792" fmla="*/ 8198 h 10000"/>
                <a:gd name="connsiteX793" fmla="*/ 1457 w 10000"/>
                <a:gd name="connsiteY793" fmla="*/ 8205 h 10000"/>
                <a:gd name="connsiteX794" fmla="*/ 1444 w 10000"/>
                <a:gd name="connsiteY794" fmla="*/ 8212 h 10000"/>
                <a:gd name="connsiteX795" fmla="*/ 1434 w 10000"/>
                <a:gd name="connsiteY795" fmla="*/ 8223 h 10000"/>
                <a:gd name="connsiteX796" fmla="*/ 1419 w 10000"/>
                <a:gd name="connsiteY796" fmla="*/ 8233 h 10000"/>
                <a:gd name="connsiteX797" fmla="*/ 1412 w 10000"/>
                <a:gd name="connsiteY797" fmla="*/ 8247 h 10000"/>
                <a:gd name="connsiteX798" fmla="*/ 1402 w 10000"/>
                <a:gd name="connsiteY798" fmla="*/ 8261 h 10000"/>
                <a:gd name="connsiteX799" fmla="*/ 1394 w 10000"/>
                <a:gd name="connsiteY799" fmla="*/ 8275 h 10000"/>
                <a:gd name="connsiteX800" fmla="*/ 1386 w 10000"/>
                <a:gd name="connsiteY800" fmla="*/ 8294 h 10000"/>
                <a:gd name="connsiteX801" fmla="*/ 1374 w 10000"/>
                <a:gd name="connsiteY801" fmla="*/ 8331 h 10000"/>
                <a:gd name="connsiteX802" fmla="*/ 1361 w 10000"/>
                <a:gd name="connsiteY802" fmla="*/ 8368 h 10000"/>
                <a:gd name="connsiteX803" fmla="*/ 1354 w 10000"/>
                <a:gd name="connsiteY803" fmla="*/ 8387 h 10000"/>
                <a:gd name="connsiteX804" fmla="*/ 1346 w 10000"/>
                <a:gd name="connsiteY804" fmla="*/ 8406 h 10000"/>
                <a:gd name="connsiteX805" fmla="*/ 1338 w 10000"/>
                <a:gd name="connsiteY805" fmla="*/ 8420 h 10000"/>
                <a:gd name="connsiteX806" fmla="*/ 1328 w 10000"/>
                <a:gd name="connsiteY806" fmla="*/ 8436 h 10000"/>
                <a:gd name="connsiteX807" fmla="*/ 1316 w 10000"/>
                <a:gd name="connsiteY807" fmla="*/ 8446 h 10000"/>
                <a:gd name="connsiteX808" fmla="*/ 1306 w 10000"/>
                <a:gd name="connsiteY808" fmla="*/ 8453 h 10000"/>
                <a:gd name="connsiteX809" fmla="*/ 1293 w 10000"/>
                <a:gd name="connsiteY809" fmla="*/ 8460 h 10000"/>
                <a:gd name="connsiteX810" fmla="*/ 1275 w 10000"/>
                <a:gd name="connsiteY810" fmla="*/ 8460 h 10000"/>
                <a:gd name="connsiteX811" fmla="*/ 1265 w 10000"/>
                <a:gd name="connsiteY811" fmla="*/ 8450 h 10000"/>
                <a:gd name="connsiteX812" fmla="*/ 1258 w 10000"/>
                <a:gd name="connsiteY812" fmla="*/ 8441 h 10000"/>
                <a:gd name="connsiteX813" fmla="*/ 1245 w 10000"/>
                <a:gd name="connsiteY813" fmla="*/ 8424 h 10000"/>
                <a:gd name="connsiteX814" fmla="*/ 1237 w 10000"/>
                <a:gd name="connsiteY814" fmla="*/ 8408 h 10000"/>
                <a:gd name="connsiteX815" fmla="*/ 1217 w 10000"/>
                <a:gd name="connsiteY815" fmla="*/ 8373 h 10000"/>
                <a:gd name="connsiteX816" fmla="*/ 1202 w 10000"/>
                <a:gd name="connsiteY816" fmla="*/ 8333 h 10000"/>
                <a:gd name="connsiteX817" fmla="*/ 1182 w 10000"/>
                <a:gd name="connsiteY817" fmla="*/ 8296 h 10000"/>
                <a:gd name="connsiteX818" fmla="*/ 1162 w 10000"/>
                <a:gd name="connsiteY818" fmla="*/ 8268 h 10000"/>
                <a:gd name="connsiteX819" fmla="*/ 1149 w 10000"/>
                <a:gd name="connsiteY819" fmla="*/ 8256 h 10000"/>
                <a:gd name="connsiteX820" fmla="*/ 1139 w 10000"/>
                <a:gd name="connsiteY820" fmla="*/ 8249 h 10000"/>
                <a:gd name="connsiteX821" fmla="*/ 1126 w 10000"/>
                <a:gd name="connsiteY821" fmla="*/ 8240 h 10000"/>
                <a:gd name="connsiteX822" fmla="*/ 1114 w 10000"/>
                <a:gd name="connsiteY822" fmla="*/ 8240 h 10000"/>
                <a:gd name="connsiteX823" fmla="*/ 1091 w 10000"/>
                <a:gd name="connsiteY823" fmla="*/ 8242 h 10000"/>
                <a:gd name="connsiteX824" fmla="*/ 1071 w 10000"/>
                <a:gd name="connsiteY824" fmla="*/ 8252 h 10000"/>
                <a:gd name="connsiteX825" fmla="*/ 1048 w 10000"/>
                <a:gd name="connsiteY825" fmla="*/ 8261 h 10000"/>
                <a:gd name="connsiteX826" fmla="*/ 1030 w 10000"/>
                <a:gd name="connsiteY826" fmla="*/ 8273 h 10000"/>
                <a:gd name="connsiteX827" fmla="*/ 1010 w 10000"/>
                <a:gd name="connsiteY827" fmla="*/ 8287 h 10000"/>
                <a:gd name="connsiteX828" fmla="*/ 995 w 10000"/>
                <a:gd name="connsiteY828" fmla="*/ 8303 h 10000"/>
                <a:gd name="connsiteX829" fmla="*/ 975 w 10000"/>
                <a:gd name="connsiteY829" fmla="*/ 8322 h 10000"/>
                <a:gd name="connsiteX830" fmla="*/ 960 w 10000"/>
                <a:gd name="connsiteY830" fmla="*/ 8343 h 10000"/>
                <a:gd name="connsiteX831" fmla="*/ 927 w 10000"/>
                <a:gd name="connsiteY831" fmla="*/ 8380 h 10000"/>
                <a:gd name="connsiteX832" fmla="*/ 891 w 10000"/>
                <a:gd name="connsiteY832" fmla="*/ 8417 h 10000"/>
                <a:gd name="connsiteX833" fmla="*/ 874 w 10000"/>
                <a:gd name="connsiteY833" fmla="*/ 8436 h 10000"/>
                <a:gd name="connsiteX834" fmla="*/ 859 w 10000"/>
                <a:gd name="connsiteY834" fmla="*/ 8450 h 10000"/>
                <a:gd name="connsiteX835" fmla="*/ 838 w 10000"/>
                <a:gd name="connsiteY835" fmla="*/ 8462 h 10000"/>
                <a:gd name="connsiteX836" fmla="*/ 821 w 10000"/>
                <a:gd name="connsiteY836" fmla="*/ 8476 h 10000"/>
                <a:gd name="connsiteX837" fmla="*/ 742 w 10000"/>
                <a:gd name="connsiteY837" fmla="*/ 8562 h 10000"/>
                <a:gd name="connsiteX838" fmla="*/ 672 w 10000"/>
                <a:gd name="connsiteY838" fmla="*/ 8644 h 10000"/>
                <a:gd name="connsiteX839" fmla="*/ 639 w 10000"/>
                <a:gd name="connsiteY839" fmla="*/ 8684 h 10000"/>
                <a:gd name="connsiteX840" fmla="*/ 609 w 10000"/>
                <a:gd name="connsiteY840" fmla="*/ 8731 h 10000"/>
                <a:gd name="connsiteX841" fmla="*/ 583 w 10000"/>
                <a:gd name="connsiteY841" fmla="*/ 8777 h 10000"/>
                <a:gd name="connsiteX842" fmla="*/ 556 w 10000"/>
                <a:gd name="connsiteY842" fmla="*/ 8831 h 10000"/>
                <a:gd name="connsiteX843" fmla="*/ 545 w 10000"/>
                <a:gd name="connsiteY843" fmla="*/ 8852 h 10000"/>
                <a:gd name="connsiteX844" fmla="*/ 525 w 10000"/>
                <a:gd name="connsiteY844" fmla="*/ 8885 h 10000"/>
                <a:gd name="connsiteX845" fmla="*/ 503 w 10000"/>
                <a:gd name="connsiteY845" fmla="*/ 8925 h 10000"/>
                <a:gd name="connsiteX846" fmla="*/ 480 w 10000"/>
                <a:gd name="connsiteY846" fmla="*/ 8962 h 10000"/>
                <a:gd name="connsiteX847" fmla="*/ 465 w 10000"/>
                <a:gd name="connsiteY847" fmla="*/ 8981 h 10000"/>
                <a:gd name="connsiteX848" fmla="*/ 455 w 10000"/>
                <a:gd name="connsiteY848" fmla="*/ 8993 h 10000"/>
                <a:gd name="connsiteX849" fmla="*/ 444 w 10000"/>
                <a:gd name="connsiteY849" fmla="*/ 9000 h 10000"/>
                <a:gd name="connsiteX850" fmla="*/ 434 w 10000"/>
                <a:gd name="connsiteY850" fmla="*/ 9007 h 10000"/>
                <a:gd name="connsiteX851" fmla="*/ 432 w 10000"/>
                <a:gd name="connsiteY851" fmla="*/ 9007 h 10000"/>
                <a:gd name="connsiteX852" fmla="*/ 429 w 10000"/>
                <a:gd name="connsiteY852" fmla="*/ 9004 h 10000"/>
                <a:gd name="connsiteX853" fmla="*/ 427 w 10000"/>
                <a:gd name="connsiteY853" fmla="*/ 8997 h 10000"/>
                <a:gd name="connsiteX854" fmla="*/ 427 w 10000"/>
                <a:gd name="connsiteY854" fmla="*/ 8993 h 10000"/>
                <a:gd name="connsiteX855" fmla="*/ 424 w 10000"/>
                <a:gd name="connsiteY855" fmla="*/ 8976 h 10000"/>
                <a:gd name="connsiteX856" fmla="*/ 427 w 10000"/>
                <a:gd name="connsiteY856" fmla="*/ 8948 h 10000"/>
                <a:gd name="connsiteX857" fmla="*/ 437 w 10000"/>
                <a:gd name="connsiteY857" fmla="*/ 8913 h 10000"/>
                <a:gd name="connsiteX858" fmla="*/ 455 w 10000"/>
                <a:gd name="connsiteY858" fmla="*/ 8859 h 10000"/>
                <a:gd name="connsiteX859" fmla="*/ 462 w 10000"/>
                <a:gd name="connsiteY859" fmla="*/ 8834 h 10000"/>
                <a:gd name="connsiteX860" fmla="*/ 470 w 10000"/>
                <a:gd name="connsiteY860" fmla="*/ 8810 h 10000"/>
                <a:gd name="connsiteX861" fmla="*/ 472 w 10000"/>
                <a:gd name="connsiteY861" fmla="*/ 8794 h 10000"/>
                <a:gd name="connsiteX862" fmla="*/ 472 w 10000"/>
                <a:gd name="connsiteY862" fmla="*/ 8780 h 10000"/>
                <a:gd name="connsiteX863" fmla="*/ 462 w 10000"/>
                <a:gd name="connsiteY863" fmla="*/ 8784 h 10000"/>
                <a:gd name="connsiteX864" fmla="*/ 452 w 10000"/>
                <a:gd name="connsiteY864" fmla="*/ 8787 h 10000"/>
                <a:gd name="connsiteX865" fmla="*/ 437 w 10000"/>
                <a:gd name="connsiteY865" fmla="*/ 8794 h 10000"/>
                <a:gd name="connsiteX866" fmla="*/ 424 w 10000"/>
                <a:gd name="connsiteY866" fmla="*/ 8803 h 10000"/>
                <a:gd name="connsiteX867" fmla="*/ 394 w 10000"/>
                <a:gd name="connsiteY867" fmla="*/ 8829 h 10000"/>
                <a:gd name="connsiteX868" fmla="*/ 364 w 10000"/>
                <a:gd name="connsiteY868" fmla="*/ 8859 h 10000"/>
                <a:gd name="connsiteX869" fmla="*/ 311 w 10000"/>
                <a:gd name="connsiteY869" fmla="*/ 8922 h 10000"/>
                <a:gd name="connsiteX870" fmla="*/ 268 w 10000"/>
                <a:gd name="connsiteY870" fmla="*/ 8964 h 10000"/>
                <a:gd name="connsiteX871" fmla="*/ 205 w 10000"/>
                <a:gd name="connsiteY871" fmla="*/ 9016 h 10000"/>
                <a:gd name="connsiteX872" fmla="*/ 146 w 10000"/>
                <a:gd name="connsiteY872" fmla="*/ 9053 h 10000"/>
                <a:gd name="connsiteX873" fmla="*/ 139 w 10000"/>
                <a:gd name="connsiteY873" fmla="*/ 9063 h 10000"/>
                <a:gd name="connsiteX874" fmla="*/ 129 w 10000"/>
                <a:gd name="connsiteY874" fmla="*/ 9077 h 10000"/>
                <a:gd name="connsiteX875" fmla="*/ 126 w 10000"/>
                <a:gd name="connsiteY875" fmla="*/ 9086 h 10000"/>
                <a:gd name="connsiteX876" fmla="*/ 126 w 10000"/>
                <a:gd name="connsiteY876" fmla="*/ 9102 h 10000"/>
                <a:gd name="connsiteX877" fmla="*/ 129 w 10000"/>
                <a:gd name="connsiteY877" fmla="*/ 9116 h 10000"/>
                <a:gd name="connsiteX878" fmla="*/ 139 w 10000"/>
                <a:gd name="connsiteY878" fmla="*/ 9135 h 10000"/>
                <a:gd name="connsiteX879" fmla="*/ 149 w 10000"/>
                <a:gd name="connsiteY879" fmla="*/ 9151 h 10000"/>
                <a:gd name="connsiteX880" fmla="*/ 164 w 10000"/>
                <a:gd name="connsiteY880" fmla="*/ 9175 h 10000"/>
                <a:gd name="connsiteX881" fmla="*/ 184 w 10000"/>
                <a:gd name="connsiteY881" fmla="*/ 9196 h 10000"/>
                <a:gd name="connsiteX882" fmla="*/ 207 w 10000"/>
                <a:gd name="connsiteY882" fmla="*/ 9215 h 10000"/>
                <a:gd name="connsiteX883" fmla="*/ 227 w 10000"/>
                <a:gd name="connsiteY883" fmla="*/ 9233 h 10000"/>
                <a:gd name="connsiteX884" fmla="*/ 253 w 10000"/>
                <a:gd name="connsiteY884" fmla="*/ 9250 h 10000"/>
                <a:gd name="connsiteX885" fmla="*/ 303 w 10000"/>
                <a:gd name="connsiteY885" fmla="*/ 9282 h 10000"/>
                <a:gd name="connsiteX886" fmla="*/ 351 w 10000"/>
                <a:gd name="connsiteY886" fmla="*/ 9315 h 10000"/>
                <a:gd name="connsiteX887" fmla="*/ 414 w 10000"/>
                <a:gd name="connsiteY887" fmla="*/ 9364 h 10000"/>
                <a:gd name="connsiteX888" fmla="*/ 480 w 10000"/>
                <a:gd name="connsiteY888" fmla="*/ 9416 h 10000"/>
                <a:gd name="connsiteX889" fmla="*/ 513 w 10000"/>
                <a:gd name="connsiteY889" fmla="*/ 9437 h 10000"/>
                <a:gd name="connsiteX890" fmla="*/ 548 w 10000"/>
                <a:gd name="connsiteY890" fmla="*/ 9462 h 10000"/>
                <a:gd name="connsiteX891" fmla="*/ 581 w 10000"/>
                <a:gd name="connsiteY891" fmla="*/ 9483 h 10000"/>
                <a:gd name="connsiteX892" fmla="*/ 614 w 10000"/>
                <a:gd name="connsiteY892" fmla="*/ 9502 h 10000"/>
                <a:gd name="connsiteX893" fmla="*/ 641 w 10000"/>
                <a:gd name="connsiteY893" fmla="*/ 9525 h 10000"/>
                <a:gd name="connsiteX894" fmla="*/ 672 w 10000"/>
                <a:gd name="connsiteY894" fmla="*/ 9549 h 10000"/>
                <a:gd name="connsiteX895" fmla="*/ 702 w 10000"/>
                <a:gd name="connsiteY895" fmla="*/ 9568 h 10000"/>
                <a:gd name="connsiteX896" fmla="*/ 737 w 10000"/>
                <a:gd name="connsiteY896" fmla="*/ 9589 h 10000"/>
                <a:gd name="connsiteX897" fmla="*/ 770 w 10000"/>
                <a:gd name="connsiteY897" fmla="*/ 9605 h 10000"/>
                <a:gd name="connsiteX898" fmla="*/ 808 w 10000"/>
                <a:gd name="connsiteY898" fmla="*/ 9617 h 10000"/>
                <a:gd name="connsiteX899" fmla="*/ 843 w 10000"/>
                <a:gd name="connsiteY899" fmla="*/ 9624 h 10000"/>
                <a:gd name="connsiteX900" fmla="*/ 884 w 10000"/>
                <a:gd name="connsiteY900" fmla="*/ 9628 h 10000"/>
                <a:gd name="connsiteX901" fmla="*/ 902 w 10000"/>
                <a:gd name="connsiteY901" fmla="*/ 9628 h 10000"/>
                <a:gd name="connsiteX902" fmla="*/ 914 w 10000"/>
                <a:gd name="connsiteY902" fmla="*/ 9631 h 10000"/>
                <a:gd name="connsiteX903" fmla="*/ 932 w 10000"/>
                <a:gd name="connsiteY903" fmla="*/ 9638 h 10000"/>
                <a:gd name="connsiteX904" fmla="*/ 942 w 10000"/>
                <a:gd name="connsiteY904" fmla="*/ 9642 h 10000"/>
                <a:gd name="connsiteX905" fmla="*/ 967 w 10000"/>
                <a:gd name="connsiteY905" fmla="*/ 9652 h 10000"/>
                <a:gd name="connsiteX906" fmla="*/ 987 w 10000"/>
                <a:gd name="connsiteY906" fmla="*/ 9668 h 10000"/>
                <a:gd name="connsiteX907" fmla="*/ 1005 w 10000"/>
                <a:gd name="connsiteY907" fmla="*/ 9682 h 10000"/>
                <a:gd name="connsiteX908" fmla="*/ 1025 w 10000"/>
                <a:gd name="connsiteY908" fmla="*/ 9698 h 10000"/>
                <a:gd name="connsiteX909" fmla="*/ 1045 w 10000"/>
                <a:gd name="connsiteY909" fmla="*/ 9712 h 10000"/>
                <a:gd name="connsiteX910" fmla="*/ 1073 w 10000"/>
                <a:gd name="connsiteY910" fmla="*/ 9724 h 10000"/>
                <a:gd name="connsiteX911" fmla="*/ 1098 w 10000"/>
                <a:gd name="connsiteY911" fmla="*/ 9738 h 10000"/>
                <a:gd name="connsiteX912" fmla="*/ 1121 w 10000"/>
                <a:gd name="connsiteY912" fmla="*/ 9750 h 10000"/>
                <a:gd name="connsiteX913" fmla="*/ 1141 w 10000"/>
                <a:gd name="connsiteY913" fmla="*/ 9762 h 10000"/>
                <a:gd name="connsiteX914" fmla="*/ 1159 w 10000"/>
                <a:gd name="connsiteY914" fmla="*/ 9776 h 10000"/>
                <a:gd name="connsiteX915" fmla="*/ 1172 w 10000"/>
                <a:gd name="connsiteY915" fmla="*/ 9787 h 10000"/>
                <a:gd name="connsiteX916" fmla="*/ 1182 w 10000"/>
                <a:gd name="connsiteY916" fmla="*/ 9804 h 10000"/>
                <a:gd name="connsiteX917" fmla="*/ 1194 w 10000"/>
                <a:gd name="connsiteY917" fmla="*/ 9818 h 10000"/>
                <a:gd name="connsiteX918" fmla="*/ 1202 w 10000"/>
                <a:gd name="connsiteY918" fmla="*/ 9834 h 10000"/>
                <a:gd name="connsiteX919" fmla="*/ 1212 w 10000"/>
                <a:gd name="connsiteY919" fmla="*/ 9869 h 10000"/>
                <a:gd name="connsiteX920" fmla="*/ 1220 w 10000"/>
                <a:gd name="connsiteY920" fmla="*/ 9906 h 10000"/>
                <a:gd name="connsiteX921" fmla="*/ 1230 w 10000"/>
                <a:gd name="connsiteY921" fmla="*/ 9951 h 10000"/>
                <a:gd name="connsiteX922" fmla="*/ 1237 w 10000"/>
                <a:gd name="connsiteY922" fmla="*/ 10000 h 10000"/>
                <a:gd name="connsiteX923" fmla="*/ 1237 w 10000"/>
                <a:gd name="connsiteY92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167 w 10000"/>
                <a:gd name="connsiteY751" fmla="*/ 7742 h 10000"/>
                <a:gd name="connsiteX752" fmla="*/ 2162 w 10000"/>
                <a:gd name="connsiteY752" fmla="*/ 7775 h 10000"/>
                <a:gd name="connsiteX753" fmla="*/ 2159 w 10000"/>
                <a:gd name="connsiteY753" fmla="*/ 7833 h 10000"/>
                <a:gd name="connsiteX754" fmla="*/ 2157 w 10000"/>
                <a:gd name="connsiteY754" fmla="*/ 7882 h 10000"/>
                <a:gd name="connsiteX755" fmla="*/ 2157 w 10000"/>
                <a:gd name="connsiteY755" fmla="*/ 7938 h 10000"/>
                <a:gd name="connsiteX756" fmla="*/ 2159 w 10000"/>
                <a:gd name="connsiteY756" fmla="*/ 8006 h 10000"/>
                <a:gd name="connsiteX757" fmla="*/ 2162 w 10000"/>
                <a:gd name="connsiteY757" fmla="*/ 8079 h 10000"/>
                <a:gd name="connsiteX758" fmla="*/ 2159 w 10000"/>
                <a:gd name="connsiteY758" fmla="*/ 8156 h 10000"/>
                <a:gd name="connsiteX759" fmla="*/ 2157 w 10000"/>
                <a:gd name="connsiteY759" fmla="*/ 8193 h 10000"/>
                <a:gd name="connsiteX760" fmla="*/ 2154 w 10000"/>
                <a:gd name="connsiteY760" fmla="*/ 8228 h 10000"/>
                <a:gd name="connsiteX761" fmla="*/ 2146 w 10000"/>
                <a:gd name="connsiteY761" fmla="*/ 8261 h 10000"/>
                <a:gd name="connsiteX762" fmla="*/ 2136 w 10000"/>
                <a:gd name="connsiteY762" fmla="*/ 8291 h 10000"/>
                <a:gd name="connsiteX763" fmla="*/ 2124 w 10000"/>
                <a:gd name="connsiteY763" fmla="*/ 8319 h 10000"/>
                <a:gd name="connsiteX764" fmla="*/ 2109 w 10000"/>
                <a:gd name="connsiteY764" fmla="*/ 8345 h 10000"/>
                <a:gd name="connsiteX765" fmla="*/ 2098 w 10000"/>
                <a:gd name="connsiteY765" fmla="*/ 8354 h 10000"/>
                <a:gd name="connsiteX766" fmla="*/ 2088 w 10000"/>
                <a:gd name="connsiteY766" fmla="*/ 8364 h 10000"/>
                <a:gd name="connsiteX767" fmla="*/ 2078 w 10000"/>
                <a:gd name="connsiteY767" fmla="*/ 8373 h 10000"/>
                <a:gd name="connsiteX768" fmla="*/ 2063 w 10000"/>
                <a:gd name="connsiteY768" fmla="*/ 8380 h 10000"/>
                <a:gd name="connsiteX769" fmla="*/ 1990 w 10000"/>
                <a:gd name="connsiteY769" fmla="*/ 8422 h 10000"/>
                <a:gd name="connsiteX770" fmla="*/ 1904 w 10000"/>
                <a:gd name="connsiteY770" fmla="*/ 8481 h 10000"/>
                <a:gd name="connsiteX771" fmla="*/ 1856 w 10000"/>
                <a:gd name="connsiteY771" fmla="*/ 8506 h 10000"/>
                <a:gd name="connsiteX772" fmla="*/ 1816 w 10000"/>
                <a:gd name="connsiteY772" fmla="*/ 8527 h 10000"/>
                <a:gd name="connsiteX773" fmla="*/ 1793 w 10000"/>
                <a:gd name="connsiteY773" fmla="*/ 8539 h 10000"/>
                <a:gd name="connsiteX774" fmla="*/ 1775 w 10000"/>
                <a:gd name="connsiteY774" fmla="*/ 8546 h 10000"/>
                <a:gd name="connsiteX775" fmla="*/ 1758 w 10000"/>
                <a:gd name="connsiteY775" fmla="*/ 8548 h 10000"/>
                <a:gd name="connsiteX776" fmla="*/ 1742 w 10000"/>
                <a:gd name="connsiteY776" fmla="*/ 8551 h 10000"/>
                <a:gd name="connsiteX777" fmla="*/ 1727 w 10000"/>
                <a:gd name="connsiteY777" fmla="*/ 8537 h 10000"/>
                <a:gd name="connsiteX778" fmla="*/ 1717 w 10000"/>
                <a:gd name="connsiteY778" fmla="*/ 8518 h 10000"/>
                <a:gd name="connsiteX779" fmla="*/ 1710 w 10000"/>
                <a:gd name="connsiteY779" fmla="*/ 8499 h 10000"/>
                <a:gd name="connsiteX780" fmla="*/ 1702 w 10000"/>
                <a:gd name="connsiteY780" fmla="*/ 8476 h 10000"/>
                <a:gd name="connsiteX781" fmla="*/ 1684 w 10000"/>
                <a:gd name="connsiteY781" fmla="*/ 8429 h 10000"/>
                <a:gd name="connsiteX782" fmla="*/ 1674 w 10000"/>
                <a:gd name="connsiteY782" fmla="*/ 8380 h 10000"/>
                <a:gd name="connsiteX783" fmla="*/ 1667 w 10000"/>
                <a:gd name="connsiteY783" fmla="*/ 8329 h 10000"/>
                <a:gd name="connsiteX784" fmla="*/ 1659 w 10000"/>
                <a:gd name="connsiteY784" fmla="*/ 8282 h 10000"/>
                <a:gd name="connsiteX785" fmla="*/ 1657 w 10000"/>
                <a:gd name="connsiteY785" fmla="*/ 8235 h 10000"/>
                <a:gd name="connsiteX786" fmla="*/ 1657 w 10000"/>
                <a:gd name="connsiteY786" fmla="*/ 8195 h 10000"/>
                <a:gd name="connsiteX787" fmla="*/ 1652 w 10000"/>
                <a:gd name="connsiteY787" fmla="*/ 8191 h 10000"/>
                <a:gd name="connsiteX788" fmla="*/ 1586 w 10000"/>
                <a:gd name="connsiteY788" fmla="*/ 8188 h 10000"/>
                <a:gd name="connsiteX789" fmla="*/ 1525 w 10000"/>
                <a:gd name="connsiteY789" fmla="*/ 8186 h 10000"/>
                <a:gd name="connsiteX790" fmla="*/ 1500 w 10000"/>
                <a:gd name="connsiteY790" fmla="*/ 8191 h 10000"/>
                <a:gd name="connsiteX791" fmla="*/ 1472 w 10000"/>
                <a:gd name="connsiteY791" fmla="*/ 8198 h 10000"/>
                <a:gd name="connsiteX792" fmla="*/ 1457 w 10000"/>
                <a:gd name="connsiteY792" fmla="*/ 8205 h 10000"/>
                <a:gd name="connsiteX793" fmla="*/ 1444 w 10000"/>
                <a:gd name="connsiteY793" fmla="*/ 8212 h 10000"/>
                <a:gd name="connsiteX794" fmla="*/ 1434 w 10000"/>
                <a:gd name="connsiteY794" fmla="*/ 8223 h 10000"/>
                <a:gd name="connsiteX795" fmla="*/ 1419 w 10000"/>
                <a:gd name="connsiteY795" fmla="*/ 8233 h 10000"/>
                <a:gd name="connsiteX796" fmla="*/ 1412 w 10000"/>
                <a:gd name="connsiteY796" fmla="*/ 8247 h 10000"/>
                <a:gd name="connsiteX797" fmla="*/ 1402 w 10000"/>
                <a:gd name="connsiteY797" fmla="*/ 8261 h 10000"/>
                <a:gd name="connsiteX798" fmla="*/ 1394 w 10000"/>
                <a:gd name="connsiteY798" fmla="*/ 8275 h 10000"/>
                <a:gd name="connsiteX799" fmla="*/ 1386 w 10000"/>
                <a:gd name="connsiteY799" fmla="*/ 8294 h 10000"/>
                <a:gd name="connsiteX800" fmla="*/ 1374 w 10000"/>
                <a:gd name="connsiteY800" fmla="*/ 8331 h 10000"/>
                <a:gd name="connsiteX801" fmla="*/ 1361 w 10000"/>
                <a:gd name="connsiteY801" fmla="*/ 8368 h 10000"/>
                <a:gd name="connsiteX802" fmla="*/ 1354 w 10000"/>
                <a:gd name="connsiteY802" fmla="*/ 8387 h 10000"/>
                <a:gd name="connsiteX803" fmla="*/ 1346 w 10000"/>
                <a:gd name="connsiteY803" fmla="*/ 8406 h 10000"/>
                <a:gd name="connsiteX804" fmla="*/ 1338 w 10000"/>
                <a:gd name="connsiteY804" fmla="*/ 8420 h 10000"/>
                <a:gd name="connsiteX805" fmla="*/ 1328 w 10000"/>
                <a:gd name="connsiteY805" fmla="*/ 8436 h 10000"/>
                <a:gd name="connsiteX806" fmla="*/ 1316 w 10000"/>
                <a:gd name="connsiteY806" fmla="*/ 8446 h 10000"/>
                <a:gd name="connsiteX807" fmla="*/ 1306 w 10000"/>
                <a:gd name="connsiteY807" fmla="*/ 8453 h 10000"/>
                <a:gd name="connsiteX808" fmla="*/ 1293 w 10000"/>
                <a:gd name="connsiteY808" fmla="*/ 8460 h 10000"/>
                <a:gd name="connsiteX809" fmla="*/ 1275 w 10000"/>
                <a:gd name="connsiteY809" fmla="*/ 8460 h 10000"/>
                <a:gd name="connsiteX810" fmla="*/ 1265 w 10000"/>
                <a:gd name="connsiteY810" fmla="*/ 8450 h 10000"/>
                <a:gd name="connsiteX811" fmla="*/ 1258 w 10000"/>
                <a:gd name="connsiteY811" fmla="*/ 8441 h 10000"/>
                <a:gd name="connsiteX812" fmla="*/ 1245 w 10000"/>
                <a:gd name="connsiteY812" fmla="*/ 8424 h 10000"/>
                <a:gd name="connsiteX813" fmla="*/ 1237 w 10000"/>
                <a:gd name="connsiteY813" fmla="*/ 8408 h 10000"/>
                <a:gd name="connsiteX814" fmla="*/ 1217 w 10000"/>
                <a:gd name="connsiteY814" fmla="*/ 8373 h 10000"/>
                <a:gd name="connsiteX815" fmla="*/ 1202 w 10000"/>
                <a:gd name="connsiteY815" fmla="*/ 8333 h 10000"/>
                <a:gd name="connsiteX816" fmla="*/ 1182 w 10000"/>
                <a:gd name="connsiteY816" fmla="*/ 8296 h 10000"/>
                <a:gd name="connsiteX817" fmla="*/ 1162 w 10000"/>
                <a:gd name="connsiteY817" fmla="*/ 8268 h 10000"/>
                <a:gd name="connsiteX818" fmla="*/ 1149 w 10000"/>
                <a:gd name="connsiteY818" fmla="*/ 8256 h 10000"/>
                <a:gd name="connsiteX819" fmla="*/ 1139 w 10000"/>
                <a:gd name="connsiteY819" fmla="*/ 8249 h 10000"/>
                <a:gd name="connsiteX820" fmla="*/ 1126 w 10000"/>
                <a:gd name="connsiteY820" fmla="*/ 8240 h 10000"/>
                <a:gd name="connsiteX821" fmla="*/ 1114 w 10000"/>
                <a:gd name="connsiteY821" fmla="*/ 8240 h 10000"/>
                <a:gd name="connsiteX822" fmla="*/ 1091 w 10000"/>
                <a:gd name="connsiteY822" fmla="*/ 8242 h 10000"/>
                <a:gd name="connsiteX823" fmla="*/ 1071 w 10000"/>
                <a:gd name="connsiteY823" fmla="*/ 8252 h 10000"/>
                <a:gd name="connsiteX824" fmla="*/ 1048 w 10000"/>
                <a:gd name="connsiteY824" fmla="*/ 8261 h 10000"/>
                <a:gd name="connsiteX825" fmla="*/ 1030 w 10000"/>
                <a:gd name="connsiteY825" fmla="*/ 8273 h 10000"/>
                <a:gd name="connsiteX826" fmla="*/ 1010 w 10000"/>
                <a:gd name="connsiteY826" fmla="*/ 8287 h 10000"/>
                <a:gd name="connsiteX827" fmla="*/ 995 w 10000"/>
                <a:gd name="connsiteY827" fmla="*/ 8303 h 10000"/>
                <a:gd name="connsiteX828" fmla="*/ 975 w 10000"/>
                <a:gd name="connsiteY828" fmla="*/ 8322 h 10000"/>
                <a:gd name="connsiteX829" fmla="*/ 960 w 10000"/>
                <a:gd name="connsiteY829" fmla="*/ 8343 h 10000"/>
                <a:gd name="connsiteX830" fmla="*/ 927 w 10000"/>
                <a:gd name="connsiteY830" fmla="*/ 8380 h 10000"/>
                <a:gd name="connsiteX831" fmla="*/ 891 w 10000"/>
                <a:gd name="connsiteY831" fmla="*/ 8417 h 10000"/>
                <a:gd name="connsiteX832" fmla="*/ 874 w 10000"/>
                <a:gd name="connsiteY832" fmla="*/ 8436 h 10000"/>
                <a:gd name="connsiteX833" fmla="*/ 859 w 10000"/>
                <a:gd name="connsiteY833" fmla="*/ 8450 h 10000"/>
                <a:gd name="connsiteX834" fmla="*/ 838 w 10000"/>
                <a:gd name="connsiteY834" fmla="*/ 8462 h 10000"/>
                <a:gd name="connsiteX835" fmla="*/ 821 w 10000"/>
                <a:gd name="connsiteY835" fmla="*/ 8476 h 10000"/>
                <a:gd name="connsiteX836" fmla="*/ 742 w 10000"/>
                <a:gd name="connsiteY836" fmla="*/ 8562 h 10000"/>
                <a:gd name="connsiteX837" fmla="*/ 672 w 10000"/>
                <a:gd name="connsiteY837" fmla="*/ 8644 h 10000"/>
                <a:gd name="connsiteX838" fmla="*/ 639 w 10000"/>
                <a:gd name="connsiteY838" fmla="*/ 8684 h 10000"/>
                <a:gd name="connsiteX839" fmla="*/ 609 w 10000"/>
                <a:gd name="connsiteY839" fmla="*/ 8731 h 10000"/>
                <a:gd name="connsiteX840" fmla="*/ 583 w 10000"/>
                <a:gd name="connsiteY840" fmla="*/ 8777 h 10000"/>
                <a:gd name="connsiteX841" fmla="*/ 556 w 10000"/>
                <a:gd name="connsiteY841" fmla="*/ 8831 h 10000"/>
                <a:gd name="connsiteX842" fmla="*/ 545 w 10000"/>
                <a:gd name="connsiteY842" fmla="*/ 8852 h 10000"/>
                <a:gd name="connsiteX843" fmla="*/ 525 w 10000"/>
                <a:gd name="connsiteY843" fmla="*/ 8885 h 10000"/>
                <a:gd name="connsiteX844" fmla="*/ 503 w 10000"/>
                <a:gd name="connsiteY844" fmla="*/ 8925 h 10000"/>
                <a:gd name="connsiteX845" fmla="*/ 480 w 10000"/>
                <a:gd name="connsiteY845" fmla="*/ 8962 h 10000"/>
                <a:gd name="connsiteX846" fmla="*/ 465 w 10000"/>
                <a:gd name="connsiteY846" fmla="*/ 8981 h 10000"/>
                <a:gd name="connsiteX847" fmla="*/ 455 w 10000"/>
                <a:gd name="connsiteY847" fmla="*/ 8993 h 10000"/>
                <a:gd name="connsiteX848" fmla="*/ 444 w 10000"/>
                <a:gd name="connsiteY848" fmla="*/ 9000 h 10000"/>
                <a:gd name="connsiteX849" fmla="*/ 434 w 10000"/>
                <a:gd name="connsiteY849" fmla="*/ 9007 h 10000"/>
                <a:gd name="connsiteX850" fmla="*/ 432 w 10000"/>
                <a:gd name="connsiteY850" fmla="*/ 9007 h 10000"/>
                <a:gd name="connsiteX851" fmla="*/ 429 w 10000"/>
                <a:gd name="connsiteY851" fmla="*/ 9004 h 10000"/>
                <a:gd name="connsiteX852" fmla="*/ 427 w 10000"/>
                <a:gd name="connsiteY852" fmla="*/ 8997 h 10000"/>
                <a:gd name="connsiteX853" fmla="*/ 427 w 10000"/>
                <a:gd name="connsiteY853" fmla="*/ 8993 h 10000"/>
                <a:gd name="connsiteX854" fmla="*/ 424 w 10000"/>
                <a:gd name="connsiteY854" fmla="*/ 8976 h 10000"/>
                <a:gd name="connsiteX855" fmla="*/ 427 w 10000"/>
                <a:gd name="connsiteY855" fmla="*/ 8948 h 10000"/>
                <a:gd name="connsiteX856" fmla="*/ 437 w 10000"/>
                <a:gd name="connsiteY856" fmla="*/ 8913 h 10000"/>
                <a:gd name="connsiteX857" fmla="*/ 455 w 10000"/>
                <a:gd name="connsiteY857" fmla="*/ 8859 h 10000"/>
                <a:gd name="connsiteX858" fmla="*/ 462 w 10000"/>
                <a:gd name="connsiteY858" fmla="*/ 8834 h 10000"/>
                <a:gd name="connsiteX859" fmla="*/ 470 w 10000"/>
                <a:gd name="connsiteY859" fmla="*/ 8810 h 10000"/>
                <a:gd name="connsiteX860" fmla="*/ 472 w 10000"/>
                <a:gd name="connsiteY860" fmla="*/ 8794 h 10000"/>
                <a:gd name="connsiteX861" fmla="*/ 472 w 10000"/>
                <a:gd name="connsiteY861" fmla="*/ 8780 h 10000"/>
                <a:gd name="connsiteX862" fmla="*/ 462 w 10000"/>
                <a:gd name="connsiteY862" fmla="*/ 8784 h 10000"/>
                <a:gd name="connsiteX863" fmla="*/ 452 w 10000"/>
                <a:gd name="connsiteY863" fmla="*/ 8787 h 10000"/>
                <a:gd name="connsiteX864" fmla="*/ 437 w 10000"/>
                <a:gd name="connsiteY864" fmla="*/ 8794 h 10000"/>
                <a:gd name="connsiteX865" fmla="*/ 424 w 10000"/>
                <a:gd name="connsiteY865" fmla="*/ 8803 h 10000"/>
                <a:gd name="connsiteX866" fmla="*/ 394 w 10000"/>
                <a:gd name="connsiteY866" fmla="*/ 8829 h 10000"/>
                <a:gd name="connsiteX867" fmla="*/ 364 w 10000"/>
                <a:gd name="connsiteY867" fmla="*/ 8859 h 10000"/>
                <a:gd name="connsiteX868" fmla="*/ 311 w 10000"/>
                <a:gd name="connsiteY868" fmla="*/ 8922 h 10000"/>
                <a:gd name="connsiteX869" fmla="*/ 268 w 10000"/>
                <a:gd name="connsiteY869" fmla="*/ 8964 h 10000"/>
                <a:gd name="connsiteX870" fmla="*/ 205 w 10000"/>
                <a:gd name="connsiteY870" fmla="*/ 9016 h 10000"/>
                <a:gd name="connsiteX871" fmla="*/ 146 w 10000"/>
                <a:gd name="connsiteY871" fmla="*/ 9053 h 10000"/>
                <a:gd name="connsiteX872" fmla="*/ 139 w 10000"/>
                <a:gd name="connsiteY872" fmla="*/ 9063 h 10000"/>
                <a:gd name="connsiteX873" fmla="*/ 129 w 10000"/>
                <a:gd name="connsiteY873" fmla="*/ 9077 h 10000"/>
                <a:gd name="connsiteX874" fmla="*/ 126 w 10000"/>
                <a:gd name="connsiteY874" fmla="*/ 9086 h 10000"/>
                <a:gd name="connsiteX875" fmla="*/ 126 w 10000"/>
                <a:gd name="connsiteY875" fmla="*/ 9102 h 10000"/>
                <a:gd name="connsiteX876" fmla="*/ 129 w 10000"/>
                <a:gd name="connsiteY876" fmla="*/ 9116 h 10000"/>
                <a:gd name="connsiteX877" fmla="*/ 139 w 10000"/>
                <a:gd name="connsiteY877" fmla="*/ 9135 h 10000"/>
                <a:gd name="connsiteX878" fmla="*/ 149 w 10000"/>
                <a:gd name="connsiteY878" fmla="*/ 9151 h 10000"/>
                <a:gd name="connsiteX879" fmla="*/ 164 w 10000"/>
                <a:gd name="connsiteY879" fmla="*/ 9175 h 10000"/>
                <a:gd name="connsiteX880" fmla="*/ 184 w 10000"/>
                <a:gd name="connsiteY880" fmla="*/ 9196 h 10000"/>
                <a:gd name="connsiteX881" fmla="*/ 207 w 10000"/>
                <a:gd name="connsiteY881" fmla="*/ 9215 h 10000"/>
                <a:gd name="connsiteX882" fmla="*/ 227 w 10000"/>
                <a:gd name="connsiteY882" fmla="*/ 9233 h 10000"/>
                <a:gd name="connsiteX883" fmla="*/ 253 w 10000"/>
                <a:gd name="connsiteY883" fmla="*/ 9250 h 10000"/>
                <a:gd name="connsiteX884" fmla="*/ 303 w 10000"/>
                <a:gd name="connsiteY884" fmla="*/ 9282 h 10000"/>
                <a:gd name="connsiteX885" fmla="*/ 351 w 10000"/>
                <a:gd name="connsiteY885" fmla="*/ 9315 h 10000"/>
                <a:gd name="connsiteX886" fmla="*/ 414 w 10000"/>
                <a:gd name="connsiteY886" fmla="*/ 9364 h 10000"/>
                <a:gd name="connsiteX887" fmla="*/ 480 w 10000"/>
                <a:gd name="connsiteY887" fmla="*/ 9416 h 10000"/>
                <a:gd name="connsiteX888" fmla="*/ 513 w 10000"/>
                <a:gd name="connsiteY888" fmla="*/ 9437 h 10000"/>
                <a:gd name="connsiteX889" fmla="*/ 548 w 10000"/>
                <a:gd name="connsiteY889" fmla="*/ 9462 h 10000"/>
                <a:gd name="connsiteX890" fmla="*/ 581 w 10000"/>
                <a:gd name="connsiteY890" fmla="*/ 9483 h 10000"/>
                <a:gd name="connsiteX891" fmla="*/ 614 w 10000"/>
                <a:gd name="connsiteY891" fmla="*/ 9502 h 10000"/>
                <a:gd name="connsiteX892" fmla="*/ 641 w 10000"/>
                <a:gd name="connsiteY892" fmla="*/ 9525 h 10000"/>
                <a:gd name="connsiteX893" fmla="*/ 672 w 10000"/>
                <a:gd name="connsiteY893" fmla="*/ 9549 h 10000"/>
                <a:gd name="connsiteX894" fmla="*/ 702 w 10000"/>
                <a:gd name="connsiteY894" fmla="*/ 9568 h 10000"/>
                <a:gd name="connsiteX895" fmla="*/ 737 w 10000"/>
                <a:gd name="connsiteY895" fmla="*/ 9589 h 10000"/>
                <a:gd name="connsiteX896" fmla="*/ 770 w 10000"/>
                <a:gd name="connsiteY896" fmla="*/ 9605 h 10000"/>
                <a:gd name="connsiteX897" fmla="*/ 808 w 10000"/>
                <a:gd name="connsiteY897" fmla="*/ 9617 h 10000"/>
                <a:gd name="connsiteX898" fmla="*/ 843 w 10000"/>
                <a:gd name="connsiteY898" fmla="*/ 9624 h 10000"/>
                <a:gd name="connsiteX899" fmla="*/ 884 w 10000"/>
                <a:gd name="connsiteY899" fmla="*/ 9628 h 10000"/>
                <a:gd name="connsiteX900" fmla="*/ 902 w 10000"/>
                <a:gd name="connsiteY900" fmla="*/ 9628 h 10000"/>
                <a:gd name="connsiteX901" fmla="*/ 914 w 10000"/>
                <a:gd name="connsiteY901" fmla="*/ 9631 h 10000"/>
                <a:gd name="connsiteX902" fmla="*/ 932 w 10000"/>
                <a:gd name="connsiteY902" fmla="*/ 9638 h 10000"/>
                <a:gd name="connsiteX903" fmla="*/ 942 w 10000"/>
                <a:gd name="connsiteY903" fmla="*/ 9642 h 10000"/>
                <a:gd name="connsiteX904" fmla="*/ 967 w 10000"/>
                <a:gd name="connsiteY904" fmla="*/ 9652 h 10000"/>
                <a:gd name="connsiteX905" fmla="*/ 987 w 10000"/>
                <a:gd name="connsiteY905" fmla="*/ 9668 h 10000"/>
                <a:gd name="connsiteX906" fmla="*/ 1005 w 10000"/>
                <a:gd name="connsiteY906" fmla="*/ 9682 h 10000"/>
                <a:gd name="connsiteX907" fmla="*/ 1025 w 10000"/>
                <a:gd name="connsiteY907" fmla="*/ 9698 h 10000"/>
                <a:gd name="connsiteX908" fmla="*/ 1045 w 10000"/>
                <a:gd name="connsiteY908" fmla="*/ 9712 h 10000"/>
                <a:gd name="connsiteX909" fmla="*/ 1073 w 10000"/>
                <a:gd name="connsiteY909" fmla="*/ 9724 h 10000"/>
                <a:gd name="connsiteX910" fmla="*/ 1098 w 10000"/>
                <a:gd name="connsiteY910" fmla="*/ 9738 h 10000"/>
                <a:gd name="connsiteX911" fmla="*/ 1121 w 10000"/>
                <a:gd name="connsiteY911" fmla="*/ 9750 h 10000"/>
                <a:gd name="connsiteX912" fmla="*/ 1141 w 10000"/>
                <a:gd name="connsiteY912" fmla="*/ 9762 h 10000"/>
                <a:gd name="connsiteX913" fmla="*/ 1159 w 10000"/>
                <a:gd name="connsiteY913" fmla="*/ 9776 h 10000"/>
                <a:gd name="connsiteX914" fmla="*/ 1172 w 10000"/>
                <a:gd name="connsiteY914" fmla="*/ 9787 h 10000"/>
                <a:gd name="connsiteX915" fmla="*/ 1182 w 10000"/>
                <a:gd name="connsiteY915" fmla="*/ 9804 h 10000"/>
                <a:gd name="connsiteX916" fmla="*/ 1194 w 10000"/>
                <a:gd name="connsiteY916" fmla="*/ 9818 h 10000"/>
                <a:gd name="connsiteX917" fmla="*/ 1202 w 10000"/>
                <a:gd name="connsiteY917" fmla="*/ 9834 h 10000"/>
                <a:gd name="connsiteX918" fmla="*/ 1212 w 10000"/>
                <a:gd name="connsiteY918" fmla="*/ 9869 h 10000"/>
                <a:gd name="connsiteX919" fmla="*/ 1220 w 10000"/>
                <a:gd name="connsiteY919" fmla="*/ 9906 h 10000"/>
                <a:gd name="connsiteX920" fmla="*/ 1230 w 10000"/>
                <a:gd name="connsiteY920" fmla="*/ 9951 h 10000"/>
                <a:gd name="connsiteX921" fmla="*/ 1237 w 10000"/>
                <a:gd name="connsiteY921" fmla="*/ 10000 h 10000"/>
                <a:gd name="connsiteX922" fmla="*/ 1237 w 10000"/>
                <a:gd name="connsiteY92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889 w 10000"/>
                <a:gd name="connsiteY696" fmla="*/ 7349 h 10000"/>
                <a:gd name="connsiteX697" fmla="*/ 1909 w 10000"/>
                <a:gd name="connsiteY697" fmla="*/ 7359 h 10000"/>
                <a:gd name="connsiteX698" fmla="*/ 1927 w 10000"/>
                <a:gd name="connsiteY698" fmla="*/ 7368 h 10000"/>
                <a:gd name="connsiteX699" fmla="*/ 1949 w 10000"/>
                <a:gd name="connsiteY699" fmla="*/ 7370 h 10000"/>
                <a:gd name="connsiteX700" fmla="*/ 1972 w 10000"/>
                <a:gd name="connsiteY700" fmla="*/ 7373 h 10000"/>
                <a:gd name="connsiteX701" fmla="*/ 1995 w 10000"/>
                <a:gd name="connsiteY701" fmla="*/ 7373 h 10000"/>
                <a:gd name="connsiteX702" fmla="*/ 2020 w 10000"/>
                <a:gd name="connsiteY702" fmla="*/ 7368 h 10000"/>
                <a:gd name="connsiteX703" fmla="*/ 2088 w 10000"/>
                <a:gd name="connsiteY703" fmla="*/ 7340 h 10000"/>
                <a:gd name="connsiteX704" fmla="*/ 2169 w 10000"/>
                <a:gd name="connsiteY704" fmla="*/ 7295 h 10000"/>
                <a:gd name="connsiteX705" fmla="*/ 2215 w 10000"/>
                <a:gd name="connsiteY705" fmla="*/ 7281 h 10000"/>
                <a:gd name="connsiteX706" fmla="*/ 2253 w 10000"/>
                <a:gd name="connsiteY706" fmla="*/ 7270 h 10000"/>
                <a:gd name="connsiteX707" fmla="*/ 2268 w 10000"/>
                <a:gd name="connsiteY707" fmla="*/ 7265 h 10000"/>
                <a:gd name="connsiteX708" fmla="*/ 2285 w 10000"/>
                <a:gd name="connsiteY708" fmla="*/ 7265 h 10000"/>
                <a:gd name="connsiteX709" fmla="*/ 2298 w 10000"/>
                <a:gd name="connsiteY709" fmla="*/ 7270 h 10000"/>
                <a:gd name="connsiteX710" fmla="*/ 2311 w 10000"/>
                <a:gd name="connsiteY710" fmla="*/ 7277 h 10000"/>
                <a:gd name="connsiteX711" fmla="*/ 2328 w 10000"/>
                <a:gd name="connsiteY711" fmla="*/ 7293 h 10000"/>
                <a:gd name="connsiteX712" fmla="*/ 2348 w 10000"/>
                <a:gd name="connsiteY712" fmla="*/ 7312 h 10000"/>
                <a:gd name="connsiteX713" fmla="*/ 2364 w 10000"/>
                <a:gd name="connsiteY713" fmla="*/ 7335 h 10000"/>
                <a:gd name="connsiteX714" fmla="*/ 2381 w 10000"/>
                <a:gd name="connsiteY714" fmla="*/ 7356 h 10000"/>
                <a:gd name="connsiteX715" fmla="*/ 2414 w 10000"/>
                <a:gd name="connsiteY715" fmla="*/ 7403 h 10000"/>
                <a:gd name="connsiteX716" fmla="*/ 2439 w 10000"/>
                <a:gd name="connsiteY716" fmla="*/ 7445 h 10000"/>
                <a:gd name="connsiteX717" fmla="*/ 2452 w 10000"/>
                <a:gd name="connsiteY717" fmla="*/ 7459 h 10000"/>
                <a:gd name="connsiteX718" fmla="*/ 2460 w 10000"/>
                <a:gd name="connsiteY718" fmla="*/ 7466 h 10000"/>
                <a:gd name="connsiteX719" fmla="*/ 2470 w 10000"/>
                <a:gd name="connsiteY719" fmla="*/ 7473 h 10000"/>
                <a:gd name="connsiteX720" fmla="*/ 2482 w 10000"/>
                <a:gd name="connsiteY720" fmla="*/ 7475 h 10000"/>
                <a:gd name="connsiteX721" fmla="*/ 2490 w 10000"/>
                <a:gd name="connsiteY721" fmla="*/ 7475 h 10000"/>
                <a:gd name="connsiteX722" fmla="*/ 2500 w 10000"/>
                <a:gd name="connsiteY722" fmla="*/ 7473 h 10000"/>
                <a:gd name="connsiteX723" fmla="*/ 2508 w 10000"/>
                <a:gd name="connsiteY723" fmla="*/ 7471 h 10000"/>
                <a:gd name="connsiteX724" fmla="*/ 2520 w 10000"/>
                <a:gd name="connsiteY724" fmla="*/ 7466 h 10000"/>
                <a:gd name="connsiteX725" fmla="*/ 2558 w 10000"/>
                <a:gd name="connsiteY725" fmla="*/ 7438 h 10000"/>
                <a:gd name="connsiteX726" fmla="*/ 2593 w 10000"/>
                <a:gd name="connsiteY726" fmla="*/ 7415 h 10000"/>
                <a:gd name="connsiteX727" fmla="*/ 2598 w 10000"/>
                <a:gd name="connsiteY727" fmla="*/ 7412 h 10000"/>
                <a:gd name="connsiteX728" fmla="*/ 2606 w 10000"/>
                <a:gd name="connsiteY728" fmla="*/ 7412 h 10000"/>
                <a:gd name="connsiteX729" fmla="*/ 2611 w 10000"/>
                <a:gd name="connsiteY729" fmla="*/ 7412 h 10000"/>
                <a:gd name="connsiteX730" fmla="*/ 2621 w 10000"/>
                <a:gd name="connsiteY730" fmla="*/ 7415 h 10000"/>
                <a:gd name="connsiteX731" fmla="*/ 2631 w 10000"/>
                <a:gd name="connsiteY731" fmla="*/ 7419 h 10000"/>
                <a:gd name="connsiteX732" fmla="*/ 2644 w 10000"/>
                <a:gd name="connsiteY732" fmla="*/ 7431 h 10000"/>
                <a:gd name="connsiteX733" fmla="*/ 2657 w 10000"/>
                <a:gd name="connsiteY733" fmla="*/ 7445 h 10000"/>
                <a:gd name="connsiteX734" fmla="*/ 2664 w 10000"/>
                <a:gd name="connsiteY734" fmla="*/ 7461 h 10000"/>
                <a:gd name="connsiteX735" fmla="*/ 2672 w 10000"/>
                <a:gd name="connsiteY735" fmla="*/ 7480 h 10000"/>
                <a:gd name="connsiteX736" fmla="*/ 2679 w 10000"/>
                <a:gd name="connsiteY736" fmla="*/ 7501 h 10000"/>
                <a:gd name="connsiteX737" fmla="*/ 2687 w 10000"/>
                <a:gd name="connsiteY737" fmla="*/ 7525 h 10000"/>
                <a:gd name="connsiteX738" fmla="*/ 2689 w 10000"/>
                <a:gd name="connsiteY738" fmla="*/ 7543 h 10000"/>
                <a:gd name="connsiteX739" fmla="*/ 2692 w 10000"/>
                <a:gd name="connsiteY739" fmla="*/ 7567 h 10000"/>
                <a:gd name="connsiteX740" fmla="*/ 2692 w 10000"/>
                <a:gd name="connsiteY740" fmla="*/ 7588 h 10000"/>
                <a:gd name="connsiteX741" fmla="*/ 2692 w 10000"/>
                <a:gd name="connsiteY741" fmla="*/ 7604 h 10000"/>
                <a:gd name="connsiteX742" fmla="*/ 2689 w 10000"/>
                <a:gd name="connsiteY742" fmla="*/ 7623 h 10000"/>
                <a:gd name="connsiteX743" fmla="*/ 2684 w 10000"/>
                <a:gd name="connsiteY743" fmla="*/ 7637 h 10000"/>
                <a:gd name="connsiteX744" fmla="*/ 2674 w 10000"/>
                <a:gd name="connsiteY744" fmla="*/ 7648 h 10000"/>
                <a:gd name="connsiteX745" fmla="*/ 2664 w 10000"/>
                <a:gd name="connsiteY745" fmla="*/ 7658 h 10000"/>
                <a:gd name="connsiteX746" fmla="*/ 2654 w 10000"/>
                <a:gd name="connsiteY746" fmla="*/ 7667 h 10000"/>
                <a:gd name="connsiteX747" fmla="*/ 2639 w 10000"/>
                <a:gd name="connsiteY747" fmla="*/ 7672 h 10000"/>
                <a:gd name="connsiteX748" fmla="*/ 2624 w 10000"/>
                <a:gd name="connsiteY748" fmla="*/ 7681 h 10000"/>
                <a:gd name="connsiteX749" fmla="*/ 2591 w 10000"/>
                <a:gd name="connsiteY749" fmla="*/ 7688 h 10000"/>
                <a:gd name="connsiteX750" fmla="*/ 2518 w 10000"/>
                <a:gd name="connsiteY750" fmla="*/ 7693 h 10000"/>
                <a:gd name="connsiteX751" fmla="*/ 2167 w 10000"/>
                <a:gd name="connsiteY751" fmla="*/ 7742 h 10000"/>
                <a:gd name="connsiteX752" fmla="*/ 2159 w 10000"/>
                <a:gd name="connsiteY752" fmla="*/ 7833 h 10000"/>
                <a:gd name="connsiteX753" fmla="*/ 2157 w 10000"/>
                <a:gd name="connsiteY753" fmla="*/ 7882 h 10000"/>
                <a:gd name="connsiteX754" fmla="*/ 2157 w 10000"/>
                <a:gd name="connsiteY754" fmla="*/ 7938 h 10000"/>
                <a:gd name="connsiteX755" fmla="*/ 2159 w 10000"/>
                <a:gd name="connsiteY755" fmla="*/ 8006 h 10000"/>
                <a:gd name="connsiteX756" fmla="*/ 2162 w 10000"/>
                <a:gd name="connsiteY756" fmla="*/ 8079 h 10000"/>
                <a:gd name="connsiteX757" fmla="*/ 2159 w 10000"/>
                <a:gd name="connsiteY757" fmla="*/ 8156 h 10000"/>
                <a:gd name="connsiteX758" fmla="*/ 2157 w 10000"/>
                <a:gd name="connsiteY758" fmla="*/ 8193 h 10000"/>
                <a:gd name="connsiteX759" fmla="*/ 2154 w 10000"/>
                <a:gd name="connsiteY759" fmla="*/ 8228 h 10000"/>
                <a:gd name="connsiteX760" fmla="*/ 2146 w 10000"/>
                <a:gd name="connsiteY760" fmla="*/ 8261 h 10000"/>
                <a:gd name="connsiteX761" fmla="*/ 2136 w 10000"/>
                <a:gd name="connsiteY761" fmla="*/ 8291 h 10000"/>
                <a:gd name="connsiteX762" fmla="*/ 2124 w 10000"/>
                <a:gd name="connsiteY762" fmla="*/ 8319 h 10000"/>
                <a:gd name="connsiteX763" fmla="*/ 2109 w 10000"/>
                <a:gd name="connsiteY763" fmla="*/ 8345 h 10000"/>
                <a:gd name="connsiteX764" fmla="*/ 2098 w 10000"/>
                <a:gd name="connsiteY764" fmla="*/ 8354 h 10000"/>
                <a:gd name="connsiteX765" fmla="*/ 2088 w 10000"/>
                <a:gd name="connsiteY765" fmla="*/ 8364 h 10000"/>
                <a:gd name="connsiteX766" fmla="*/ 2078 w 10000"/>
                <a:gd name="connsiteY766" fmla="*/ 8373 h 10000"/>
                <a:gd name="connsiteX767" fmla="*/ 2063 w 10000"/>
                <a:gd name="connsiteY767" fmla="*/ 8380 h 10000"/>
                <a:gd name="connsiteX768" fmla="*/ 1990 w 10000"/>
                <a:gd name="connsiteY768" fmla="*/ 8422 h 10000"/>
                <a:gd name="connsiteX769" fmla="*/ 1904 w 10000"/>
                <a:gd name="connsiteY769" fmla="*/ 8481 h 10000"/>
                <a:gd name="connsiteX770" fmla="*/ 1856 w 10000"/>
                <a:gd name="connsiteY770" fmla="*/ 8506 h 10000"/>
                <a:gd name="connsiteX771" fmla="*/ 1816 w 10000"/>
                <a:gd name="connsiteY771" fmla="*/ 8527 h 10000"/>
                <a:gd name="connsiteX772" fmla="*/ 1793 w 10000"/>
                <a:gd name="connsiteY772" fmla="*/ 8539 h 10000"/>
                <a:gd name="connsiteX773" fmla="*/ 1775 w 10000"/>
                <a:gd name="connsiteY773" fmla="*/ 8546 h 10000"/>
                <a:gd name="connsiteX774" fmla="*/ 1758 w 10000"/>
                <a:gd name="connsiteY774" fmla="*/ 8548 h 10000"/>
                <a:gd name="connsiteX775" fmla="*/ 1742 w 10000"/>
                <a:gd name="connsiteY775" fmla="*/ 8551 h 10000"/>
                <a:gd name="connsiteX776" fmla="*/ 1727 w 10000"/>
                <a:gd name="connsiteY776" fmla="*/ 8537 h 10000"/>
                <a:gd name="connsiteX777" fmla="*/ 1717 w 10000"/>
                <a:gd name="connsiteY777" fmla="*/ 8518 h 10000"/>
                <a:gd name="connsiteX778" fmla="*/ 1710 w 10000"/>
                <a:gd name="connsiteY778" fmla="*/ 8499 h 10000"/>
                <a:gd name="connsiteX779" fmla="*/ 1702 w 10000"/>
                <a:gd name="connsiteY779" fmla="*/ 8476 h 10000"/>
                <a:gd name="connsiteX780" fmla="*/ 1684 w 10000"/>
                <a:gd name="connsiteY780" fmla="*/ 8429 h 10000"/>
                <a:gd name="connsiteX781" fmla="*/ 1674 w 10000"/>
                <a:gd name="connsiteY781" fmla="*/ 8380 h 10000"/>
                <a:gd name="connsiteX782" fmla="*/ 1667 w 10000"/>
                <a:gd name="connsiteY782" fmla="*/ 8329 h 10000"/>
                <a:gd name="connsiteX783" fmla="*/ 1659 w 10000"/>
                <a:gd name="connsiteY783" fmla="*/ 8282 h 10000"/>
                <a:gd name="connsiteX784" fmla="*/ 1657 w 10000"/>
                <a:gd name="connsiteY784" fmla="*/ 8235 h 10000"/>
                <a:gd name="connsiteX785" fmla="*/ 1657 w 10000"/>
                <a:gd name="connsiteY785" fmla="*/ 8195 h 10000"/>
                <a:gd name="connsiteX786" fmla="*/ 1652 w 10000"/>
                <a:gd name="connsiteY786" fmla="*/ 8191 h 10000"/>
                <a:gd name="connsiteX787" fmla="*/ 1586 w 10000"/>
                <a:gd name="connsiteY787" fmla="*/ 8188 h 10000"/>
                <a:gd name="connsiteX788" fmla="*/ 1525 w 10000"/>
                <a:gd name="connsiteY788" fmla="*/ 8186 h 10000"/>
                <a:gd name="connsiteX789" fmla="*/ 1500 w 10000"/>
                <a:gd name="connsiteY789" fmla="*/ 8191 h 10000"/>
                <a:gd name="connsiteX790" fmla="*/ 1472 w 10000"/>
                <a:gd name="connsiteY790" fmla="*/ 8198 h 10000"/>
                <a:gd name="connsiteX791" fmla="*/ 1457 w 10000"/>
                <a:gd name="connsiteY791" fmla="*/ 8205 h 10000"/>
                <a:gd name="connsiteX792" fmla="*/ 1444 w 10000"/>
                <a:gd name="connsiteY792" fmla="*/ 8212 h 10000"/>
                <a:gd name="connsiteX793" fmla="*/ 1434 w 10000"/>
                <a:gd name="connsiteY793" fmla="*/ 8223 h 10000"/>
                <a:gd name="connsiteX794" fmla="*/ 1419 w 10000"/>
                <a:gd name="connsiteY794" fmla="*/ 8233 h 10000"/>
                <a:gd name="connsiteX795" fmla="*/ 1412 w 10000"/>
                <a:gd name="connsiteY795" fmla="*/ 8247 h 10000"/>
                <a:gd name="connsiteX796" fmla="*/ 1402 w 10000"/>
                <a:gd name="connsiteY796" fmla="*/ 8261 h 10000"/>
                <a:gd name="connsiteX797" fmla="*/ 1394 w 10000"/>
                <a:gd name="connsiteY797" fmla="*/ 8275 h 10000"/>
                <a:gd name="connsiteX798" fmla="*/ 1386 w 10000"/>
                <a:gd name="connsiteY798" fmla="*/ 8294 h 10000"/>
                <a:gd name="connsiteX799" fmla="*/ 1374 w 10000"/>
                <a:gd name="connsiteY799" fmla="*/ 8331 h 10000"/>
                <a:gd name="connsiteX800" fmla="*/ 1361 w 10000"/>
                <a:gd name="connsiteY800" fmla="*/ 8368 h 10000"/>
                <a:gd name="connsiteX801" fmla="*/ 1354 w 10000"/>
                <a:gd name="connsiteY801" fmla="*/ 8387 h 10000"/>
                <a:gd name="connsiteX802" fmla="*/ 1346 w 10000"/>
                <a:gd name="connsiteY802" fmla="*/ 8406 h 10000"/>
                <a:gd name="connsiteX803" fmla="*/ 1338 w 10000"/>
                <a:gd name="connsiteY803" fmla="*/ 8420 h 10000"/>
                <a:gd name="connsiteX804" fmla="*/ 1328 w 10000"/>
                <a:gd name="connsiteY804" fmla="*/ 8436 h 10000"/>
                <a:gd name="connsiteX805" fmla="*/ 1316 w 10000"/>
                <a:gd name="connsiteY805" fmla="*/ 8446 h 10000"/>
                <a:gd name="connsiteX806" fmla="*/ 1306 w 10000"/>
                <a:gd name="connsiteY806" fmla="*/ 8453 h 10000"/>
                <a:gd name="connsiteX807" fmla="*/ 1293 w 10000"/>
                <a:gd name="connsiteY807" fmla="*/ 8460 h 10000"/>
                <a:gd name="connsiteX808" fmla="*/ 1275 w 10000"/>
                <a:gd name="connsiteY808" fmla="*/ 8460 h 10000"/>
                <a:gd name="connsiteX809" fmla="*/ 1265 w 10000"/>
                <a:gd name="connsiteY809" fmla="*/ 8450 h 10000"/>
                <a:gd name="connsiteX810" fmla="*/ 1258 w 10000"/>
                <a:gd name="connsiteY810" fmla="*/ 8441 h 10000"/>
                <a:gd name="connsiteX811" fmla="*/ 1245 w 10000"/>
                <a:gd name="connsiteY811" fmla="*/ 8424 h 10000"/>
                <a:gd name="connsiteX812" fmla="*/ 1237 w 10000"/>
                <a:gd name="connsiteY812" fmla="*/ 8408 h 10000"/>
                <a:gd name="connsiteX813" fmla="*/ 1217 w 10000"/>
                <a:gd name="connsiteY813" fmla="*/ 8373 h 10000"/>
                <a:gd name="connsiteX814" fmla="*/ 1202 w 10000"/>
                <a:gd name="connsiteY814" fmla="*/ 8333 h 10000"/>
                <a:gd name="connsiteX815" fmla="*/ 1182 w 10000"/>
                <a:gd name="connsiteY815" fmla="*/ 8296 h 10000"/>
                <a:gd name="connsiteX816" fmla="*/ 1162 w 10000"/>
                <a:gd name="connsiteY816" fmla="*/ 8268 h 10000"/>
                <a:gd name="connsiteX817" fmla="*/ 1149 w 10000"/>
                <a:gd name="connsiteY817" fmla="*/ 8256 h 10000"/>
                <a:gd name="connsiteX818" fmla="*/ 1139 w 10000"/>
                <a:gd name="connsiteY818" fmla="*/ 8249 h 10000"/>
                <a:gd name="connsiteX819" fmla="*/ 1126 w 10000"/>
                <a:gd name="connsiteY819" fmla="*/ 8240 h 10000"/>
                <a:gd name="connsiteX820" fmla="*/ 1114 w 10000"/>
                <a:gd name="connsiteY820" fmla="*/ 8240 h 10000"/>
                <a:gd name="connsiteX821" fmla="*/ 1091 w 10000"/>
                <a:gd name="connsiteY821" fmla="*/ 8242 h 10000"/>
                <a:gd name="connsiteX822" fmla="*/ 1071 w 10000"/>
                <a:gd name="connsiteY822" fmla="*/ 8252 h 10000"/>
                <a:gd name="connsiteX823" fmla="*/ 1048 w 10000"/>
                <a:gd name="connsiteY823" fmla="*/ 8261 h 10000"/>
                <a:gd name="connsiteX824" fmla="*/ 1030 w 10000"/>
                <a:gd name="connsiteY824" fmla="*/ 8273 h 10000"/>
                <a:gd name="connsiteX825" fmla="*/ 1010 w 10000"/>
                <a:gd name="connsiteY825" fmla="*/ 8287 h 10000"/>
                <a:gd name="connsiteX826" fmla="*/ 995 w 10000"/>
                <a:gd name="connsiteY826" fmla="*/ 8303 h 10000"/>
                <a:gd name="connsiteX827" fmla="*/ 975 w 10000"/>
                <a:gd name="connsiteY827" fmla="*/ 8322 h 10000"/>
                <a:gd name="connsiteX828" fmla="*/ 960 w 10000"/>
                <a:gd name="connsiteY828" fmla="*/ 8343 h 10000"/>
                <a:gd name="connsiteX829" fmla="*/ 927 w 10000"/>
                <a:gd name="connsiteY829" fmla="*/ 8380 h 10000"/>
                <a:gd name="connsiteX830" fmla="*/ 891 w 10000"/>
                <a:gd name="connsiteY830" fmla="*/ 8417 h 10000"/>
                <a:gd name="connsiteX831" fmla="*/ 874 w 10000"/>
                <a:gd name="connsiteY831" fmla="*/ 8436 h 10000"/>
                <a:gd name="connsiteX832" fmla="*/ 859 w 10000"/>
                <a:gd name="connsiteY832" fmla="*/ 8450 h 10000"/>
                <a:gd name="connsiteX833" fmla="*/ 838 w 10000"/>
                <a:gd name="connsiteY833" fmla="*/ 8462 h 10000"/>
                <a:gd name="connsiteX834" fmla="*/ 821 w 10000"/>
                <a:gd name="connsiteY834" fmla="*/ 8476 h 10000"/>
                <a:gd name="connsiteX835" fmla="*/ 742 w 10000"/>
                <a:gd name="connsiteY835" fmla="*/ 8562 h 10000"/>
                <a:gd name="connsiteX836" fmla="*/ 672 w 10000"/>
                <a:gd name="connsiteY836" fmla="*/ 8644 h 10000"/>
                <a:gd name="connsiteX837" fmla="*/ 639 w 10000"/>
                <a:gd name="connsiteY837" fmla="*/ 8684 h 10000"/>
                <a:gd name="connsiteX838" fmla="*/ 609 w 10000"/>
                <a:gd name="connsiteY838" fmla="*/ 8731 h 10000"/>
                <a:gd name="connsiteX839" fmla="*/ 583 w 10000"/>
                <a:gd name="connsiteY839" fmla="*/ 8777 h 10000"/>
                <a:gd name="connsiteX840" fmla="*/ 556 w 10000"/>
                <a:gd name="connsiteY840" fmla="*/ 8831 h 10000"/>
                <a:gd name="connsiteX841" fmla="*/ 545 w 10000"/>
                <a:gd name="connsiteY841" fmla="*/ 8852 h 10000"/>
                <a:gd name="connsiteX842" fmla="*/ 525 w 10000"/>
                <a:gd name="connsiteY842" fmla="*/ 8885 h 10000"/>
                <a:gd name="connsiteX843" fmla="*/ 503 w 10000"/>
                <a:gd name="connsiteY843" fmla="*/ 8925 h 10000"/>
                <a:gd name="connsiteX844" fmla="*/ 480 w 10000"/>
                <a:gd name="connsiteY844" fmla="*/ 8962 h 10000"/>
                <a:gd name="connsiteX845" fmla="*/ 465 w 10000"/>
                <a:gd name="connsiteY845" fmla="*/ 8981 h 10000"/>
                <a:gd name="connsiteX846" fmla="*/ 455 w 10000"/>
                <a:gd name="connsiteY846" fmla="*/ 8993 h 10000"/>
                <a:gd name="connsiteX847" fmla="*/ 444 w 10000"/>
                <a:gd name="connsiteY847" fmla="*/ 9000 h 10000"/>
                <a:gd name="connsiteX848" fmla="*/ 434 w 10000"/>
                <a:gd name="connsiteY848" fmla="*/ 9007 h 10000"/>
                <a:gd name="connsiteX849" fmla="*/ 432 w 10000"/>
                <a:gd name="connsiteY849" fmla="*/ 9007 h 10000"/>
                <a:gd name="connsiteX850" fmla="*/ 429 w 10000"/>
                <a:gd name="connsiteY850" fmla="*/ 9004 h 10000"/>
                <a:gd name="connsiteX851" fmla="*/ 427 w 10000"/>
                <a:gd name="connsiteY851" fmla="*/ 8997 h 10000"/>
                <a:gd name="connsiteX852" fmla="*/ 427 w 10000"/>
                <a:gd name="connsiteY852" fmla="*/ 8993 h 10000"/>
                <a:gd name="connsiteX853" fmla="*/ 424 w 10000"/>
                <a:gd name="connsiteY853" fmla="*/ 8976 h 10000"/>
                <a:gd name="connsiteX854" fmla="*/ 427 w 10000"/>
                <a:gd name="connsiteY854" fmla="*/ 8948 h 10000"/>
                <a:gd name="connsiteX855" fmla="*/ 437 w 10000"/>
                <a:gd name="connsiteY855" fmla="*/ 8913 h 10000"/>
                <a:gd name="connsiteX856" fmla="*/ 455 w 10000"/>
                <a:gd name="connsiteY856" fmla="*/ 8859 h 10000"/>
                <a:gd name="connsiteX857" fmla="*/ 462 w 10000"/>
                <a:gd name="connsiteY857" fmla="*/ 8834 h 10000"/>
                <a:gd name="connsiteX858" fmla="*/ 470 w 10000"/>
                <a:gd name="connsiteY858" fmla="*/ 8810 h 10000"/>
                <a:gd name="connsiteX859" fmla="*/ 472 w 10000"/>
                <a:gd name="connsiteY859" fmla="*/ 8794 h 10000"/>
                <a:gd name="connsiteX860" fmla="*/ 472 w 10000"/>
                <a:gd name="connsiteY860" fmla="*/ 8780 h 10000"/>
                <a:gd name="connsiteX861" fmla="*/ 462 w 10000"/>
                <a:gd name="connsiteY861" fmla="*/ 8784 h 10000"/>
                <a:gd name="connsiteX862" fmla="*/ 452 w 10000"/>
                <a:gd name="connsiteY862" fmla="*/ 8787 h 10000"/>
                <a:gd name="connsiteX863" fmla="*/ 437 w 10000"/>
                <a:gd name="connsiteY863" fmla="*/ 8794 h 10000"/>
                <a:gd name="connsiteX864" fmla="*/ 424 w 10000"/>
                <a:gd name="connsiteY864" fmla="*/ 8803 h 10000"/>
                <a:gd name="connsiteX865" fmla="*/ 394 w 10000"/>
                <a:gd name="connsiteY865" fmla="*/ 8829 h 10000"/>
                <a:gd name="connsiteX866" fmla="*/ 364 w 10000"/>
                <a:gd name="connsiteY866" fmla="*/ 8859 h 10000"/>
                <a:gd name="connsiteX867" fmla="*/ 311 w 10000"/>
                <a:gd name="connsiteY867" fmla="*/ 8922 h 10000"/>
                <a:gd name="connsiteX868" fmla="*/ 268 w 10000"/>
                <a:gd name="connsiteY868" fmla="*/ 8964 h 10000"/>
                <a:gd name="connsiteX869" fmla="*/ 205 w 10000"/>
                <a:gd name="connsiteY869" fmla="*/ 9016 h 10000"/>
                <a:gd name="connsiteX870" fmla="*/ 146 w 10000"/>
                <a:gd name="connsiteY870" fmla="*/ 9053 h 10000"/>
                <a:gd name="connsiteX871" fmla="*/ 139 w 10000"/>
                <a:gd name="connsiteY871" fmla="*/ 9063 h 10000"/>
                <a:gd name="connsiteX872" fmla="*/ 129 w 10000"/>
                <a:gd name="connsiteY872" fmla="*/ 9077 h 10000"/>
                <a:gd name="connsiteX873" fmla="*/ 126 w 10000"/>
                <a:gd name="connsiteY873" fmla="*/ 9086 h 10000"/>
                <a:gd name="connsiteX874" fmla="*/ 126 w 10000"/>
                <a:gd name="connsiteY874" fmla="*/ 9102 h 10000"/>
                <a:gd name="connsiteX875" fmla="*/ 129 w 10000"/>
                <a:gd name="connsiteY875" fmla="*/ 9116 h 10000"/>
                <a:gd name="connsiteX876" fmla="*/ 139 w 10000"/>
                <a:gd name="connsiteY876" fmla="*/ 9135 h 10000"/>
                <a:gd name="connsiteX877" fmla="*/ 149 w 10000"/>
                <a:gd name="connsiteY877" fmla="*/ 9151 h 10000"/>
                <a:gd name="connsiteX878" fmla="*/ 164 w 10000"/>
                <a:gd name="connsiteY878" fmla="*/ 9175 h 10000"/>
                <a:gd name="connsiteX879" fmla="*/ 184 w 10000"/>
                <a:gd name="connsiteY879" fmla="*/ 9196 h 10000"/>
                <a:gd name="connsiteX880" fmla="*/ 207 w 10000"/>
                <a:gd name="connsiteY880" fmla="*/ 9215 h 10000"/>
                <a:gd name="connsiteX881" fmla="*/ 227 w 10000"/>
                <a:gd name="connsiteY881" fmla="*/ 9233 h 10000"/>
                <a:gd name="connsiteX882" fmla="*/ 253 w 10000"/>
                <a:gd name="connsiteY882" fmla="*/ 9250 h 10000"/>
                <a:gd name="connsiteX883" fmla="*/ 303 w 10000"/>
                <a:gd name="connsiteY883" fmla="*/ 9282 h 10000"/>
                <a:gd name="connsiteX884" fmla="*/ 351 w 10000"/>
                <a:gd name="connsiteY884" fmla="*/ 9315 h 10000"/>
                <a:gd name="connsiteX885" fmla="*/ 414 w 10000"/>
                <a:gd name="connsiteY885" fmla="*/ 9364 h 10000"/>
                <a:gd name="connsiteX886" fmla="*/ 480 w 10000"/>
                <a:gd name="connsiteY886" fmla="*/ 9416 h 10000"/>
                <a:gd name="connsiteX887" fmla="*/ 513 w 10000"/>
                <a:gd name="connsiteY887" fmla="*/ 9437 h 10000"/>
                <a:gd name="connsiteX888" fmla="*/ 548 w 10000"/>
                <a:gd name="connsiteY888" fmla="*/ 9462 h 10000"/>
                <a:gd name="connsiteX889" fmla="*/ 581 w 10000"/>
                <a:gd name="connsiteY889" fmla="*/ 9483 h 10000"/>
                <a:gd name="connsiteX890" fmla="*/ 614 w 10000"/>
                <a:gd name="connsiteY890" fmla="*/ 9502 h 10000"/>
                <a:gd name="connsiteX891" fmla="*/ 641 w 10000"/>
                <a:gd name="connsiteY891" fmla="*/ 9525 h 10000"/>
                <a:gd name="connsiteX892" fmla="*/ 672 w 10000"/>
                <a:gd name="connsiteY892" fmla="*/ 9549 h 10000"/>
                <a:gd name="connsiteX893" fmla="*/ 702 w 10000"/>
                <a:gd name="connsiteY893" fmla="*/ 9568 h 10000"/>
                <a:gd name="connsiteX894" fmla="*/ 737 w 10000"/>
                <a:gd name="connsiteY894" fmla="*/ 9589 h 10000"/>
                <a:gd name="connsiteX895" fmla="*/ 770 w 10000"/>
                <a:gd name="connsiteY895" fmla="*/ 9605 h 10000"/>
                <a:gd name="connsiteX896" fmla="*/ 808 w 10000"/>
                <a:gd name="connsiteY896" fmla="*/ 9617 h 10000"/>
                <a:gd name="connsiteX897" fmla="*/ 843 w 10000"/>
                <a:gd name="connsiteY897" fmla="*/ 9624 h 10000"/>
                <a:gd name="connsiteX898" fmla="*/ 884 w 10000"/>
                <a:gd name="connsiteY898" fmla="*/ 9628 h 10000"/>
                <a:gd name="connsiteX899" fmla="*/ 902 w 10000"/>
                <a:gd name="connsiteY899" fmla="*/ 9628 h 10000"/>
                <a:gd name="connsiteX900" fmla="*/ 914 w 10000"/>
                <a:gd name="connsiteY900" fmla="*/ 9631 h 10000"/>
                <a:gd name="connsiteX901" fmla="*/ 932 w 10000"/>
                <a:gd name="connsiteY901" fmla="*/ 9638 h 10000"/>
                <a:gd name="connsiteX902" fmla="*/ 942 w 10000"/>
                <a:gd name="connsiteY902" fmla="*/ 9642 h 10000"/>
                <a:gd name="connsiteX903" fmla="*/ 967 w 10000"/>
                <a:gd name="connsiteY903" fmla="*/ 9652 h 10000"/>
                <a:gd name="connsiteX904" fmla="*/ 987 w 10000"/>
                <a:gd name="connsiteY904" fmla="*/ 9668 h 10000"/>
                <a:gd name="connsiteX905" fmla="*/ 1005 w 10000"/>
                <a:gd name="connsiteY905" fmla="*/ 9682 h 10000"/>
                <a:gd name="connsiteX906" fmla="*/ 1025 w 10000"/>
                <a:gd name="connsiteY906" fmla="*/ 9698 h 10000"/>
                <a:gd name="connsiteX907" fmla="*/ 1045 w 10000"/>
                <a:gd name="connsiteY907" fmla="*/ 9712 h 10000"/>
                <a:gd name="connsiteX908" fmla="*/ 1073 w 10000"/>
                <a:gd name="connsiteY908" fmla="*/ 9724 h 10000"/>
                <a:gd name="connsiteX909" fmla="*/ 1098 w 10000"/>
                <a:gd name="connsiteY909" fmla="*/ 9738 h 10000"/>
                <a:gd name="connsiteX910" fmla="*/ 1121 w 10000"/>
                <a:gd name="connsiteY910" fmla="*/ 9750 h 10000"/>
                <a:gd name="connsiteX911" fmla="*/ 1141 w 10000"/>
                <a:gd name="connsiteY911" fmla="*/ 9762 h 10000"/>
                <a:gd name="connsiteX912" fmla="*/ 1159 w 10000"/>
                <a:gd name="connsiteY912" fmla="*/ 9776 h 10000"/>
                <a:gd name="connsiteX913" fmla="*/ 1172 w 10000"/>
                <a:gd name="connsiteY913" fmla="*/ 9787 h 10000"/>
                <a:gd name="connsiteX914" fmla="*/ 1182 w 10000"/>
                <a:gd name="connsiteY914" fmla="*/ 9804 h 10000"/>
                <a:gd name="connsiteX915" fmla="*/ 1194 w 10000"/>
                <a:gd name="connsiteY915" fmla="*/ 9818 h 10000"/>
                <a:gd name="connsiteX916" fmla="*/ 1202 w 10000"/>
                <a:gd name="connsiteY916" fmla="*/ 9834 h 10000"/>
                <a:gd name="connsiteX917" fmla="*/ 1212 w 10000"/>
                <a:gd name="connsiteY917" fmla="*/ 9869 h 10000"/>
                <a:gd name="connsiteX918" fmla="*/ 1220 w 10000"/>
                <a:gd name="connsiteY918" fmla="*/ 9906 h 10000"/>
                <a:gd name="connsiteX919" fmla="*/ 1230 w 10000"/>
                <a:gd name="connsiteY919" fmla="*/ 9951 h 10000"/>
                <a:gd name="connsiteX920" fmla="*/ 1237 w 10000"/>
                <a:gd name="connsiteY920" fmla="*/ 10000 h 10000"/>
                <a:gd name="connsiteX921" fmla="*/ 1237 w 10000"/>
                <a:gd name="connsiteY92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49 w 10000"/>
                <a:gd name="connsiteY698" fmla="*/ 7370 h 10000"/>
                <a:gd name="connsiteX699" fmla="*/ 1972 w 10000"/>
                <a:gd name="connsiteY699" fmla="*/ 7373 h 10000"/>
                <a:gd name="connsiteX700" fmla="*/ 1995 w 10000"/>
                <a:gd name="connsiteY700" fmla="*/ 7373 h 10000"/>
                <a:gd name="connsiteX701" fmla="*/ 2020 w 10000"/>
                <a:gd name="connsiteY701" fmla="*/ 7368 h 10000"/>
                <a:gd name="connsiteX702" fmla="*/ 2088 w 10000"/>
                <a:gd name="connsiteY702" fmla="*/ 7340 h 10000"/>
                <a:gd name="connsiteX703" fmla="*/ 2169 w 10000"/>
                <a:gd name="connsiteY703" fmla="*/ 7295 h 10000"/>
                <a:gd name="connsiteX704" fmla="*/ 2215 w 10000"/>
                <a:gd name="connsiteY704" fmla="*/ 7281 h 10000"/>
                <a:gd name="connsiteX705" fmla="*/ 2253 w 10000"/>
                <a:gd name="connsiteY705" fmla="*/ 7270 h 10000"/>
                <a:gd name="connsiteX706" fmla="*/ 2268 w 10000"/>
                <a:gd name="connsiteY706" fmla="*/ 7265 h 10000"/>
                <a:gd name="connsiteX707" fmla="*/ 2285 w 10000"/>
                <a:gd name="connsiteY707" fmla="*/ 7265 h 10000"/>
                <a:gd name="connsiteX708" fmla="*/ 2298 w 10000"/>
                <a:gd name="connsiteY708" fmla="*/ 7270 h 10000"/>
                <a:gd name="connsiteX709" fmla="*/ 2311 w 10000"/>
                <a:gd name="connsiteY709" fmla="*/ 7277 h 10000"/>
                <a:gd name="connsiteX710" fmla="*/ 2328 w 10000"/>
                <a:gd name="connsiteY710" fmla="*/ 7293 h 10000"/>
                <a:gd name="connsiteX711" fmla="*/ 2348 w 10000"/>
                <a:gd name="connsiteY711" fmla="*/ 7312 h 10000"/>
                <a:gd name="connsiteX712" fmla="*/ 2364 w 10000"/>
                <a:gd name="connsiteY712" fmla="*/ 7335 h 10000"/>
                <a:gd name="connsiteX713" fmla="*/ 2381 w 10000"/>
                <a:gd name="connsiteY713" fmla="*/ 7356 h 10000"/>
                <a:gd name="connsiteX714" fmla="*/ 2414 w 10000"/>
                <a:gd name="connsiteY714" fmla="*/ 7403 h 10000"/>
                <a:gd name="connsiteX715" fmla="*/ 2439 w 10000"/>
                <a:gd name="connsiteY715" fmla="*/ 7445 h 10000"/>
                <a:gd name="connsiteX716" fmla="*/ 2452 w 10000"/>
                <a:gd name="connsiteY716" fmla="*/ 7459 h 10000"/>
                <a:gd name="connsiteX717" fmla="*/ 2460 w 10000"/>
                <a:gd name="connsiteY717" fmla="*/ 7466 h 10000"/>
                <a:gd name="connsiteX718" fmla="*/ 2470 w 10000"/>
                <a:gd name="connsiteY718" fmla="*/ 7473 h 10000"/>
                <a:gd name="connsiteX719" fmla="*/ 2482 w 10000"/>
                <a:gd name="connsiteY719" fmla="*/ 7475 h 10000"/>
                <a:gd name="connsiteX720" fmla="*/ 2490 w 10000"/>
                <a:gd name="connsiteY720" fmla="*/ 7475 h 10000"/>
                <a:gd name="connsiteX721" fmla="*/ 2500 w 10000"/>
                <a:gd name="connsiteY721" fmla="*/ 7473 h 10000"/>
                <a:gd name="connsiteX722" fmla="*/ 2508 w 10000"/>
                <a:gd name="connsiteY722" fmla="*/ 7471 h 10000"/>
                <a:gd name="connsiteX723" fmla="*/ 2520 w 10000"/>
                <a:gd name="connsiteY723" fmla="*/ 7466 h 10000"/>
                <a:gd name="connsiteX724" fmla="*/ 2558 w 10000"/>
                <a:gd name="connsiteY724" fmla="*/ 7438 h 10000"/>
                <a:gd name="connsiteX725" fmla="*/ 2593 w 10000"/>
                <a:gd name="connsiteY725" fmla="*/ 7415 h 10000"/>
                <a:gd name="connsiteX726" fmla="*/ 2598 w 10000"/>
                <a:gd name="connsiteY726" fmla="*/ 7412 h 10000"/>
                <a:gd name="connsiteX727" fmla="*/ 2606 w 10000"/>
                <a:gd name="connsiteY727" fmla="*/ 7412 h 10000"/>
                <a:gd name="connsiteX728" fmla="*/ 2611 w 10000"/>
                <a:gd name="connsiteY728" fmla="*/ 7412 h 10000"/>
                <a:gd name="connsiteX729" fmla="*/ 2621 w 10000"/>
                <a:gd name="connsiteY729" fmla="*/ 7415 h 10000"/>
                <a:gd name="connsiteX730" fmla="*/ 2631 w 10000"/>
                <a:gd name="connsiteY730" fmla="*/ 7419 h 10000"/>
                <a:gd name="connsiteX731" fmla="*/ 2644 w 10000"/>
                <a:gd name="connsiteY731" fmla="*/ 7431 h 10000"/>
                <a:gd name="connsiteX732" fmla="*/ 2657 w 10000"/>
                <a:gd name="connsiteY732" fmla="*/ 7445 h 10000"/>
                <a:gd name="connsiteX733" fmla="*/ 2664 w 10000"/>
                <a:gd name="connsiteY733" fmla="*/ 7461 h 10000"/>
                <a:gd name="connsiteX734" fmla="*/ 2672 w 10000"/>
                <a:gd name="connsiteY734" fmla="*/ 7480 h 10000"/>
                <a:gd name="connsiteX735" fmla="*/ 2679 w 10000"/>
                <a:gd name="connsiteY735" fmla="*/ 7501 h 10000"/>
                <a:gd name="connsiteX736" fmla="*/ 2687 w 10000"/>
                <a:gd name="connsiteY736" fmla="*/ 7525 h 10000"/>
                <a:gd name="connsiteX737" fmla="*/ 2689 w 10000"/>
                <a:gd name="connsiteY737" fmla="*/ 7543 h 10000"/>
                <a:gd name="connsiteX738" fmla="*/ 2692 w 10000"/>
                <a:gd name="connsiteY738" fmla="*/ 7567 h 10000"/>
                <a:gd name="connsiteX739" fmla="*/ 2692 w 10000"/>
                <a:gd name="connsiteY739" fmla="*/ 7588 h 10000"/>
                <a:gd name="connsiteX740" fmla="*/ 2692 w 10000"/>
                <a:gd name="connsiteY740" fmla="*/ 7604 h 10000"/>
                <a:gd name="connsiteX741" fmla="*/ 2689 w 10000"/>
                <a:gd name="connsiteY741" fmla="*/ 7623 h 10000"/>
                <a:gd name="connsiteX742" fmla="*/ 2684 w 10000"/>
                <a:gd name="connsiteY742" fmla="*/ 7637 h 10000"/>
                <a:gd name="connsiteX743" fmla="*/ 2674 w 10000"/>
                <a:gd name="connsiteY743" fmla="*/ 7648 h 10000"/>
                <a:gd name="connsiteX744" fmla="*/ 2664 w 10000"/>
                <a:gd name="connsiteY744" fmla="*/ 7658 h 10000"/>
                <a:gd name="connsiteX745" fmla="*/ 2654 w 10000"/>
                <a:gd name="connsiteY745" fmla="*/ 7667 h 10000"/>
                <a:gd name="connsiteX746" fmla="*/ 2639 w 10000"/>
                <a:gd name="connsiteY746" fmla="*/ 7672 h 10000"/>
                <a:gd name="connsiteX747" fmla="*/ 2624 w 10000"/>
                <a:gd name="connsiteY747" fmla="*/ 7681 h 10000"/>
                <a:gd name="connsiteX748" fmla="*/ 2591 w 10000"/>
                <a:gd name="connsiteY748" fmla="*/ 7688 h 10000"/>
                <a:gd name="connsiteX749" fmla="*/ 2518 w 10000"/>
                <a:gd name="connsiteY749" fmla="*/ 7693 h 10000"/>
                <a:gd name="connsiteX750" fmla="*/ 2167 w 10000"/>
                <a:gd name="connsiteY750" fmla="*/ 7742 h 10000"/>
                <a:gd name="connsiteX751" fmla="*/ 2159 w 10000"/>
                <a:gd name="connsiteY751" fmla="*/ 7833 h 10000"/>
                <a:gd name="connsiteX752" fmla="*/ 2157 w 10000"/>
                <a:gd name="connsiteY752" fmla="*/ 7882 h 10000"/>
                <a:gd name="connsiteX753" fmla="*/ 2157 w 10000"/>
                <a:gd name="connsiteY753" fmla="*/ 7938 h 10000"/>
                <a:gd name="connsiteX754" fmla="*/ 2159 w 10000"/>
                <a:gd name="connsiteY754" fmla="*/ 8006 h 10000"/>
                <a:gd name="connsiteX755" fmla="*/ 2162 w 10000"/>
                <a:gd name="connsiteY755" fmla="*/ 8079 h 10000"/>
                <a:gd name="connsiteX756" fmla="*/ 2159 w 10000"/>
                <a:gd name="connsiteY756" fmla="*/ 8156 h 10000"/>
                <a:gd name="connsiteX757" fmla="*/ 2157 w 10000"/>
                <a:gd name="connsiteY757" fmla="*/ 8193 h 10000"/>
                <a:gd name="connsiteX758" fmla="*/ 2154 w 10000"/>
                <a:gd name="connsiteY758" fmla="*/ 8228 h 10000"/>
                <a:gd name="connsiteX759" fmla="*/ 2146 w 10000"/>
                <a:gd name="connsiteY759" fmla="*/ 8261 h 10000"/>
                <a:gd name="connsiteX760" fmla="*/ 2136 w 10000"/>
                <a:gd name="connsiteY760" fmla="*/ 8291 h 10000"/>
                <a:gd name="connsiteX761" fmla="*/ 2124 w 10000"/>
                <a:gd name="connsiteY761" fmla="*/ 8319 h 10000"/>
                <a:gd name="connsiteX762" fmla="*/ 2109 w 10000"/>
                <a:gd name="connsiteY762" fmla="*/ 8345 h 10000"/>
                <a:gd name="connsiteX763" fmla="*/ 2098 w 10000"/>
                <a:gd name="connsiteY763" fmla="*/ 8354 h 10000"/>
                <a:gd name="connsiteX764" fmla="*/ 2088 w 10000"/>
                <a:gd name="connsiteY764" fmla="*/ 8364 h 10000"/>
                <a:gd name="connsiteX765" fmla="*/ 2078 w 10000"/>
                <a:gd name="connsiteY765" fmla="*/ 8373 h 10000"/>
                <a:gd name="connsiteX766" fmla="*/ 2063 w 10000"/>
                <a:gd name="connsiteY766" fmla="*/ 8380 h 10000"/>
                <a:gd name="connsiteX767" fmla="*/ 1990 w 10000"/>
                <a:gd name="connsiteY767" fmla="*/ 8422 h 10000"/>
                <a:gd name="connsiteX768" fmla="*/ 1904 w 10000"/>
                <a:gd name="connsiteY768" fmla="*/ 8481 h 10000"/>
                <a:gd name="connsiteX769" fmla="*/ 1856 w 10000"/>
                <a:gd name="connsiteY769" fmla="*/ 8506 h 10000"/>
                <a:gd name="connsiteX770" fmla="*/ 1816 w 10000"/>
                <a:gd name="connsiteY770" fmla="*/ 8527 h 10000"/>
                <a:gd name="connsiteX771" fmla="*/ 1793 w 10000"/>
                <a:gd name="connsiteY771" fmla="*/ 8539 h 10000"/>
                <a:gd name="connsiteX772" fmla="*/ 1775 w 10000"/>
                <a:gd name="connsiteY772" fmla="*/ 8546 h 10000"/>
                <a:gd name="connsiteX773" fmla="*/ 1758 w 10000"/>
                <a:gd name="connsiteY773" fmla="*/ 8548 h 10000"/>
                <a:gd name="connsiteX774" fmla="*/ 1742 w 10000"/>
                <a:gd name="connsiteY774" fmla="*/ 8551 h 10000"/>
                <a:gd name="connsiteX775" fmla="*/ 1727 w 10000"/>
                <a:gd name="connsiteY775" fmla="*/ 8537 h 10000"/>
                <a:gd name="connsiteX776" fmla="*/ 1717 w 10000"/>
                <a:gd name="connsiteY776" fmla="*/ 8518 h 10000"/>
                <a:gd name="connsiteX777" fmla="*/ 1710 w 10000"/>
                <a:gd name="connsiteY777" fmla="*/ 8499 h 10000"/>
                <a:gd name="connsiteX778" fmla="*/ 1702 w 10000"/>
                <a:gd name="connsiteY778" fmla="*/ 8476 h 10000"/>
                <a:gd name="connsiteX779" fmla="*/ 1684 w 10000"/>
                <a:gd name="connsiteY779" fmla="*/ 8429 h 10000"/>
                <a:gd name="connsiteX780" fmla="*/ 1674 w 10000"/>
                <a:gd name="connsiteY780" fmla="*/ 8380 h 10000"/>
                <a:gd name="connsiteX781" fmla="*/ 1667 w 10000"/>
                <a:gd name="connsiteY781" fmla="*/ 8329 h 10000"/>
                <a:gd name="connsiteX782" fmla="*/ 1659 w 10000"/>
                <a:gd name="connsiteY782" fmla="*/ 8282 h 10000"/>
                <a:gd name="connsiteX783" fmla="*/ 1657 w 10000"/>
                <a:gd name="connsiteY783" fmla="*/ 8235 h 10000"/>
                <a:gd name="connsiteX784" fmla="*/ 1657 w 10000"/>
                <a:gd name="connsiteY784" fmla="*/ 8195 h 10000"/>
                <a:gd name="connsiteX785" fmla="*/ 1652 w 10000"/>
                <a:gd name="connsiteY785" fmla="*/ 8191 h 10000"/>
                <a:gd name="connsiteX786" fmla="*/ 1586 w 10000"/>
                <a:gd name="connsiteY786" fmla="*/ 8188 h 10000"/>
                <a:gd name="connsiteX787" fmla="*/ 1525 w 10000"/>
                <a:gd name="connsiteY787" fmla="*/ 8186 h 10000"/>
                <a:gd name="connsiteX788" fmla="*/ 1500 w 10000"/>
                <a:gd name="connsiteY788" fmla="*/ 8191 h 10000"/>
                <a:gd name="connsiteX789" fmla="*/ 1472 w 10000"/>
                <a:gd name="connsiteY789" fmla="*/ 8198 h 10000"/>
                <a:gd name="connsiteX790" fmla="*/ 1457 w 10000"/>
                <a:gd name="connsiteY790" fmla="*/ 8205 h 10000"/>
                <a:gd name="connsiteX791" fmla="*/ 1444 w 10000"/>
                <a:gd name="connsiteY791" fmla="*/ 8212 h 10000"/>
                <a:gd name="connsiteX792" fmla="*/ 1434 w 10000"/>
                <a:gd name="connsiteY792" fmla="*/ 8223 h 10000"/>
                <a:gd name="connsiteX793" fmla="*/ 1419 w 10000"/>
                <a:gd name="connsiteY793" fmla="*/ 8233 h 10000"/>
                <a:gd name="connsiteX794" fmla="*/ 1412 w 10000"/>
                <a:gd name="connsiteY794" fmla="*/ 8247 h 10000"/>
                <a:gd name="connsiteX795" fmla="*/ 1402 w 10000"/>
                <a:gd name="connsiteY795" fmla="*/ 8261 h 10000"/>
                <a:gd name="connsiteX796" fmla="*/ 1394 w 10000"/>
                <a:gd name="connsiteY796" fmla="*/ 8275 h 10000"/>
                <a:gd name="connsiteX797" fmla="*/ 1386 w 10000"/>
                <a:gd name="connsiteY797" fmla="*/ 8294 h 10000"/>
                <a:gd name="connsiteX798" fmla="*/ 1374 w 10000"/>
                <a:gd name="connsiteY798" fmla="*/ 8331 h 10000"/>
                <a:gd name="connsiteX799" fmla="*/ 1361 w 10000"/>
                <a:gd name="connsiteY799" fmla="*/ 8368 h 10000"/>
                <a:gd name="connsiteX800" fmla="*/ 1354 w 10000"/>
                <a:gd name="connsiteY800" fmla="*/ 8387 h 10000"/>
                <a:gd name="connsiteX801" fmla="*/ 1346 w 10000"/>
                <a:gd name="connsiteY801" fmla="*/ 8406 h 10000"/>
                <a:gd name="connsiteX802" fmla="*/ 1338 w 10000"/>
                <a:gd name="connsiteY802" fmla="*/ 8420 h 10000"/>
                <a:gd name="connsiteX803" fmla="*/ 1328 w 10000"/>
                <a:gd name="connsiteY803" fmla="*/ 8436 h 10000"/>
                <a:gd name="connsiteX804" fmla="*/ 1316 w 10000"/>
                <a:gd name="connsiteY804" fmla="*/ 8446 h 10000"/>
                <a:gd name="connsiteX805" fmla="*/ 1306 w 10000"/>
                <a:gd name="connsiteY805" fmla="*/ 8453 h 10000"/>
                <a:gd name="connsiteX806" fmla="*/ 1293 w 10000"/>
                <a:gd name="connsiteY806" fmla="*/ 8460 h 10000"/>
                <a:gd name="connsiteX807" fmla="*/ 1275 w 10000"/>
                <a:gd name="connsiteY807" fmla="*/ 8460 h 10000"/>
                <a:gd name="connsiteX808" fmla="*/ 1265 w 10000"/>
                <a:gd name="connsiteY808" fmla="*/ 8450 h 10000"/>
                <a:gd name="connsiteX809" fmla="*/ 1258 w 10000"/>
                <a:gd name="connsiteY809" fmla="*/ 8441 h 10000"/>
                <a:gd name="connsiteX810" fmla="*/ 1245 w 10000"/>
                <a:gd name="connsiteY810" fmla="*/ 8424 h 10000"/>
                <a:gd name="connsiteX811" fmla="*/ 1237 w 10000"/>
                <a:gd name="connsiteY811" fmla="*/ 8408 h 10000"/>
                <a:gd name="connsiteX812" fmla="*/ 1217 w 10000"/>
                <a:gd name="connsiteY812" fmla="*/ 8373 h 10000"/>
                <a:gd name="connsiteX813" fmla="*/ 1202 w 10000"/>
                <a:gd name="connsiteY813" fmla="*/ 8333 h 10000"/>
                <a:gd name="connsiteX814" fmla="*/ 1182 w 10000"/>
                <a:gd name="connsiteY814" fmla="*/ 8296 h 10000"/>
                <a:gd name="connsiteX815" fmla="*/ 1162 w 10000"/>
                <a:gd name="connsiteY815" fmla="*/ 8268 h 10000"/>
                <a:gd name="connsiteX816" fmla="*/ 1149 w 10000"/>
                <a:gd name="connsiteY816" fmla="*/ 8256 h 10000"/>
                <a:gd name="connsiteX817" fmla="*/ 1139 w 10000"/>
                <a:gd name="connsiteY817" fmla="*/ 8249 h 10000"/>
                <a:gd name="connsiteX818" fmla="*/ 1126 w 10000"/>
                <a:gd name="connsiteY818" fmla="*/ 8240 h 10000"/>
                <a:gd name="connsiteX819" fmla="*/ 1114 w 10000"/>
                <a:gd name="connsiteY819" fmla="*/ 8240 h 10000"/>
                <a:gd name="connsiteX820" fmla="*/ 1091 w 10000"/>
                <a:gd name="connsiteY820" fmla="*/ 8242 h 10000"/>
                <a:gd name="connsiteX821" fmla="*/ 1071 w 10000"/>
                <a:gd name="connsiteY821" fmla="*/ 8252 h 10000"/>
                <a:gd name="connsiteX822" fmla="*/ 1048 w 10000"/>
                <a:gd name="connsiteY822" fmla="*/ 8261 h 10000"/>
                <a:gd name="connsiteX823" fmla="*/ 1030 w 10000"/>
                <a:gd name="connsiteY823" fmla="*/ 8273 h 10000"/>
                <a:gd name="connsiteX824" fmla="*/ 1010 w 10000"/>
                <a:gd name="connsiteY824" fmla="*/ 8287 h 10000"/>
                <a:gd name="connsiteX825" fmla="*/ 995 w 10000"/>
                <a:gd name="connsiteY825" fmla="*/ 8303 h 10000"/>
                <a:gd name="connsiteX826" fmla="*/ 975 w 10000"/>
                <a:gd name="connsiteY826" fmla="*/ 8322 h 10000"/>
                <a:gd name="connsiteX827" fmla="*/ 960 w 10000"/>
                <a:gd name="connsiteY827" fmla="*/ 8343 h 10000"/>
                <a:gd name="connsiteX828" fmla="*/ 927 w 10000"/>
                <a:gd name="connsiteY828" fmla="*/ 8380 h 10000"/>
                <a:gd name="connsiteX829" fmla="*/ 891 w 10000"/>
                <a:gd name="connsiteY829" fmla="*/ 8417 h 10000"/>
                <a:gd name="connsiteX830" fmla="*/ 874 w 10000"/>
                <a:gd name="connsiteY830" fmla="*/ 8436 h 10000"/>
                <a:gd name="connsiteX831" fmla="*/ 859 w 10000"/>
                <a:gd name="connsiteY831" fmla="*/ 8450 h 10000"/>
                <a:gd name="connsiteX832" fmla="*/ 838 w 10000"/>
                <a:gd name="connsiteY832" fmla="*/ 8462 h 10000"/>
                <a:gd name="connsiteX833" fmla="*/ 821 w 10000"/>
                <a:gd name="connsiteY833" fmla="*/ 8476 h 10000"/>
                <a:gd name="connsiteX834" fmla="*/ 742 w 10000"/>
                <a:gd name="connsiteY834" fmla="*/ 8562 h 10000"/>
                <a:gd name="connsiteX835" fmla="*/ 672 w 10000"/>
                <a:gd name="connsiteY835" fmla="*/ 8644 h 10000"/>
                <a:gd name="connsiteX836" fmla="*/ 639 w 10000"/>
                <a:gd name="connsiteY836" fmla="*/ 8684 h 10000"/>
                <a:gd name="connsiteX837" fmla="*/ 609 w 10000"/>
                <a:gd name="connsiteY837" fmla="*/ 8731 h 10000"/>
                <a:gd name="connsiteX838" fmla="*/ 583 w 10000"/>
                <a:gd name="connsiteY838" fmla="*/ 8777 h 10000"/>
                <a:gd name="connsiteX839" fmla="*/ 556 w 10000"/>
                <a:gd name="connsiteY839" fmla="*/ 8831 h 10000"/>
                <a:gd name="connsiteX840" fmla="*/ 545 w 10000"/>
                <a:gd name="connsiteY840" fmla="*/ 8852 h 10000"/>
                <a:gd name="connsiteX841" fmla="*/ 525 w 10000"/>
                <a:gd name="connsiteY841" fmla="*/ 8885 h 10000"/>
                <a:gd name="connsiteX842" fmla="*/ 503 w 10000"/>
                <a:gd name="connsiteY842" fmla="*/ 8925 h 10000"/>
                <a:gd name="connsiteX843" fmla="*/ 480 w 10000"/>
                <a:gd name="connsiteY843" fmla="*/ 8962 h 10000"/>
                <a:gd name="connsiteX844" fmla="*/ 465 w 10000"/>
                <a:gd name="connsiteY844" fmla="*/ 8981 h 10000"/>
                <a:gd name="connsiteX845" fmla="*/ 455 w 10000"/>
                <a:gd name="connsiteY845" fmla="*/ 8993 h 10000"/>
                <a:gd name="connsiteX846" fmla="*/ 444 w 10000"/>
                <a:gd name="connsiteY846" fmla="*/ 9000 h 10000"/>
                <a:gd name="connsiteX847" fmla="*/ 434 w 10000"/>
                <a:gd name="connsiteY847" fmla="*/ 9007 h 10000"/>
                <a:gd name="connsiteX848" fmla="*/ 432 w 10000"/>
                <a:gd name="connsiteY848" fmla="*/ 9007 h 10000"/>
                <a:gd name="connsiteX849" fmla="*/ 429 w 10000"/>
                <a:gd name="connsiteY849" fmla="*/ 9004 h 10000"/>
                <a:gd name="connsiteX850" fmla="*/ 427 w 10000"/>
                <a:gd name="connsiteY850" fmla="*/ 8997 h 10000"/>
                <a:gd name="connsiteX851" fmla="*/ 427 w 10000"/>
                <a:gd name="connsiteY851" fmla="*/ 8993 h 10000"/>
                <a:gd name="connsiteX852" fmla="*/ 424 w 10000"/>
                <a:gd name="connsiteY852" fmla="*/ 8976 h 10000"/>
                <a:gd name="connsiteX853" fmla="*/ 427 w 10000"/>
                <a:gd name="connsiteY853" fmla="*/ 8948 h 10000"/>
                <a:gd name="connsiteX854" fmla="*/ 437 w 10000"/>
                <a:gd name="connsiteY854" fmla="*/ 8913 h 10000"/>
                <a:gd name="connsiteX855" fmla="*/ 455 w 10000"/>
                <a:gd name="connsiteY855" fmla="*/ 8859 h 10000"/>
                <a:gd name="connsiteX856" fmla="*/ 462 w 10000"/>
                <a:gd name="connsiteY856" fmla="*/ 8834 h 10000"/>
                <a:gd name="connsiteX857" fmla="*/ 470 w 10000"/>
                <a:gd name="connsiteY857" fmla="*/ 8810 h 10000"/>
                <a:gd name="connsiteX858" fmla="*/ 472 w 10000"/>
                <a:gd name="connsiteY858" fmla="*/ 8794 h 10000"/>
                <a:gd name="connsiteX859" fmla="*/ 472 w 10000"/>
                <a:gd name="connsiteY859" fmla="*/ 8780 h 10000"/>
                <a:gd name="connsiteX860" fmla="*/ 462 w 10000"/>
                <a:gd name="connsiteY860" fmla="*/ 8784 h 10000"/>
                <a:gd name="connsiteX861" fmla="*/ 452 w 10000"/>
                <a:gd name="connsiteY861" fmla="*/ 8787 h 10000"/>
                <a:gd name="connsiteX862" fmla="*/ 437 w 10000"/>
                <a:gd name="connsiteY862" fmla="*/ 8794 h 10000"/>
                <a:gd name="connsiteX863" fmla="*/ 424 w 10000"/>
                <a:gd name="connsiteY863" fmla="*/ 8803 h 10000"/>
                <a:gd name="connsiteX864" fmla="*/ 394 w 10000"/>
                <a:gd name="connsiteY864" fmla="*/ 8829 h 10000"/>
                <a:gd name="connsiteX865" fmla="*/ 364 w 10000"/>
                <a:gd name="connsiteY865" fmla="*/ 8859 h 10000"/>
                <a:gd name="connsiteX866" fmla="*/ 311 w 10000"/>
                <a:gd name="connsiteY866" fmla="*/ 8922 h 10000"/>
                <a:gd name="connsiteX867" fmla="*/ 268 w 10000"/>
                <a:gd name="connsiteY867" fmla="*/ 8964 h 10000"/>
                <a:gd name="connsiteX868" fmla="*/ 205 w 10000"/>
                <a:gd name="connsiteY868" fmla="*/ 9016 h 10000"/>
                <a:gd name="connsiteX869" fmla="*/ 146 w 10000"/>
                <a:gd name="connsiteY869" fmla="*/ 9053 h 10000"/>
                <a:gd name="connsiteX870" fmla="*/ 139 w 10000"/>
                <a:gd name="connsiteY870" fmla="*/ 9063 h 10000"/>
                <a:gd name="connsiteX871" fmla="*/ 129 w 10000"/>
                <a:gd name="connsiteY871" fmla="*/ 9077 h 10000"/>
                <a:gd name="connsiteX872" fmla="*/ 126 w 10000"/>
                <a:gd name="connsiteY872" fmla="*/ 9086 h 10000"/>
                <a:gd name="connsiteX873" fmla="*/ 126 w 10000"/>
                <a:gd name="connsiteY873" fmla="*/ 9102 h 10000"/>
                <a:gd name="connsiteX874" fmla="*/ 129 w 10000"/>
                <a:gd name="connsiteY874" fmla="*/ 9116 h 10000"/>
                <a:gd name="connsiteX875" fmla="*/ 139 w 10000"/>
                <a:gd name="connsiteY875" fmla="*/ 9135 h 10000"/>
                <a:gd name="connsiteX876" fmla="*/ 149 w 10000"/>
                <a:gd name="connsiteY876" fmla="*/ 9151 h 10000"/>
                <a:gd name="connsiteX877" fmla="*/ 164 w 10000"/>
                <a:gd name="connsiteY877" fmla="*/ 9175 h 10000"/>
                <a:gd name="connsiteX878" fmla="*/ 184 w 10000"/>
                <a:gd name="connsiteY878" fmla="*/ 9196 h 10000"/>
                <a:gd name="connsiteX879" fmla="*/ 207 w 10000"/>
                <a:gd name="connsiteY879" fmla="*/ 9215 h 10000"/>
                <a:gd name="connsiteX880" fmla="*/ 227 w 10000"/>
                <a:gd name="connsiteY880" fmla="*/ 9233 h 10000"/>
                <a:gd name="connsiteX881" fmla="*/ 253 w 10000"/>
                <a:gd name="connsiteY881" fmla="*/ 9250 h 10000"/>
                <a:gd name="connsiteX882" fmla="*/ 303 w 10000"/>
                <a:gd name="connsiteY882" fmla="*/ 9282 h 10000"/>
                <a:gd name="connsiteX883" fmla="*/ 351 w 10000"/>
                <a:gd name="connsiteY883" fmla="*/ 9315 h 10000"/>
                <a:gd name="connsiteX884" fmla="*/ 414 w 10000"/>
                <a:gd name="connsiteY884" fmla="*/ 9364 h 10000"/>
                <a:gd name="connsiteX885" fmla="*/ 480 w 10000"/>
                <a:gd name="connsiteY885" fmla="*/ 9416 h 10000"/>
                <a:gd name="connsiteX886" fmla="*/ 513 w 10000"/>
                <a:gd name="connsiteY886" fmla="*/ 9437 h 10000"/>
                <a:gd name="connsiteX887" fmla="*/ 548 w 10000"/>
                <a:gd name="connsiteY887" fmla="*/ 9462 h 10000"/>
                <a:gd name="connsiteX888" fmla="*/ 581 w 10000"/>
                <a:gd name="connsiteY888" fmla="*/ 9483 h 10000"/>
                <a:gd name="connsiteX889" fmla="*/ 614 w 10000"/>
                <a:gd name="connsiteY889" fmla="*/ 9502 h 10000"/>
                <a:gd name="connsiteX890" fmla="*/ 641 w 10000"/>
                <a:gd name="connsiteY890" fmla="*/ 9525 h 10000"/>
                <a:gd name="connsiteX891" fmla="*/ 672 w 10000"/>
                <a:gd name="connsiteY891" fmla="*/ 9549 h 10000"/>
                <a:gd name="connsiteX892" fmla="*/ 702 w 10000"/>
                <a:gd name="connsiteY892" fmla="*/ 9568 h 10000"/>
                <a:gd name="connsiteX893" fmla="*/ 737 w 10000"/>
                <a:gd name="connsiteY893" fmla="*/ 9589 h 10000"/>
                <a:gd name="connsiteX894" fmla="*/ 770 w 10000"/>
                <a:gd name="connsiteY894" fmla="*/ 9605 h 10000"/>
                <a:gd name="connsiteX895" fmla="*/ 808 w 10000"/>
                <a:gd name="connsiteY895" fmla="*/ 9617 h 10000"/>
                <a:gd name="connsiteX896" fmla="*/ 843 w 10000"/>
                <a:gd name="connsiteY896" fmla="*/ 9624 h 10000"/>
                <a:gd name="connsiteX897" fmla="*/ 884 w 10000"/>
                <a:gd name="connsiteY897" fmla="*/ 9628 h 10000"/>
                <a:gd name="connsiteX898" fmla="*/ 902 w 10000"/>
                <a:gd name="connsiteY898" fmla="*/ 9628 h 10000"/>
                <a:gd name="connsiteX899" fmla="*/ 914 w 10000"/>
                <a:gd name="connsiteY899" fmla="*/ 9631 h 10000"/>
                <a:gd name="connsiteX900" fmla="*/ 932 w 10000"/>
                <a:gd name="connsiteY900" fmla="*/ 9638 h 10000"/>
                <a:gd name="connsiteX901" fmla="*/ 942 w 10000"/>
                <a:gd name="connsiteY901" fmla="*/ 9642 h 10000"/>
                <a:gd name="connsiteX902" fmla="*/ 967 w 10000"/>
                <a:gd name="connsiteY902" fmla="*/ 9652 h 10000"/>
                <a:gd name="connsiteX903" fmla="*/ 987 w 10000"/>
                <a:gd name="connsiteY903" fmla="*/ 9668 h 10000"/>
                <a:gd name="connsiteX904" fmla="*/ 1005 w 10000"/>
                <a:gd name="connsiteY904" fmla="*/ 9682 h 10000"/>
                <a:gd name="connsiteX905" fmla="*/ 1025 w 10000"/>
                <a:gd name="connsiteY905" fmla="*/ 9698 h 10000"/>
                <a:gd name="connsiteX906" fmla="*/ 1045 w 10000"/>
                <a:gd name="connsiteY906" fmla="*/ 9712 h 10000"/>
                <a:gd name="connsiteX907" fmla="*/ 1073 w 10000"/>
                <a:gd name="connsiteY907" fmla="*/ 9724 h 10000"/>
                <a:gd name="connsiteX908" fmla="*/ 1098 w 10000"/>
                <a:gd name="connsiteY908" fmla="*/ 9738 h 10000"/>
                <a:gd name="connsiteX909" fmla="*/ 1121 w 10000"/>
                <a:gd name="connsiteY909" fmla="*/ 9750 h 10000"/>
                <a:gd name="connsiteX910" fmla="*/ 1141 w 10000"/>
                <a:gd name="connsiteY910" fmla="*/ 9762 h 10000"/>
                <a:gd name="connsiteX911" fmla="*/ 1159 w 10000"/>
                <a:gd name="connsiteY911" fmla="*/ 9776 h 10000"/>
                <a:gd name="connsiteX912" fmla="*/ 1172 w 10000"/>
                <a:gd name="connsiteY912" fmla="*/ 9787 h 10000"/>
                <a:gd name="connsiteX913" fmla="*/ 1182 w 10000"/>
                <a:gd name="connsiteY913" fmla="*/ 9804 h 10000"/>
                <a:gd name="connsiteX914" fmla="*/ 1194 w 10000"/>
                <a:gd name="connsiteY914" fmla="*/ 9818 h 10000"/>
                <a:gd name="connsiteX915" fmla="*/ 1202 w 10000"/>
                <a:gd name="connsiteY915" fmla="*/ 9834 h 10000"/>
                <a:gd name="connsiteX916" fmla="*/ 1212 w 10000"/>
                <a:gd name="connsiteY916" fmla="*/ 9869 h 10000"/>
                <a:gd name="connsiteX917" fmla="*/ 1220 w 10000"/>
                <a:gd name="connsiteY917" fmla="*/ 9906 h 10000"/>
                <a:gd name="connsiteX918" fmla="*/ 1230 w 10000"/>
                <a:gd name="connsiteY918" fmla="*/ 9951 h 10000"/>
                <a:gd name="connsiteX919" fmla="*/ 1237 w 10000"/>
                <a:gd name="connsiteY919" fmla="*/ 10000 h 10000"/>
                <a:gd name="connsiteX920" fmla="*/ 1237 w 10000"/>
                <a:gd name="connsiteY92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64 w 10000"/>
                <a:gd name="connsiteY732" fmla="*/ 7461 h 10000"/>
                <a:gd name="connsiteX733" fmla="*/ 2672 w 10000"/>
                <a:gd name="connsiteY733" fmla="*/ 7480 h 10000"/>
                <a:gd name="connsiteX734" fmla="*/ 2679 w 10000"/>
                <a:gd name="connsiteY734" fmla="*/ 7501 h 10000"/>
                <a:gd name="connsiteX735" fmla="*/ 2687 w 10000"/>
                <a:gd name="connsiteY735" fmla="*/ 7525 h 10000"/>
                <a:gd name="connsiteX736" fmla="*/ 2689 w 10000"/>
                <a:gd name="connsiteY736" fmla="*/ 7543 h 10000"/>
                <a:gd name="connsiteX737" fmla="*/ 2692 w 10000"/>
                <a:gd name="connsiteY737" fmla="*/ 7567 h 10000"/>
                <a:gd name="connsiteX738" fmla="*/ 2692 w 10000"/>
                <a:gd name="connsiteY738" fmla="*/ 7588 h 10000"/>
                <a:gd name="connsiteX739" fmla="*/ 2692 w 10000"/>
                <a:gd name="connsiteY739" fmla="*/ 7604 h 10000"/>
                <a:gd name="connsiteX740" fmla="*/ 2689 w 10000"/>
                <a:gd name="connsiteY740" fmla="*/ 7623 h 10000"/>
                <a:gd name="connsiteX741" fmla="*/ 2684 w 10000"/>
                <a:gd name="connsiteY741" fmla="*/ 7637 h 10000"/>
                <a:gd name="connsiteX742" fmla="*/ 2674 w 10000"/>
                <a:gd name="connsiteY742" fmla="*/ 7648 h 10000"/>
                <a:gd name="connsiteX743" fmla="*/ 2664 w 10000"/>
                <a:gd name="connsiteY743" fmla="*/ 7658 h 10000"/>
                <a:gd name="connsiteX744" fmla="*/ 2654 w 10000"/>
                <a:gd name="connsiteY744" fmla="*/ 7667 h 10000"/>
                <a:gd name="connsiteX745" fmla="*/ 2639 w 10000"/>
                <a:gd name="connsiteY745" fmla="*/ 7672 h 10000"/>
                <a:gd name="connsiteX746" fmla="*/ 2624 w 10000"/>
                <a:gd name="connsiteY746" fmla="*/ 7681 h 10000"/>
                <a:gd name="connsiteX747" fmla="*/ 2591 w 10000"/>
                <a:gd name="connsiteY747" fmla="*/ 7688 h 10000"/>
                <a:gd name="connsiteX748" fmla="*/ 2518 w 10000"/>
                <a:gd name="connsiteY748" fmla="*/ 7693 h 10000"/>
                <a:gd name="connsiteX749" fmla="*/ 2167 w 10000"/>
                <a:gd name="connsiteY749" fmla="*/ 7742 h 10000"/>
                <a:gd name="connsiteX750" fmla="*/ 2159 w 10000"/>
                <a:gd name="connsiteY750" fmla="*/ 7833 h 10000"/>
                <a:gd name="connsiteX751" fmla="*/ 2157 w 10000"/>
                <a:gd name="connsiteY751" fmla="*/ 7882 h 10000"/>
                <a:gd name="connsiteX752" fmla="*/ 2157 w 10000"/>
                <a:gd name="connsiteY752" fmla="*/ 7938 h 10000"/>
                <a:gd name="connsiteX753" fmla="*/ 2159 w 10000"/>
                <a:gd name="connsiteY753" fmla="*/ 8006 h 10000"/>
                <a:gd name="connsiteX754" fmla="*/ 2162 w 10000"/>
                <a:gd name="connsiteY754" fmla="*/ 8079 h 10000"/>
                <a:gd name="connsiteX755" fmla="*/ 2159 w 10000"/>
                <a:gd name="connsiteY755" fmla="*/ 8156 h 10000"/>
                <a:gd name="connsiteX756" fmla="*/ 2157 w 10000"/>
                <a:gd name="connsiteY756" fmla="*/ 8193 h 10000"/>
                <a:gd name="connsiteX757" fmla="*/ 2154 w 10000"/>
                <a:gd name="connsiteY757" fmla="*/ 8228 h 10000"/>
                <a:gd name="connsiteX758" fmla="*/ 2146 w 10000"/>
                <a:gd name="connsiteY758" fmla="*/ 8261 h 10000"/>
                <a:gd name="connsiteX759" fmla="*/ 2136 w 10000"/>
                <a:gd name="connsiteY759" fmla="*/ 8291 h 10000"/>
                <a:gd name="connsiteX760" fmla="*/ 2124 w 10000"/>
                <a:gd name="connsiteY760" fmla="*/ 8319 h 10000"/>
                <a:gd name="connsiteX761" fmla="*/ 2109 w 10000"/>
                <a:gd name="connsiteY761" fmla="*/ 8345 h 10000"/>
                <a:gd name="connsiteX762" fmla="*/ 2098 w 10000"/>
                <a:gd name="connsiteY762" fmla="*/ 8354 h 10000"/>
                <a:gd name="connsiteX763" fmla="*/ 2088 w 10000"/>
                <a:gd name="connsiteY763" fmla="*/ 8364 h 10000"/>
                <a:gd name="connsiteX764" fmla="*/ 2078 w 10000"/>
                <a:gd name="connsiteY764" fmla="*/ 8373 h 10000"/>
                <a:gd name="connsiteX765" fmla="*/ 2063 w 10000"/>
                <a:gd name="connsiteY765" fmla="*/ 8380 h 10000"/>
                <a:gd name="connsiteX766" fmla="*/ 1990 w 10000"/>
                <a:gd name="connsiteY766" fmla="*/ 8422 h 10000"/>
                <a:gd name="connsiteX767" fmla="*/ 1904 w 10000"/>
                <a:gd name="connsiteY767" fmla="*/ 8481 h 10000"/>
                <a:gd name="connsiteX768" fmla="*/ 1856 w 10000"/>
                <a:gd name="connsiteY768" fmla="*/ 8506 h 10000"/>
                <a:gd name="connsiteX769" fmla="*/ 1816 w 10000"/>
                <a:gd name="connsiteY769" fmla="*/ 8527 h 10000"/>
                <a:gd name="connsiteX770" fmla="*/ 1793 w 10000"/>
                <a:gd name="connsiteY770" fmla="*/ 8539 h 10000"/>
                <a:gd name="connsiteX771" fmla="*/ 1775 w 10000"/>
                <a:gd name="connsiteY771" fmla="*/ 8546 h 10000"/>
                <a:gd name="connsiteX772" fmla="*/ 1758 w 10000"/>
                <a:gd name="connsiteY772" fmla="*/ 8548 h 10000"/>
                <a:gd name="connsiteX773" fmla="*/ 1742 w 10000"/>
                <a:gd name="connsiteY773" fmla="*/ 8551 h 10000"/>
                <a:gd name="connsiteX774" fmla="*/ 1727 w 10000"/>
                <a:gd name="connsiteY774" fmla="*/ 8537 h 10000"/>
                <a:gd name="connsiteX775" fmla="*/ 1717 w 10000"/>
                <a:gd name="connsiteY775" fmla="*/ 8518 h 10000"/>
                <a:gd name="connsiteX776" fmla="*/ 1710 w 10000"/>
                <a:gd name="connsiteY776" fmla="*/ 8499 h 10000"/>
                <a:gd name="connsiteX777" fmla="*/ 1702 w 10000"/>
                <a:gd name="connsiteY777" fmla="*/ 8476 h 10000"/>
                <a:gd name="connsiteX778" fmla="*/ 1684 w 10000"/>
                <a:gd name="connsiteY778" fmla="*/ 8429 h 10000"/>
                <a:gd name="connsiteX779" fmla="*/ 1674 w 10000"/>
                <a:gd name="connsiteY779" fmla="*/ 8380 h 10000"/>
                <a:gd name="connsiteX780" fmla="*/ 1667 w 10000"/>
                <a:gd name="connsiteY780" fmla="*/ 8329 h 10000"/>
                <a:gd name="connsiteX781" fmla="*/ 1659 w 10000"/>
                <a:gd name="connsiteY781" fmla="*/ 8282 h 10000"/>
                <a:gd name="connsiteX782" fmla="*/ 1657 w 10000"/>
                <a:gd name="connsiteY782" fmla="*/ 8235 h 10000"/>
                <a:gd name="connsiteX783" fmla="*/ 1657 w 10000"/>
                <a:gd name="connsiteY783" fmla="*/ 8195 h 10000"/>
                <a:gd name="connsiteX784" fmla="*/ 1652 w 10000"/>
                <a:gd name="connsiteY784" fmla="*/ 8191 h 10000"/>
                <a:gd name="connsiteX785" fmla="*/ 1586 w 10000"/>
                <a:gd name="connsiteY785" fmla="*/ 8188 h 10000"/>
                <a:gd name="connsiteX786" fmla="*/ 1525 w 10000"/>
                <a:gd name="connsiteY786" fmla="*/ 8186 h 10000"/>
                <a:gd name="connsiteX787" fmla="*/ 1500 w 10000"/>
                <a:gd name="connsiteY787" fmla="*/ 8191 h 10000"/>
                <a:gd name="connsiteX788" fmla="*/ 1472 w 10000"/>
                <a:gd name="connsiteY788" fmla="*/ 8198 h 10000"/>
                <a:gd name="connsiteX789" fmla="*/ 1457 w 10000"/>
                <a:gd name="connsiteY789" fmla="*/ 8205 h 10000"/>
                <a:gd name="connsiteX790" fmla="*/ 1444 w 10000"/>
                <a:gd name="connsiteY790" fmla="*/ 8212 h 10000"/>
                <a:gd name="connsiteX791" fmla="*/ 1434 w 10000"/>
                <a:gd name="connsiteY791" fmla="*/ 8223 h 10000"/>
                <a:gd name="connsiteX792" fmla="*/ 1419 w 10000"/>
                <a:gd name="connsiteY792" fmla="*/ 8233 h 10000"/>
                <a:gd name="connsiteX793" fmla="*/ 1412 w 10000"/>
                <a:gd name="connsiteY793" fmla="*/ 8247 h 10000"/>
                <a:gd name="connsiteX794" fmla="*/ 1402 w 10000"/>
                <a:gd name="connsiteY794" fmla="*/ 8261 h 10000"/>
                <a:gd name="connsiteX795" fmla="*/ 1394 w 10000"/>
                <a:gd name="connsiteY795" fmla="*/ 8275 h 10000"/>
                <a:gd name="connsiteX796" fmla="*/ 1386 w 10000"/>
                <a:gd name="connsiteY796" fmla="*/ 8294 h 10000"/>
                <a:gd name="connsiteX797" fmla="*/ 1374 w 10000"/>
                <a:gd name="connsiteY797" fmla="*/ 8331 h 10000"/>
                <a:gd name="connsiteX798" fmla="*/ 1361 w 10000"/>
                <a:gd name="connsiteY798" fmla="*/ 8368 h 10000"/>
                <a:gd name="connsiteX799" fmla="*/ 1354 w 10000"/>
                <a:gd name="connsiteY799" fmla="*/ 8387 h 10000"/>
                <a:gd name="connsiteX800" fmla="*/ 1346 w 10000"/>
                <a:gd name="connsiteY800" fmla="*/ 8406 h 10000"/>
                <a:gd name="connsiteX801" fmla="*/ 1338 w 10000"/>
                <a:gd name="connsiteY801" fmla="*/ 8420 h 10000"/>
                <a:gd name="connsiteX802" fmla="*/ 1328 w 10000"/>
                <a:gd name="connsiteY802" fmla="*/ 8436 h 10000"/>
                <a:gd name="connsiteX803" fmla="*/ 1316 w 10000"/>
                <a:gd name="connsiteY803" fmla="*/ 8446 h 10000"/>
                <a:gd name="connsiteX804" fmla="*/ 1306 w 10000"/>
                <a:gd name="connsiteY804" fmla="*/ 8453 h 10000"/>
                <a:gd name="connsiteX805" fmla="*/ 1293 w 10000"/>
                <a:gd name="connsiteY805" fmla="*/ 8460 h 10000"/>
                <a:gd name="connsiteX806" fmla="*/ 1275 w 10000"/>
                <a:gd name="connsiteY806" fmla="*/ 8460 h 10000"/>
                <a:gd name="connsiteX807" fmla="*/ 1265 w 10000"/>
                <a:gd name="connsiteY807" fmla="*/ 8450 h 10000"/>
                <a:gd name="connsiteX808" fmla="*/ 1258 w 10000"/>
                <a:gd name="connsiteY808" fmla="*/ 8441 h 10000"/>
                <a:gd name="connsiteX809" fmla="*/ 1245 w 10000"/>
                <a:gd name="connsiteY809" fmla="*/ 8424 h 10000"/>
                <a:gd name="connsiteX810" fmla="*/ 1237 w 10000"/>
                <a:gd name="connsiteY810" fmla="*/ 8408 h 10000"/>
                <a:gd name="connsiteX811" fmla="*/ 1217 w 10000"/>
                <a:gd name="connsiteY811" fmla="*/ 8373 h 10000"/>
                <a:gd name="connsiteX812" fmla="*/ 1202 w 10000"/>
                <a:gd name="connsiteY812" fmla="*/ 8333 h 10000"/>
                <a:gd name="connsiteX813" fmla="*/ 1182 w 10000"/>
                <a:gd name="connsiteY813" fmla="*/ 8296 h 10000"/>
                <a:gd name="connsiteX814" fmla="*/ 1162 w 10000"/>
                <a:gd name="connsiteY814" fmla="*/ 8268 h 10000"/>
                <a:gd name="connsiteX815" fmla="*/ 1149 w 10000"/>
                <a:gd name="connsiteY815" fmla="*/ 8256 h 10000"/>
                <a:gd name="connsiteX816" fmla="*/ 1139 w 10000"/>
                <a:gd name="connsiteY816" fmla="*/ 8249 h 10000"/>
                <a:gd name="connsiteX817" fmla="*/ 1126 w 10000"/>
                <a:gd name="connsiteY817" fmla="*/ 8240 h 10000"/>
                <a:gd name="connsiteX818" fmla="*/ 1114 w 10000"/>
                <a:gd name="connsiteY818" fmla="*/ 8240 h 10000"/>
                <a:gd name="connsiteX819" fmla="*/ 1091 w 10000"/>
                <a:gd name="connsiteY819" fmla="*/ 8242 h 10000"/>
                <a:gd name="connsiteX820" fmla="*/ 1071 w 10000"/>
                <a:gd name="connsiteY820" fmla="*/ 8252 h 10000"/>
                <a:gd name="connsiteX821" fmla="*/ 1048 w 10000"/>
                <a:gd name="connsiteY821" fmla="*/ 8261 h 10000"/>
                <a:gd name="connsiteX822" fmla="*/ 1030 w 10000"/>
                <a:gd name="connsiteY822" fmla="*/ 8273 h 10000"/>
                <a:gd name="connsiteX823" fmla="*/ 1010 w 10000"/>
                <a:gd name="connsiteY823" fmla="*/ 8287 h 10000"/>
                <a:gd name="connsiteX824" fmla="*/ 995 w 10000"/>
                <a:gd name="connsiteY824" fmla="*/ 8303 h 10000"/>
                <a:gd name="connsiteX825" fmla="*/ 975 w 10000"/>
                <a:gd name="connsiteY825" fmla="*/ 8322 h 10000"/>
                <a:gd name="connsiteX826" fmla="*/ 960 w 10000"/>
                <a:gd name="connsiteY826" fmla="*/ 8343 h 10000"/>
                <a:gd name="connsiteX827" fmla="*/ 927 w 10000"/>
                <a:gd name="connsiteY827" fmla="*/ 8380 h 10000"/>
                <a:gd name="connsiteX828" fmla="*/ 891 w 10000"/>
                <a:gd name="connsiteY828" fmla="*/ 8417 h 10000"/>
                <a:gd name="connsiteX829" fmla="*/ 874 w 10000"/>
                <a:gd name="connsiteY829" fmla="*/ 8436 h 10000"/>
                <a:gd name="connsiteX830" fmla="*/ 859 w 10000"/>
                <a:gd name="connsiteY830" fmla="*/ 8450 h 10000"/>
                <a:gd name="connsiteX831" fmla="*/ 838 w 10000"/>
                <a:gd name="connsiteY831" fmla="*/ 8462 h 10000"/>
                <a:gd name="connsiteX832" fmla="*/ 821 w 10000"/>
                <a:gd name="connsiteY832" fmla="*/ 8476 h 10000"/>
                <a:gd name="connsiteX833" fmla="*/ 742 w 10000"/>
                <a:gd name="connsiteY833" fmla="*/ 8562 h 10000"/>
                <a:gd name="connsiteX834" fmla="*/ 672 w 10000"/>
                <a:gd name="connsiteY834" fmla="*/ 8644 h 10000"/>
                <a:gd name="connsiteX835" fmla="*/ 639 w 10000"/>
                <a:gd name="connsiteY835" fmla="*/ 8684 h 10000"/>
                <a:gd name="connsiteX836" fmla="*/ 609 w 10000"/>
                <a:gd name="connsiteY836" fmla="*/ 8731 h 10000"/>
                <a:gd name="connsiteX837" fmla="*/ 583 w 10000"/>
                <a:gd name="connsiteY837" fmla="*/ 8777 h 10000"/>
                <a:gd name="connsiteX838" fmla="*/ 556 w 10000"/>
                <a:gd name="connsiteY838" fmla="*/ 8831 h 10000"/>
                <a:gd name="connsiteX839" fmla="*/ 545 w 10000"/>
                <a:gd name="connsiteY839" fmla="*/ 8852 h 10000"/>
                <a:gd name="connsiteX840" fmla="*/ 525 w 10000"/>
                <a:gd name="connsiteY840" fmla="*/ 8885 h 10000"/>
                <a:gd name="connsiteX841" fmla="*/ 503 w 10000"/>
                <a:gd name="connsiteY841" fmla="*/ 8925 h 10000"/>
                <a:gd name="connsiteX842" fmla="*/ 480 w 10000"/>
                <a:gd name="connsiteY842" fmla="*/ 8962 h 10000"/>
                <a:gd name="connsiteX843" fmla="*/ 465 w 10000"/>
                <a:gd name="connsiteY843" fmla="*/ 8981 h 10000"/>
                <a:gd name="connsiteX844" fmla="*/ 455 w 10000"/>
                <a:gd name="connsiteY844" fmla="*/ 8993 h 10000"/>
                <a:gd name="connsiteX845" fmla="*/ 444 w 10000"/>
                <a:gd name="connsiteY845" fmla="*/ 9000 h 10000"/>
                <a:gd name="connsiteX846" fmla="*/ 434 w 10000"/>
                <a:gd name="connsiteY846" fmla="*/ 9007 h 10000"/>
                <a:gd name="connsiteX847" fmla="*/ 432 w 10000"/>
                <a:gd name="connsiteY847" fmla="*/ 9007 h 10000"/>
                <a:gd name="connsiteX848" fmla="*/ 429 w 10000"/>
                <a:gd name="connsiteY848" fmla="*/ 9004 h 10000"/>
                <a:gd name="connsiteX849" fmla="*/ 427 w 10000"/>
                <a:gd name="connsiteY849" fmla="*/ 8997 h 10000"/>
                <a:gd name="connsiteX850" fmla="*/ 427 w 10000"/>
                <a:gd name="connsiteY850" fmla="*/ 8993 h 10000"/>
                <a:gd name="connsiteX851" fmla="*/ 424 w 10000"/>
                <a:gd name="connsiteY851" fmla="*/ 8976 h 10000"/>
                <a:gd name="connsiteX852" fmla="*/ 427 w 10000"/>
                <a:gd name="connsiteY852" fmla="*/ 8948 h 10000"/>
                <a:gd name="connsiteX853" fmla="*/ 437 w 10000"/>
                <a:gd name="connsiteY853" fmla="*/ 8913 h 10000"/>
                <a:gd name="connsiteX854" fmla="*/ 455 w 10000"/>
                <a:gd name="connsiteY854" fmla="*/ 8859 h 10000"/>
                <a:gd name="connsiteX855" fmla="*/ 462 w 10000"/>
                <a:gd name="connsiteY855" fmla="*/ 8834 h 10000"/>
                <a:gd name="connsiteX856" fmla="*/ 470 w 10000"/>
                <a:gd name="connsiteY856" fmla="*/ 8810 h 10000"/>
                <a:gd name="connsiteX857" fmla="*/ 472 w 10000"/>
                <a:gd name="connsiteY857" fmla="*/ 8794 h 10000"/>
                <a:gd name="connsiteX858" fmla="*/ 472 w 10000"/>
                <a:gd name="connsiteY858" fmla="*/ 8780 h 10000"/>
                <a:gd name="connsiteX859" fmla="*/ 462 w 10000"/>
                <a:gd name="connsiteY859" fmla="*/ 8784 h 10000"/>
                <a:gd name="connsiteX860" fmla="*/ 452 w 10000"/>
                <a:gd name="connsiteY860" fmla="*/ 8787 h 10000"/>
                <a:gd name="connsiteX861" fmla="*/ 437 w 10000"/>
                <a:gd name="connsiteY861" fmla="*/ 8794 h 10000"/>
                <a:gd name="connsiteX862" fmla="*/ 424 w 10000"/>
                <a:gd name="connsiteY862" fmla="*/ 8803 h 10000"/>
                <a:gd name="connsiteX863" fmla="*/ 394 w 10000"/>
                <a:gd name="connsiteY863" fmla="*/ 8829 h 10000"/>
                <a:gd name="connsiteX864" fmla="*/ 364 w 10000"/>
                <a:gd name="connsiteY864" fmla="*/ 8859 h 10000"/>
                <a:gd name="connsiteX865" fmla="*/ 311 w 10000"/>
                <a:gd name="connsiteY865" fmla="*/ 8922 h 10000"/>
                <a:gd name="connsiteX866" fmla="*/ 268 w 10000"/>
                <a:gd name="connsiteY866" fmla="*/ 8964 h 10000"/>
                <a:gd name="connsiteX867" fmla="*/ 205 w 10000"/>
                <a:gd name="connsiteY867" fmla="*/ 9016 h 10000"/>
                <a:gd name="connsiteX868" fmla="*/ 146 w 10000"/>
                <a:gd name="connsiteY868" fmla="*/ 9053 h 10000"/>
                <a:gd name="connsiteX869" fmla="*/ 139 w 10000"/>
                <a:gd name="connsiteY869" fmla="*/ 9063 h 10000"/>
                <a:gd name="connsiteX870" fmla="*/ 129 w 10000"/>
                <a:gd name="connsiteY870" fmla="*/ 9077 h 10000"/>
                <a:gd name="connsiteX871" fmla="*/ 126 w 10000"/>
                <a:gd name="connsiteY871" fmla="*/ 9086 h 10000"/>
                <a:gd name="connsiteX872" fmla="*/ 126 w 10000"/>
                <a:gd name="connsiteY872" fmla="*/ 9102 h 10000"/>
                <a:gd name="connsiteX873" fmla="*/ 129 w 10000"/>
                <a:gd name="connsiteY873" fmla="*/ 9116 h 10000"/>
                <a:gd name="connsiteX874" fmla="*/ 139 w 10000"/>
                <a:gd name="connsiteY874" fmla="*/ 9135 h 10000"/>
                <a:gd name="connsiteX875" fmla="*/ 149 w 10000"/>
                <a:gd name="connsiteY875" fmla="*/ 9151 h 10000"/>
                <a:gd name="connsiteX876" fmla="*/ 164 w 10000"/>
                <a:gd name="connsiteY876" fmla="*/ 9175 h 10000"/>
                <a:gd name="connsiteX877" fmla="*/ 184 w 10000"/>
                <a:gd name="connsiteY877" fmla="*/ 9196 h 10000"/>
                <a:gd name="connsiteX878" fmla="*/ 207 w 10000"/>
                <a:gd name="connsiteY878" fmla="*/ 9215 h 10000"/>
                <a:gd name="connsiteX879" fmla="*/ 227 w 10000"/>
                <a:gd name="connsiteY879" fmla="*/ 9233 h 10000"/>
                <a:gd name="connsiteX880" fmla="*/ 253 w 10000"/>
                <a:gd name="connsiteY880" fmla="*/ 9250 h 10000"/>
                <a:gd name="connsiteX881" fmla="*/ 303 w 10000"/>
                <a:gd name="connsiteY881" fmla="*/ 9282 h 10000"/>
                <a:gd name="connsiteX882" fmla="*/ 351 w 10000"/>
                <a:gd name="connsiteY882" fmla="*/ 9315 h 10000"/>
                <a:gd name="connsiteX883" fmla="*/ 414 w 10000"/>
                <a:gd name="connsiteY883" fmla="*/ 9364 h 10000"/>
                <a:gd name="connsiteX884" fmla="*/ 480 w 10000"/>
                <a:gd name="connsiteY884" fmla="*/ 9416 h 10000"/>
                <a:gd name="connsiteX885" fmla="*/ 513 w 10000"/>
                <a:gd name="connsiteY885" fmla="*/ 9437 h 10000"/>
                <a:gd name="connsiteX886" fmla="*/ 548 w 10000"/>
                <a:gd name="connsiteY886" fmla="*/ 9462 h 10000"/>
                <a:gd name="connsiteX887" fmla="*/ 581 w 10000"/>
                <a:gd name="connsiteY887" fmla="*/ 9483 h 10000"/>
                <a:gd name="connsiteX888" fmla="*/ 614 w 10000"/>
                <a:gd name="connsiteY888" fmla="*/ 9502 h 10000"/>
                <a:gd name="connsiteX889" fmla="*/ 641 w 10000"/>
                <a:gd name="connsiteY889" fmla="*/ 9525 h 10000"/>
                <a:gd name="connsiteX890" fmla="*/ 672 w 10000"/>
                <a:gd name="connsiteY890" fmla="*/ 9549 h 10000"/>
                <a:gd name="connsiteX891" fmla="*/ 702 w 10000"/>
                <a:gd name="connsiteY891" fmla="*/ 9568 h 10000"/>
                <a:gd name="connsiteX892" fmla="*/ 737 w 10000"/>
                <a:gd name="connsiteY892" fmla="*/ 9589 h 10000"/>
                <a:gd name="connsiteX893" fmla="*/ 770 w 10000"/>
                <a:gd name="connsiteY893" fmla="*/ 9605 h 10000"/>
                <a:gd name="connsiteX894" fmla="*/ 808 w 10000"/>
                <a:gd name="connsiteY894" fmla="*/ 9617 h 10000"/>
                <a:gd name="connsiteX895" fmla="*/ 843 w 10000"/>
                <a:gd name="connsiteY895" fmla="*/ 9624 h 10000"/>
                <a:gd name="connsiteX896" fmla="*/ 884 w 10000"/>
                <a:gd name="connsiteY896" fmla="*/ 9628 h 10000"/>
                <a:gd name="connsiteX897" fmla="*/ 902 w 10000"/>
                <a:gd name="connsiteY897" fmla="*/ 9628 h 10000"/>
                <a:gd name="connsiteX898" fmla="*/ 914 w 10000"/>
                <a:gd name="connsiteY898" fmla="*/ 9631 h 10000"/>
                <a:gd name="connsiteX899" fmla="*/ 932 w 10000"/>
                <a:gd name="connsiteY899" fmla="*/ 9638 h 10000"/>
                <a:gd name="connsiteX900" fmla="*/ 942 w 10000"/>
                <a:gd name="connsiteY900" fmla="*/ 9642 h 10000"/>
                <a:gd name="connsiteX901" fmla="*/ 967 w 10000"/>
                <a:gd name="connsiteY901" fmla="*/ 9652 h 10000"/>
                <a:gd name="connsiteX902" fmla="*/ 987 w 10000"/>
                <a:gd name="connsiteY902" fmla="*/ 9668 h 10000"/>
                <a:gd name="connsiteX903" fmla="*/ 1005 w 10000"/>
                <a:gd name="connsiteY903" fmla="*/ 9682 h 10000"/>
                <a:gd name="connsiteX904" fmla="*/ 1025 w 10000"/>
                <a:gd name="connsiteY904" fmla="*/ 9698 h 10000"/>
                <a:gd name="connsiteX905" fmla="*/ 1045 w 10000"/>
                <a:gd name="connsiteY905" fmla="*/ 9712 h 10000"/>
                <a:gd name="connsiteX906" fmla="*/ 1073 w 10000"/>
                <a:gd name="connsiteY906" fmla="*/ 9724 h 10000"/>
                <a:gd name="connsiteX907" fmla="*/ 1098 w 10000"/>
                <a:gd name="connsiteY907" fmla="*/ 9738 h 10000"/>
                <a:gd name="connsiteX908" fmla="*/ 1121 w 10000"/>
                <a:gd name="connsiteY908" fmla="*/ 9750 h 10000"/>
                <a:gd name="connsiteX909" fmla="*/ 1141 w 10000"/>
                <a:gd name="connsiteY909" fmla="*/ 9762 h 10000"/>
                <a:gd name="connsiteX910" fmla="*/ 1159 w 10000"/>
                <a:gd name="connsiteY910" fmla="*/ 9776 h 10000"/>
                <a:gd name="connsiteX911" fmla="*/ 1172 w 10000"/>
                <a:gd name="connsiteY911" fmla="*/ 9787 h 10000"/>
                <a:gd name="connsiteX912" fmla="*/ 1182 w 10000"/>
                <a:gd name="connsiteY912" fmla="*/ 9804 h 10000"/>
                <a:gd name="connsiteX913" fmla="*/ 1194 w 10000"/>
                <a:gd name="connsiteY913" fmla="*/ 9818 h 10000"/>
                <a:gd name="connsiteX914" fmla="*/ 1202 w 10000"/>
                <a:gd name="connsiteY914" fmla="*/ 9834 h 10000"/>
                <a:gd name="connsiteX915" fmla="*/ 1212 w 10000"/>
                <a:gd name="connsiteY915" fmla="*/ 9869 h 10000"/>
                <a:gd name="connsiteX916" fmla="*/ 1220 w 10000"/>
                <a:gd name="connsiteY916" fmla="*/ 9906 h 10000"/>
                <a:gd name="connsiteX917" fmla="*/ 1230 w 10000"/>
                <a:gd name="connsiteY917" fmla="*/ 9951 h 10000"/>
                <a:gd name="connsiteX918" fmla="*/ 1237 w 10000"/>
                <a:gd name="connsiteY918" fmla="*/ 10000 h 10000"/>
                <a:gd name="connsiteX919" fmla="*/ 1237 w 10000"/>
                <a:gd name="connsiteY91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64 w 10000"/>
                <a:gd name="connsiteY732" fmla="*/ 7461 h 10000"/>
                <a:gd name="connsiteX733" fmla="*/ 2672 w 10000"/>
                <a:gd name="connsiteY733" fmla="*/ 7480 h 10000"/>
                <a:gd name="connsiteX734" fmla="*/ 2679 w 10000"/>
                <a:gd name="connsiteY734" fmla="*/ 7501 h 10000"/>
                <a:gd name="connsiteX735" fmla="*/ 2687 w 10000"/>
                <a:gd name="connsiteY735" fmla="*/ 7525 h 10000"/>
                <a:gd name="connsiteX736" fmla="*/ 2689 w 10000"/>
                <a:gd name="connsiteY736" fmla="*/ 7543 h 10000"/>
                <a:gd name="connsiteX737" fmla="*/ 2692 w 10000"/>
                <a:gd name="connsiteY737" fmla="*/ 7567 h 10000"/>
                <a:gd name="connsiteX738" fmla="*/ 2692 w 10000"/>
                <a:gd name="connsiteY738" fmla="*/ 7588 h 10000"/>
                <a:gd name="connsiteX739" fmla="*/ 2692 w 10000"/>
                <a:gd name="connsiteY739" fmla="*/ 7604 h 10000"/>
                <a:gd name="connsiteX740" fmla="*/ 2689 w 10000"/>
                <a:gd name="connsiteY740" fmla="*/ 7623 h 10000"/>
                <a:gd name="connsiteX741" fmla="*/ 2684 w 10000"/>
                <a:gd name="connsiteY741" fmla="*/ 7637 h 10000"/>
                <a:gd name="connsiteX742" fmla="*/ 2674 w 10000"/>
                <a:gd name="connsiteY742" fmla="*/ 7648 h 10000"/>
                <a:gd name="connsiteX743" fmla="*/ 2664 w 10000"/>
                <a:gd name="connsiteY743" fmla="*/ 7658 h 10000"/>
                <a:gd name="connsiteX744" fmla="*/ 2654 w 10000"/>
                <a:gd name="connsiteY744" fmla="*/ 7667 h 10000"/>
                <a:gd name="connsiteX745" fmla="*/ 2639 w 10000"/>
                <a:gd name="connsiteY745" fmla="*/ 7672 h 10000"/>
                <a:gd name="connsiteX746" fmla="*/ 2624 w 10000"/>
                <a:gd name="connsiteY746" fmla="*/ 7681 h 10000"/>
                <a:gd name="connsiteX747" fmla="*/ 2518 w 10000"/>
                <a:gd name="connsiteY747" fmla="*/ 7693 h 10000"/>
                <a:gd name="connsiteX748" fmla="*/ 2167 w 10000"/>
                <a:gd name="connsiteY748" fmla="*/ 7742 h 10000"/>
                <a:gd name="connsiteX749" fmla="*/ 2159 w 10000"/>
                <a:gd name="connsiteY749" fmla="*/ 7833 h 10000"/>
                <a:gd name="connsiteX750" fmla="*/ 2157 w 10000"/>
                <a:gd name="connsiteY750" fmla="*/ 7882 h 10000"/>
                <a:gd name="connsiteX751" fmla="*/ 2157 w 10000"/>
                <a:gd name="connsiteY751" fmla="*/ 7938 h 10000"/>
                <a:gd name="connsiteX752" fmla="*/ 2159 w 10000"/>
                <a:gd name="connsiteY752" fmla="*/ 8006 h 10000"/>
                <a:gd name="connsiteX753" fmla="*/ 2162 w 10000"/>
                <a:gd name="connsiteY753" fmla="*/ 8079 h 10000"/>
                <a:gd name="connsiteX754" fmla="*/ 2159 w 10000"/>
                <a:gd name="connsiteY754" fmla="*/ 8156 h 10000"/>
                <a:gd name="connsiteX755" fmla="*/ 2157 w 10000"/>
                <a:gd name="connsiteY755" fmla="*/ 8193 h 10000"/>
                <a:gd name="connsiteX756" fmla="*/ 2154 w 10000"/>
                <a:gd name="connsiteY756" fmla="*/ 8228 h 10000"/>
                <a:gd name="connsiteX757" fmla="*/ 2146 w 10000"/>
                <a:gd name="connsiteY757" fmla="*/ 8261 h 10000"/>
                <a:gd name="connsiteX758" fmla="*/ 2136 w 10000"/>
                <a:gd name="connsiteY758" fmla="*/ 8291 h 10000"/>
                <a:gd name="connsiteX759" fmla="*/ 2124 w 10000"/>
                <a:gd name="connsiteY759" fmla="*/ 8319 h 10000"/>
                <a:gd name="connsiteX760" fmla="*/ 2109 w 10000"/>
                <a:gd name="connsiteY760" fmla="*/ 8345 h 10000"/>
                <a:gd name="connsiteX761" fmla="*/ 2098 w 10000"/>
                <a:gd name="connsiteY761" fmla="*/ 8354 h 10000"/>
                <a:gd name="connsiteX762" fmla="*/ 2088 w 10000"/>
                <a:gd name="connsiteY762" fmla="*/ 8364 h 10000"/>
                <a:gd name="connsiteX763" fmla="*/ 2078 w 10000"/>
                <a:gd name="connsiteY763" fmla="*/ 8373 h 10000"/>
                <a:gd name="connsiteX764" fmla="*/ 2063 w 10000"/>
                <a:gd name="connsiteY764" fmla="*/ 8380 h 10000"/>
                <a:gd name="connsiteX765" fmla="*/ 1990 w 10000"/>
                <a:gd name="connsiteY765" fmla="*/ 8422 h 10000"/>
                <a:gd name="connsiteX766" fmla="*/ 1904 w 10000"/>
                <a:gd name="connsiteY766" fmla="*/ 8481 h 10000"/>
                <a:gd name="connsiteX767" fmla="*/ 1856 w 10000"/>
                <a:gd name="connsiteY767" fmla="*/ 8506 h 10000"/>
                <a:gd name="connsiteX768" fmla="*/ 1816 w 10000"/>
                <a:gd name="connsiteY768" fmla="*/ 8527 h 10000"/>
                <a:gd name="connsiteX769" fmla="*/ 1793 w 10000"/>
                <a:gd name="connsiteY769" fmla="*/ 8539 h 10000"/>
                <a:gd name="connsiteX770" fmla="*/ 1775 w 10000"/>
                <a:gd name="connsiteY770" fmla="*/ 8546 h 10000"/>
                <a:gd name="connsiteX771" fmla="*/ 1758 w 10000"/>
                <a:gd name="connsiteY771" fmla="*/ 8548 h 10000"/>
                <a:gd name="connsiteX772" fmla="*/ 1742 w 10000"/>
                <a:gd name="connsiteY772" fmla="*/ 8551 h 10000"/>
                <a:gd name="connsiteX773" fmla="*/ 1727 w 10000"/>
                <a:gd name="connsiteY773" fmla="*/ 8537 h 10000"/>
                <a:gd name="connsiteX774" fmla="*/ 1717 w 10000"/>
                <a:gd name="connsiteY774" fmla="*/ 8518 h 10000"/>
                <a:gd name="connsiteX775" fmla="*/ 1710 w 10000"/>
                <a:gd name="connsiteY775" fmla="*/ 8499 h 10000"/>
                <a:gd name="connsiteX776" fmla="*/ 1702 w 10000"/>
                <a:gd name="connsiteY776" fmla="*/ 8476 h 10000"/>
                <a:gd name="connsiteX777" fmla="*/ 1684 w 10000"/>
                <a:gd name="connsiteY777" fmla="*/ 8429 h 10000"/>
                <a:gd name="connsiteX778" fmla="*/ 1674 w 10000"/>
                <a:gd name="connsiteY778" fmla="*/ 8380 h 10000"/>
                <a:gd name="connsiteX779" fmla="*/ 1667 w 10000"/>
                <a:gd name="connsiteY779" fmla="*/ 8329 h 10000"/>
                <a:gd name="connsiteX780" fmla="*/ 1659 w 10000"/>
                <a:gd name="connsiteY780" fmla="*/ 8282 h 10000"/>
                <a:gd name="connsiteX781" fmla="*/ 1657 w 10000"/>
                <a:gd name="connsiteY781" fmla="*/ 8235 h 10000"/>
                <a:gd name="connsiteX782" fmla="*/ 1657 w 10000"/>
                <a:gd name="connsiteY782" fmla="*/ 8195 h 10000"/>
                <a:gd name="connsiteX783" fmla="*/ 1652 w 10000"/>
                <a:gd name="connsiteY783" fmla="*/ 8191 h 10000"/>
                <a:gd name="connsiteX784" fmla="*/ 1586 w 10000"/>
                <a:gd name="connsiteY784" fmla="*/ 8188 h 10000"/>
                <a:gd name="connsiteX785" fmla="*/ 1525 w 10000"/>
                <a:gd name="connsiteY785" fmla="*/ 8186 h 10000"/>
                <a:gd name="connsiteX786" fmla="*/ 1500 w 10000"/>
                <a:gd name="connsiteY786" fmla="*/ 8191 h 10000"/>
                <a:gd name="connsiteX787" fmla="*/ 1472 w 10000"/>
                <a:gd name="connsiteY787" fmla="*/ 8198 h 10000"/>
                <a:gd name="connsiteX788" fmla="*/ 1457 w 10000"/>
                <a:gd name="connsiteY788" fmla="*/ 8205 h 10000"/>
                <a:gd name="connsiteX789" fmla="*/ 1444 w 10000"/>
                <a:gd name="connsiteY789" fmla="*/ 8212 h 10000"/>
                <a:gd name="connsiteX790" fmla="*/ 1434 w 10000"/>
                <a:gd name="connsiteY790" fmla="*/ 8223 h 10000"/>
                <a:gd name="connsiteX791" fmla="*/ 1419 w 10000"/>
                <a:gd name="connsiteY791" fmla="*/ 8233 h 10000"/>
                <a:gd name="connsiteX792" fmla="*/ 1412 w 10000"/>
                <a:gd name="connsiteY792" fmla="*/ 8247 h 10000"/>
                <a:gd name="connsiteX793" fmla="*/ 1402 w 10000"/>
                <a:gd name="connsiteY793" fmla="*/ 8261 h 10000"/>
                <a:gd name="connsiteX794" fmla="*/ 1394 w 10000"/>
                <a:gd name="connsiteY794" fmla="*/ 8275 h 10000"/>
                <a:gd name="connsiteX795" fmla="*/ 1386 w 10000"/>
                <a:gd name="connsiteY795" fmla="*/ 8294 h 10000"/>
                <a:gd name="connsiteX796" fmla="*/ 1374 w 10000"/>
                <a:gd name="connsiteY796" fmla="*/ 8331 h 10000"/>
                <a:gd name="connsiteX797" fmla="*/ 1361 w 10000"/>
                <a:gd name="connsiteY797" fmla="*/ 8368 h 10000"/>
                <a:gd name="connsiteX798" fmla="*/ 1354 w 10000"/>
                <a:gd name="connsiteY798" fmla="*/ 8387 h 10000"/>
                <a:gd name="connsiteX799" fmla="*/ 1346 w 10000"/>
                <a:gd name="connsiteY799" fmla="*/ 8406 h 10000"/>
                <a:gd name="connsiteX800" fmla="*/ 1338 w 10000"/>
                <a:gd name="connsiteY800" fmla="*/ 8420 h 10000"/>
                <a:gd name="connsiteX801" fmla="*/ 1328 w 10000"/>
                <a:gd name="connsiteY801" fmla="*/ 8436 h 10000"/>
                <a:gd name="connsiteX802" fmla="*/ 1316 w 10000"/>
                <a:gd name="connsiteY802" fmla="*/ 8446 h 10000"/>
                <a:gd name="connsiteX803" fmla="*/ 1306 w 10000"/>
                <a:gd name="connsiteY803" fmla="*/ 8453 h 10000"/>
                <a:gd name="connsiteX804" fmla="*/ 1293 w 10000"/>
                <a:gd name="connsiteY804" fmla="*/ 8460 h 10000"/>
                <a:gd name="connsiteX805" fmla="*/ 1275 w 10000"/>
                <a:gd name="connsiteY805" fmla="*/ 8460 h 10000"/>
                <a:gd name="connsiteX806" fmla="*/ 1265 w 10000"/>
                <a:gd name="connsiteY806" fmla="*/ 8450 h 10000"/>
                <a:gd name="connsiteX807" fmla="*/ 1258 w 10000"/>
                <a:gd name="connsiteY807" fmla="*/ 8441 h 10000"/>
                <a:gd name="connsiteX808" fmla="*/ 1245 w 10000"/>
                <a:gd name="connsiteY808" fmla="*/ 8424 h 10000"/>
                <a:gd name="connsiteX809" fmla="*/ 1237 w 10000"/>
                <a:gd name="connsiteY809" fmla="*/ 8408 h 10000"/>
                <a:gd name="connsiteX810" fmla="*/ 1217 w 10000"/>
                <a:gd name="connsiteY810" fmla="*/ 8373 h 10000"/>
                <a:gd name="connsiteX811" fmla="*/ 1202 w 10000"/>
                <a:gd name="connsiteY811" fmla="*/ 8333 h 10000"/>
                <a:gd name="connsiteX812" fmla="*/ 1182 w 10000"/>
                <a:gd name="connsiteY812" fmla="*/ 8296 h 10000"/>
                <a:gd name="connsiteX813" fmla="*/ 1162 w 10000"/>
                <a:gd name="connsiteY813" fmla="*/ 8268 h 10000"/>
                <a:gd name="connsiteX814" fmla="*/ 1149 w 10000"/>
                <a:gd name="connsiteY814" fmla="*/ 8256 h 10000"/>
                <a:gd name="connsiteX815" fmla="*/ 1139 w 10000"/>
                <a:gd name="connsiteY815" fmla="*/ 8249 h 10000"/>
                <a:gd name="connsiteX816" fmla="*/ 1126 w 10000"/>
                <a:gd name="connsiteY816" fmla="*/ 8240 h 10000"/>
                <a:gd name="connsiteX817" fmla="*/ 1114 w 10000"/>
                <a:gd name="connsiteY817" fmla="*/ 8240 h 10000"/>
                <a:gd name="connsiteX818" fmla="*/ 1091 w 10000"/>
                <a:gd name="connsiteY818" fmla="*/ 8242 h 10000"/>
                <a:gd name="connsiteX819" fmla="*/ 1071 w 10000"/>
                <a:gd name="connsiteY819" fmla="*/ 8252 h 10000"/>
                <a:gd name="connsiteX820" fmla="*/ 1048 w 10000"/>
                <a:gd name="connsiteY820" fmla="*/ 8261 h 10000"/>
                <a:gd name="connsiteX821" fmla="*/ 1030 w 10000"/>
                <a:gd name="connsiteY821" fmla="*/ 8273 h 10000"/>
                <a:gd name="connsiteX822" fmla="*/ 1010 w 10000"/>
                <a:gd name="connsiteY822" fmla="*/ 8287 h 10000"/>
                <a:gd name="connsiteX823" fmla="*/ 995 w 10000"/>
                <a:gd name="connsiteY823" fmla="*/ 8303 h 10000"/>
                <a:gd name="connsiteX824" fmla="*/ 975 w 10000"/>
                <a:gd name="connsiteY824" fmla="*/ 8322 h 10000"/>
                <a:gd name="connsiteX825" fmla="*/ 960 w 10000"/>
                <a:gd name="connsiteY825" fmla="*/ 8343 h 10000"/>
                <a:gd name="connsiteX826" fmla="*/ 927 w 10000"/>
                <a:gd name="connsiteY826" fmla="*/ 8380 h 10000"/>
                <a:gd name="connsiteX827" fmla="*/ 891 w 10000"/>
                <a:gd name="connsiteY827" fmla="*/ 8417 h 10000"/>
                <a:gd name="connsiteX828" fmla="*/ 874 w 10000"/>
                <a:gd name="connsiteY828" fmla="*/ 8436 h 10000"/>
                <a:gd name="connsiteX829" fmla="*/ 859 w 10000"/>
                <a:gd name="connsiteY829" fmla="*/ 8450 h 10000"/>
                <a:gd name="connsiteX830" fmla="*/ 838 w 10000"/>
                <a:gd name="connsiteY830" fmla="*/ 8462 h 10000"/>
                <a:gd name="connsiteX831" fmla="*/ 821 w 10000"/>
                <a:gd name="connsiteY831" fmla="*/ 8476 h 10000"/>
                <a:gd name="connsiteX832" fmla="*/ 742 w 10000"/>
                <a:gd name="connsiteY832" fmla="*/ 8562 h 10000"/>
                <a:gd name="connsiteX833" fmla="*/ 672 w 10000"/>
                <a:gd name="connsiteY833" fmla="*/ 8644 h 10000"/>
                <a:gd name="connsiteX834" fmla="*/ 639 w 10000"/>
                <a:gd name="connsiteY834" fmla="*/ 8684 h 10000"/>
                <a:gd name="connsiteX835" fmla="*/ 609 w 10000"/>
                <a:gd name="connsiteY835" fmla="*/ 8731 h 10000"/>
                <a:gd name="connsiteX836" fmla="*/ 583 w 10000"/>
                <a:gd name="connsiteY836" fmla="*/ 8777 h 10000"/>
                <a:gd name="connsiteX837" fmla="*/ 556 w 10000"/>
                <a:gd name="connsiteY837" fmla="*/ 8831 h 10000"/>
                <a:gd name="connsiteX838" fmla="*/ 545 w 10000"/>
                <a:gd name="connsiteY838" fmla="*/ 8852 h 10000"/>
                <a:gd name="connsiteX839" fmla="*/ 525 w 10000"/>
                <a:gd name="connsiteY839" fmla="*/ 8885 h 10000"/>
                <a:gd name="connsiteX840" fmla="*/ 503 w 10000"/>
                <a:gd name="connsiteY840" fmla="*/ 8925 h 10000"/>
                <a:gd name="connsiteX841" fmla="*/ 480 w 10000"/>
                <a:gd name="connsiteY841" fmla="*/ 8962 h 10000"/>
                <a:gd name="connsiteX842" fmla="*/ 465 w 10000"/>
                <a:gd name="connsiteY842" fmla="*/ 8981 h 10000"/>
                <a:gd name="connsiteX843" fmla="*/ 455 w 10000"/>
                <a:gd name="connsiteY843" fmla="*/ 8993 h 10000"/>
                <a:gd name="connsiteX844" fmla="*/ 444 w 10000"/>
                <a:gd name="connsiteY844" fmla="*/ 9000 h 10000"/>
                <a:gd name="connsiteX845" fmla="*/ 434 w 10000"/>
                <a:gd name="connsiteY845" fmla="*/ 9007 h 10000"/>
                <a:gd name="connsiteX846" fmla="*/ 432 w 10000"/>
                <a:gd name="connsiteY846" fmla="*/ 9007 h 10000"/>
                <a:gd name="connsiteX847" fmla="*/ 429 w 10000"/>
                <a:gd name="connsiteY847" fmla="*/ 9004 h 10000"/>
                <a:gd name="connsiteX848" fmla="*/ 427 w 10000"/>
                <a:gd name="connsiteY848" fmla="*/ 8997 h 10000"/>
                <a:gd name="connsiteX849" fmla="*/ 427 w 10000"/>
                <a:gd name="connsiteY849" fmla="*/ 8993 h 10000"/>
                <a:gd name="connsiteX850" fmla="*/ 424 w 10000"/>
                <a:gd name="connsiteY850" fmla="*/ 8976 h 10000"/>
                <a:gd name="connsiteX851" fmla="*/ 427 w 10000"/>
                <a:gd name="connsiteY851" fmla="*/ 8948 h 10000"/>
                <a:gd name="connsiteX852" fmla="*/ 437 w 10000"/>
                <a:gd name="connsiteY852" fmla="*/ 8913 h 10000"/>
                <a:gd name="connsiteX853" fmla="*/ 455 w 10000"/>
                <a:gd name="connsiteY853" fmla="*/ 8859 h 10000"/>
                <a:gd name="connsiteX854" fmla="*/ 462 w 10000"/>
                <a:gd name="connsiteY854" fmla="*/ 8834 h 10000"/>
                <a:gd name="connsiteX855" fmla="*/ 470 w 10000"/>
                <a:gd name="connsiteY855" fmla="*/ 8810 h 10000"/>
                <a:gd name="connsiteX856" fmla="*/ 472 w 10000"/>
                <a:gd name="connsiteY856" fmla="*/ 8794 h 10000"/>
                <a:gd name="connsiteX857" fmla="*/ 472 w 10000"/>
                <a:gd name="connsiteY857" fmla="*/ 8780 h 10000"/>
                <a:gd name="connsiteX858" fmla="*/ 462 w 10000"/>
                <a:gd name="connsiteY858" fmla="*/ 8784 h 10000"/>
                <a:gd name="connsiteX859" fmla="*/ 452 w 10000"/>
                <a:gd name="connsiteY859" fmla="*/ 8787 h 10000"/>
                <a:gd name="connsiteX860" fmla="*/ 437 w 10000"/>
                <a:gd name="connsiteY860" fmla="*/ 8794 h 10000"/>
                <a:gd name="connsiteX861" fmla="*/ 424 w 10000"/>
                <a:gd name="connsiteY861" fmla="*/ 8803 h 10000"/>
                <a:gd name="connsiteX862" fmla="*/ 394 w 10000"/>
                <a:gd name="connsiteY862" fmla="*/ 8829 h 10000"/>
                <a:gd name="connsiteX863" fmla="*/ 364 w 10000"/>
                <a:gd name="connsiteY863" fmla="*/ 8859 h 10000"/>
                <a:gd name="connsiteX864" fmla="*/ 311 w 10000"/>
                <a:gd name="connsiteY864" fmla="*/ 8922 h 10000"/>
                <a:gd name="connsiteX865" fmla="*/ 268 w 10000"/>
                <a:gd name="connsiteY865" fmla="*/ 8964 h 10000"/>
                <a:gd name="connsiteX866" fmla="*/ 205 w 10000"/>
                <a:gd name="connsiteY866" fmla="*/ 9016 h 10000"/>
                <a:gd name="connsiteX867" fmla="*/ 146 w 10000"/>
                <a:gd name="connsiteY867" fmla="*/ 9053 h 10000"/>
                <a:gd name="connsiteX868" fmla="*/ 139 w 10000"/>
                <a:gd name="connsiteY868" fmla="*/ 9063 h 10000"/>
                <a:gd name="connsiteX869" fmla="*/ 129 w 10000"/>
                <a:gd name="connsiteY869" fmla="*/ 9077 h 10000"/>
                <a:gd name="connsiteX870" fmla="*/ 126 w 10000"/>
                <a:gd name="connsiteY870" fmla="*/ 9086 h 10000"/>
                <a:gd name="connsiteX871" fmla="*/ 126 w 10000"/>
                <a:gd name="connsiteY871" fmla="*/ 9102 h 10000"/>
                <a:gd name="connsiteX872" fmla="*/ 129 w 10000"/>
                <a:gd name="connsiteY872" fmla="*/ 9116 h 10000"/>
                <a:gd name="connsiteX873" fmla="*/ 139 w 10000"/>
                <a:gd name="connsiteY873" fmla="*/ 9135 h 10000"/>
                <a:gd name="connsiteX874" fmla="*/ 149 w 10000"/>
                <a:gd name="connsiteY874" fmla="*/ 9151 h 10000"/>
                <a:gd name="connsiteX875" fmla="*/ 164 w 10000"/>
                <a:gd name="connsiteY875" fmla="*/ 9175 h 10000"/>
                <a:gd name="connsiteX876" fmla="*/ 184 w 10000"/>
                <a:gd name="connsiteY876" fmla="*/ 9196 h 10000"/>
                <a:gd name="connsiteX877" fmla="*/ 207 w 10000"/>
                <a:gd name="connsiteY877" fmla="*/ 9215 h 10000"/>
                <a:gd name="connsiteX878" fmla="*/ 227 w 10000"/>
                <a:gd name="connsiteY878" fmla="*/ 9233 h 10000"/>
                <a:gd name="connsiteX879" fmla="*/ 253 w 10000"/>
                <a:gd name="connsiteY879" fmla="*/ 9250 h 10000"/>
                <a:gd name="connsiteX880" fmla="*/ 303 w 10000"/>
                <a:gd name="connsiteY880" fmla="*/ 9282 h 10000"/>
                <a:gd name="connsiteX881" fmla="*/ 351 w 10000"/>
                <a:gd name="connsiteY881" fmla="*/ 9315 h 10000"/>
                <a:gd name="connsiteX882" fmla="*/ 414 w 10000"/>
                <a:gd name="connsiteY882" fmla="*/ 9364 h 10000"/>
                <a:gd name="connsiteX883" fmla="*/ 480 w 10000"/>
                <a:gd name="connsiteY883" fmla="*/ 9416 h 10000"/>
                <a:gd name="connsiteX884" fmla="*/ 513 w 10000"/>
                <a:gd name="connsiteY884" fmla="*/ 9437 h 10000"/>
                <a:gd name="connsiteX885" fmla="*/ 548 w 10000"/>
                <a:gd name="connsiteY885" fmla="*/ 9462 h 10000"/>
                <a:gd name="connsiteX886" fmla="*/ 581 w 10000"/>
                <a:gd name="connsiteY886" fmla="*/ 9483 h 10000"/>
                <a:gd name="connsiteX887" fmla="*/ 614 w 10000"/>
                <a:gd name="connsiteY887" fmla="*/ 9502 h 10000"/>
                <a:gd name="connsiteX888" fmla="*/ 641 w 10000"/>
                <a:gd name="connsiteY888" fmla="*/ 9525 h 10000"/>
                <a:gd name="connsiteX889" fmla="*/ 672 w 10000"/>
                <a:gd name="connsiteY889" fmla="*/ 9549 h 10000"/>
                <a:gd name="connsiteX890" fmla="*/ 702 w 10000"/>
                <a:gd name="connsiteY890" fmla="*/ 9568 h 10000"/>
                <a:gd name="connsiteX891" fmla="*/ 737 w 10000"/>
                <a:gd name="connsiteY891" fmla="*/ 9589 h 10000"/>
                <a:gd name="connsiteX892" fmla="*/ 770 w 10000"/>
                <a:gd name="connsiteY892" fmla="*/ 9605 h 10000"/>
                <a:gd name="connsiteX893" fmla="*/ 808 w 10000"/>
                <a:gd name="connsiteY893" fmla="*/ 9617 h 10000"/>
                <a:gd name="connsiteX894" fmla="*/ 843 w 10000"/>
                <a:gd name="connsiteY894" fmla="*/ 9624 h 10000"/>
                <a:gd name="connsiteX895" fmla="*/ 884 w 10000"/>
                <a:gd name="connsiteY895" fmla="*/ 9628 h 10000"/>
                <a:gd name="connsiteX896" fmla="*/ 902 w 10000"/>
                <a:gd name="connsiteY896" fmla="*/ 9628 h 10000"/>
                <a:gd name="connsiteX897" fmla="*/ 914 w 10000"/>
                <a:gd name="connsiteY897" fmla="*/ 9631 h 10000"/>
                <a:gd name="connsiteX898" fmla="*/ 932 w 10000"/>
                <a:gd name="connsiteY898" fmla="*/ 9638 h 10000"/>
                <a:gd name="connsiteX899" fmla="*/ 942 w 10000"/>
                <a:gd name="connsiteY899" fmla="*/ 9642 h 10000"/>
                <a:gd name="connsiteX900" fmla="*/ 967 w 10000"/>
                <a:gd name="connsiteY900" fmla="*/ 9652 h 10000"/>
                <a:gd name="connsiteX901" fmla="*/ 987 w 10000"/>
                <a:gd name="connsiteY901" fmla="*/ 9668 h 10000"/>
                <a:gd name="connsiteX902" fmla="*/ 1005 w 10000"/>
                <a:gd name="connsiteY902" fmla="*/ 9682 h 10000"/>
                <a:gd name="connsiteX903" fmla="*/ 1025 w 10000"/>
                <a:gd name="connsiteY903" fmla="*/ 9698 h 10000"/>
                <a:gd name="connsiteX904" fmla="*/ 1045 w 10000"/>
                <a:gd name="connsiteY904" fmla="*/ 9712 h 10000"/>
                <a:gd name="connsiteX905" fmla="*/ 1073 w 10000"/>
                <a:gd name="connsiteY905" fmla="*/ 9724 h 10000"/>
                <a:gd name="connsiteX906" fmla="*/ 1098 w 10000"/>
                <a:gd name="connsiteY906" fmla="*/ 9738 h 10000"/>
                <a:gd name="connsiteX907" fmla="*/ 1121 w 10000"/>
                <a:gd name="connsiteY907" fmla="*/ 9750 h 10000"/>
                <a:gd name="connsiteX908" fmla="*/ 1141 w 10000"/>
                <a:gd name="connsiteY908" fmla="*/ 9762 h 10000"/>
                <a:gd name="connsiteX909" fmla="*/ 1159 w 10000"/>
                <a:gd name="connsiteY909" fmla="*/ 9776 h 10000"/>
                <a:gd name="connsiteX910" fmla="*/ 1172 w 10000"/>
                <a:gd name="connsiteY910" fmla="*/ 9787 h 10000"/>
                <a:gd name="connsiteX911" fmla="*/ 1182 w 10000"/>
                <a:gd name="connsiteY911" fmla="*/ 9804 h 10000"/>
                <a:gd name="connsiteX912" fmla="*/ 1194 w 10000"/>
                <a:gd name="connsiteY912" fmla="*/ 9818 h 10000"/>
                <a:gd name="connsiteX913" fmla="*/ 1202 w 10000"/>
                <a:gd name="connsiteY913" fmla="*/ 9834 h 10000"/>
                <a:gd name="connsiteX914" fmla="*/ 1212 w 10000"/>
                <a:gd name="connsiteY914" fmla="*/ 9869 h 10000"/>
                <a:gd name="connsiteX915" fmla="*/ 1220 w 10000"/>
                <a:gd name="connsiteY915" fmla="*/ 9906 h 10000"/>
                <a:gd name="connsiteX916" fmla="*/ 1230 w 10000"/>
                <a:gd name="connsiteY916" fmla="*/ 9951 h 10000"/>
                <a:gd name="connsiteX917" fmla="*/ 1237 w 10000"/>
                <a:gd name="connsiteY917" fmla="*/ 10000 h 10000"/>
                <a:gd name="connsiteX918" fmla="*/ 1237 w 10000"/>
                <a:gd name="connsiteY91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64 w 10000"/>
                <a:gd name="connsiteY732" fmla="*/ 7461 h 10000"/>
                <a:gd name="connsiteX733" fmla="*/ 2672 w 10000"/>
                <a:gd name="connsiteY733" fmla="*/ 7480 h 10000"/>
                <a:gd name="connsiteX734" fmla="*/ 2679 w 10000"/>
                <a:gd name="connsiteY734" fmla="*/ 7501 h 10000"/>
                <a:gd name="connsiteX735" fmla="*/ 2687 w 10000"/>
                <a:gd name="connsiteY735" fmla="*/ 7525 h 10000"/>
                <a:gd name="connsiteX736" fmla="*/ 2689 w 10000"/>
                <a:gd name="connsiteY736" fmla="*/ 7543 h 10000"/>
                <a:gd name="connsiteX737" fmla="*/ 2692 w 10000"/>
                <a:gd name="connsiteY737" fmla="*/ 7567 h 10000"/>
                <a:gd name="connsiteX738" fmla="*/ 2692 w 10000"/>
                <a:gd name="connsiteY738" fmla="*/ 7588 h 10000"/>
                <a:gd name="connsiteX739" fmla="*/ 2692 w 10000"/>
                <a:gd name="connsiteY739" fmla="*/ 7604 h 10000"/>
                <a:gd name="connsiteX740" fmla="*/ 2689 w 10000"/>
                <a:gd name="connsiteY740" fmla="*/ 7623 h 10000"/>
                <a:gd name="connsiteX741" fmla="*/ 2684 w 10000"/>
                <a:gd name="connsiteY741" fmla="*/ 7637 h 10000"/>
                <a:gd name="connsiteX742" fmla="*/ 2674 w 10000"/>
                <a:gd name="connsiteY742" fmla="*/ 7648 h 10000"/>
                <a:gd name="connsiteX743" fmla="*/ 2664 w 10000"/>
                <a:gd name="connsiteY743" fmla="*/ 7658 h 10000"/>
                <a:gd name="connsiteX744" fmla="*/ 2654 w 10000"/>
                <a:gd name="connsiteY744" fmla="*/ 7667 h 10000"/>
                <a:gd name="connsiteX745" fmla="*/ 2639 w 10000"/>
                <a:gd name="connsiteY745" fmla="*/ 7672 h 10000"/>
                <a:gd name="connsiteX746" fmla="*/ 2518 w 10000"/>
                <a:gd name="connsiteY746" fmla="*/ 7693 h 10000"/>
                <a:gd name="connsiteX747" fmla="*/ 2167 w 10000"/>
                <a:gd name="connsiteY747" fmla="*/ 7742 h 10000"/>
                <a:gd name="connsiteX748" fmla="*/ 2159 w 10000"/>
                <a:gd name="connsiteY748" fmla="*/ 7833 h 10000"/>
                <a:gd name="connsiteX749" fmla="*/ 2157 w 10000"/>
                <a:gd name="connsiteY749" fmla="*/ 7882 h 10000"/>
                <a:gd name="connsiteX750" fmla="*/ 2157 w 10000"/>
                <a:gd name="connsiteY750" fmla="*/ 7938 h 10000"/>
                <a:gd name="connsiteX751" fmla="*/ 2159 w 10000"/>
                <a:gd name="connsiteY751" fmla="*/ 8006 h 10000"/>
                <a:gd name="connsiteX752" fmla="*/ 2162 w 10000"/>
                <a:gd name="connsiteY752" fmla="*/ 8079 h 10000"/>
                <a:gd name="connsiteX753" fmla="*/ 2159 w 10000"/>
                <a:gd name="connsiteY753" fmla="*/ 8156 h 10000"/>
                <a:gd name="connsiteX754" fmla="*/ 2157 w 10000"/>
                <a:gd name="connsiteY754" fmla="*/ 8193 h 10000"/>
                <a:gd name="connsiteX755" fmla="*/ 2154 w 10000"/>
                <a:gd name="connsiteY755" fmla="*/ 8228 h 10000"/>
                <a:gd name="connsiteX756" fmla="*/ 2146 w 10000"/>
                <a:gd name="connsiteY756" fmla="*/ 8261 h 10000"/>
                <a:gd name="connsiteX757" fmla="*/ 2136 w 10000"/>
                <a:gd name="connsiteY757" fmla="*/ 8291 h 10000"/>
                <a:gd name="connsiteX758" fmla="*/ 2124 w 10000"/>
                <a:gd name="connsiteY758" fmla="*/ 8319 h 10000"/>
                <a:gd name="connsiteX759" fmla="*/ 2109 w 10000"/>
                <a:gd name="connsiteY759" fmla="*/ 8345 h 10000"/>
                <a:gd name="connsiteX760" fmla="*/ 2098 w 10000"/>
                <a:gd name="connsiteY760" fmla="*/ 8354 h 10000"/>
                <a:gd name="connsiteX761" fmla="*/ 2088 w 10000"/>
                <a:gd name="connsiteY761" fmla="*/ 8364 h 10000"/>
                <a:gd name="connsiteX762" fmla="*/ 2078 w 10000"/>
                <a:gd name="connsiteY762" fmla="*/ 8373 h 10000"/>
                <a:gd name="connsiteX763" fmla="*/ 2063 w 10000"/>
                <a:gd name="connsiteY763" fmla="*/ 8380 h 10000"/>
                <a:gd name="connsiteX764" fmla="*/ 1990 w 10000"/>
                <a:gd name="connsiteY764" fmla="*/ 8422 h 10000"/>
                <a:gd name="connsiteX765" fmla="*/ 1904 w 10000"/>
                <a:gd name="connsiteY765" fmla="*/ 8481 h 10000"/>
                <a:gd name="connsiteX766" fmla="*/ 1856 w 10000"/>
                <a:gd name="connsiteY766" fmla="*/ 8506 h 10000"/>
                <a:gd name="connsiteX767" fmla="*/ 1816 w 10000"/>
                <a:gd name="connsiteY767" fmla="*/ 8527 h 10000"/>
                <a:gd name="connsiteX768" fmla="*/ 1793 w 10000"/>
                <a:gd name="connsiteY768" fmla="*/ 8539 h 10000"/>
                <a:gd name="connsiteX769" fmla="*/ 1775 w 10000"/>
                <a:gd name="connsiteY769" fmla="*/ 8546 h 10000"/>
                <a:gd name="connsiteX770" fmla="*/ 1758 w 10000"/>
                <a:gd name="connsiteY770" fmla="*/ 8548 h 10000"/>
                <a:gd name="connsiteX771" fmla="*/ 1742 w 10000"/>
                <a:gd name="connsiteY771" fmla="*/ 8551 h 10000"/>
                <a:gd name="connsiteX772" fmla="*/ 1727 w 10000"/>
                <a:gd name="connsiteY772" fmla="*/ 8537 h 10000"/>
                <a:gd name="connsiteX773" fmla="*/ 1717 w 10000"/>
                <a:gd name="connsiteY773" fmla="*/ 8518 h 10000"/>
                <a:gd name="connsiteX774" fmla="*/ 1710 w 10000"/>
                <a:gd name="connsiteY774" fmla="*/ 8499 h 10000"/>
                <a:gd name="connsiteX775" fmla="*/ 1702 w 10000"/>
                <a:gd name="connsiteY775" fmla="*/ 8476 h 10000"/>
                <a:gd name="connsiteX776" fmla="*/ 1684 w 10000"/>
                <a:gd name="connsiteY776" fmla="*/ 8429 h 10000"/>
                <a:gd name="connsiteX777" fmla="*/ 1674 w 10000"/>
                <a:gd name="connsiteY777" fmla="*/ 8380 h 10000"/>
                <a:gd name="connsiteX778" fmla="*/ 1667 w 10000"/>
                <a:gd name="connsiteY778" fmla="*/ 8329 h 10000"/>
                <a:gd name="connsiteX779" fmla="*/ 1659 w 10000"/>
                <a:gd name="connsiteY779" fmla="*/ 8282 h 10000"/>
                <a:gd name="connsiteX780" fmla="*/ 1657 w 10000"/>
                <a:gd name="connsiteY780" fmla="*/ 8235 h 10000"/>
                <a:gd name="connsiteX781" fmla="*/ 1657 w 10000"/>
                <a:gd name="connsiteY781" fmla="*/ 8195 h 10000"/>
                <a:gd name="connsiteX782" fmla="*/ 1652 w 10000"/>
                <a:gd name="connsiteY782" fmla="*/ 8191 h 10000"/>
                <a:gd name="connsiteX783" fmla="*/ 1586 w 10000"/>
                <a:gd name="connsiteY783" fmla="*/ 8188 h 10000"/>
                <a:gd name="connsiteX784" fmla="*/ 1525 w 10000"/>
                <a:gd name="connsiteY784" fmla="*/ 8186 h 10000"/>
                <a:gd name="connsiteX785" fmla="*/ 1500 w 10000"/>
                <a:gd name="connsiteY785" fmla="*/ 8191 h 10000"/>
                <a:gd name="connsiteX786" fmla="*/ 1472 w 10000"/>
                <a:gd name="connsiteY786" fmla="*/ 8198 h 10000"/>
                <a:gd name="connsiteX787" fmla="*/ 1457 w 10000"/>
                <a:gd name="connsiteY787" fmla="*/ 8205 h 10000"/>
                <a:gd name="connsiteX788" fmla="*/ 1444 w 10000"/>
                <a:gd name="connsiteY788" fmla="*/ 8212 h 10000"/>
                <a:gd name="connsiteX789" fmla="*/ 1434 w 10000"/>
                <a:gd name="connsiteY789" fmla="*/ 8223 h 10000"/>
                <a:gd name="connsiteX790" fmla="*/ 1419 w 10000"/>
                <a:gd name="connsiteY790" fmla="*/ 8233 h 10000"/>
                <a:gd name="connsiteX791" fmla="*/ 1412 w 10000"/>
                <a:gd name="connsiteY791" fmla="*/ 8247 h 10000"/>
                <a:gd name="connsiteX792" fmla="*/ 1402 w 10000"/>
                <a:gd name="connsiteY792" fmla="*/ 8261 h 10000"/>
                <a:gd name="connsiteX793" fmla="*/ 1394 w 10000"/>
                <a:gd name="connsiteY793" fmla="*/ 8275 h 10000"/>
                <a:gd name="connsiteX794" fmla="*/ 1386 w 10000"/>
                <a:gd name="connsiteY794" fmla="*/ 8294 h 10000"/>
                <a:gd name="connsiteX795" fmla="*/ 1374 w 10000"/>
                <a:gd name="connsiteY795" fmla="*/ 8331 h 10000"/>
                <a:gd name="connsiteX796" fmla="*/ 1361 w 10000"/>
                <a:gd name="connsiteY796" fmla="*/ 8368 h 10000"/>
                <a:gd name="connsiteX797" fmla="*/ 1354 w 10000"/>
                <a:gd name="connsiteY797" fmla="*/ 8387 h 10000"/>
                <a:gd name="connsiteX798" fmla="*/ 1346 w 10000"/>
                <a:gd name="connsiteY798" fmla="*/ 8406 h 10000"/>
                <a:gd name="connsiteX799" fmla="*/ 1338 w 10000"/>
                <a:gd name="connsiteY799" fmla="*/ 8420 h 10000"/>
                <a:gd name="connsiteX800" fmla="*/ 1328 w 10000"/>
                <a:gd name="connsiteY800" fmla="*/ 8436 h 10000"/>
                <a:gd name="connsiteX801" fmla="*/ 1316 w 10000"/>
                <a:gd name="connsiteY801" fmla="*/ 8446 h 10000"/>
                <a:gd name="connsiteX802" fmla="*/ 1306 w 10000"/>
                <a:gd name="connsiteY802" fmla="*/ 8453 h 10000"/>
                <a:gd name="connsiteX803" fmla="*/ 1293 w 10000"/>
                <a:gd name="connsiteY803" fmla="*/ 8460 h 10000"/>
                <a:gd name="connsiteX804" fmla="*/ 1275 w 10000"/>
                <a:gd name="connsiteY804" fmla="*/ 8460 h 10000"/>
                <a:gd name="connsiteX805" fmla="*/ 1265 w 10000"/>
                <a:gd name="connsiteY805" fmla="*/ 8450 h 10000"/>
                <a:gd name="connsiteX806" fmla="*/ 1258 w 10000"/>
                <a:gd name="connsiteY806" fmla="*/ 8441 h 10000"/>
                <a:gd name="connsiteX807" fmla="*/ 1245 w 10000"/>
                <a:gd name="connsiteY807" fmla="*/ 8424 h 10000"/>
                <a:gd name="connsiteX808" fmla="*/ 1237 w 10000"/>
                <a:gd name="connsiteY808" fmla="*/ 8408 h 10000"/>
                <a:gd name="connsiteX809" fmla="*/ 1217 w 10000"/>
                <a:gd name="connsiteY809" fmla="*/ 8373 h 10000"/>
                <a:gd name="connsiteX810" fmla="*/ 1202 w 10000"/>
                <a:gd name="connsiteY810" fmla="*/ 8333 h 10000"/>
                <a:gd name="connsiteX811" fmla="*/ 1182 w 10000"/>
                <a:gd name="connsiteY811" fmla="*/ 8296 h 10000"/>
                <a:gd name="connsiteX812" fmla="*/ 1162 w 10000"/>
                <a:gd name="connsiteY812" fmla="*/ 8268 h 10000"/>
                <a:gd name="connsiteX813" fmla="*/ 1149 w 10000"/>
                <a:gd name="connsiteY813" fmla="*/ 8256 h 10000"/>
                <a:gd name="connsiteX814" fmla="*/ 1139 w 10000"/>
                <a:gd name="connsiteY814" fmla="*/ 8249 h 10000"/>
                <a:gd name="connsiteX815" fmla="*/ 1126 w 10000"/>
                <a:gd name="connsiteY815" fmla="*/ 8240 h 10000"/>
                <a:gd name="connsiteX816" fmla="*/ 1114 w 10000"/>
                <a:gd name="connsiteY816" fmla="*/ 8240 h 10000"/>
                <a:gd name="connsiteX817" fmla="*/ 1091 w 10000"/>
                <a:gd name="connsiteY817" fmla="*/ 8242 h 10000"/>
                <a:gd name="connsiteX818" fmla="*/ 1071 w 10000"/>
                <a:gd name="connsiteY818" fmla="*/ 8252 h 10000"/>
                <a:gd name="connsiteX819" fmla="*/ 1048 w 10000"/>
                <a:gd name="connsiteY819" fmla="*/ 8261 h 10000"/>
                <a:gd name="connsiteX820" fmla="*/ 1030 w 10000"/>
                <a:gd name="connsiteY820" fmla="*/ 8273 h 10000"/>
                <a:gd name="connsiteX821" fmla="*/ 1010 w 10000"/>
                <a:gd name="connsiteY821" fmla="*/ 8287 h 10000"/>
                <a:gd name="connsiteX822" fmla="*/ 995 w 10000"/>
                <a:gd name="connsiteY822" fmla="*/ 8303 h 10000"/>
                <a:gd name="connsiteX823" fmla="*/ 975 w 10000"/>
                <a:gd name="connsiteY823" fmla="*/ 8322 h 10000"/>
                <a:gd name="connsiteX824" fmla="*/ 960 w 10000"/>
                <a:gd name="connsiteY824" fmla="*/ 8343 h 10000"/>
                <a:gd name="connsiteX825" fmla="*/ 927 w 10000"/>
                <a:gd name="connsiteY825" fmla="*/ 8380 h 10000"/>
                <a:gd name="connsiteX826" fmla="*/ 891 w 10000"/>
                <a:gd name="connsiteY826" fmla="*/ 8417 h 10000"/>
                <a:gd name="connsiteX827" fmla="*/ 874 w 10000"/>
                <a:gd name="connsiteY827" fmla="*/ 8436 h 10000"/>
                <a:gd name="connsiteX828" fmla="*/ 859 w 10000"/>
                <a:gd name="connsiteY828" fmla="*/ 8450 h 10000"/>
                <a:gd name="connsiteX829" fmla="*/ 838 w 10000"/>
                <a:gd name="connsiteY829" fmla="*/ 8462 h 10000"/>
                <a:gd name="connsiteX830" fmla="*/ 821 w 10000"/>
                <a:gd name="connsiteY830" fmla="*/ 8476 h 10000"/>
                <a:gd name="connsiteX831" fmla="*/ 742 w 10000"/>
                <a:gd name="connsiteY831" fmla="*/ 8562 h 10000"/>
                <a:gd name="connsiteX832" fmla="*/ 672 w 10000"/>
                <a:gd name="connsiteY832" fmla="*/ 8644 h 10000"/>
                <a:gd name="connsiteX833" fmla="*/ 639 w 10000"/>
                <a:gd name="connsiteY833" fmla="*/ 8684 h 10000"/>
                <a:gd name="connsiteX834" fmla="*/ 609 w 10000"/>
                <a:gd name="connsiteY834" fmla="*/ 8731 h 10000"/>
                <a:gd name="connsiteX835" fmla="*/ 583 w 10000"/>
                <a:gd name="connsiteY835" fmla="*/ 8777 h 10000"/>
                <a:gd name="connsiteX836" fmla="*/ 556 w 10000"/>
                <a:gd name="connsiteY836" fmla="*/ 8831 h 10000"/>
                <a:gd name="connsiteX837" fmla="*/ 545 w 10000"/>
                <a:gd name="connsiteY837" fmla="*/ 8852 h 10000"/>
                <a:gd name="connsiteX838" fmla="*/ 525 w 10000"/>
                <a:gd name="connsiteY838" fmla="*/ 8885 h 10000"/>
                <a:gd name="connsiteX839" fmla="*/ 503 w 10000"/>
                <a:gd name="connsiteY839" fmla="*/ 8925 h 10000"/>
                <a:gd name="connsiteX840" fmla="*/ 480 w 10000"/>
                <a:gd name="connsiteY840" fmla="*/ 8962 h 10000"/>
                <a:gd name="connsiteX841" fmla="*/ 465 w 10000"/>
                <a:gd name="connsiteY841" fmla="*/ 8981 h 10000"/>
                <a:gd name="connsiteX842" fmla="*/ 455 w 10000"/>
                <a:gd name="connsiteY842" fmla="*/ 8993 h 10000"/>
                <a:gd name="connsiteX843" fmla="*/ 444 w 10000"/>
                <a:gd name="connsiteY843" fmla="*/ 9000 h 10000"/>
                <a:gd name="connsiteX844" fmla="*/ 434 w 10000"/>
                <a:gd name="connsiteY844" fmla="*/ 9007 h 10000"/>
                <a:gd name="connsiteX845" fmla="*/ 432 w 10000"/>
                <a:gd name="connsiteY845" fmla="*/ 9007 h 10000"/>
                <a:gd name="connsiteX846" fmla="*/ 429 w 10000"/>
                <a:gd name="connsiteY846" fmla="*/ 9004 h 10000"/>
                <a:gd name="connsiteX847" fmla="*/ 427 w 10000"/>
                <a:gd name="connsiteY847" fmla="*/ 8997 h 10000"/>
                <a:gd name="connsiteX848" fmla="*/ 427 w 10000"/>
                <a:gd name="connsiteY848" fmla="*/ 8993 h 10000"/>
                <a:gd name="connsiteX849" fmla="*/ 424 w 10000"/>
                <a:gd name="connsiteY849" fmla="*/ 8976 h 10000"/>
                <a:gd name="connsiteX850" fmla="*/ 427 w 10000"/>
                <a:gd name="connsiteY850" fmla="*/ 8948 h 10000"/>
                <a:gd name="connsiteX851" fmla="*/ 437 w 10000"/>
                <a:gd name="connsiteY851" fmla="*/ 8913 h 10000"/>
                <a:gd name="connsiteX852" fmla="*/ 455 w 10000"/>
                <a:gd name="connsiteY852" fmla="*/ 8859 h 10000"/>
                <a:gd name="connsiteX853" fmla="*/ 462 w 10000"/>
                <a:gd name="connsiteY853" fmla="*/ 8834 h 10000"/>
                <a:gd name="connsiteX854" fmla="*/ 470 w 10000"/>
                <a:gd name="connsiteY854" fmla="*/ 8810 h 10000"/>
                <a:gd name="connsiteX855" fmla="*/ 472 w 10000"/>
                <a:gd name="connsiteY855" fmla="*/ 8794 h 10000"/>
                <a:gd name="connsiteX856" fmla="*/ 472 w 10000"/>
                <a:gd name="connsiteY856" fmla="*/ 8780 h 10000"/>
                <a:gd name="connsiteX857" fmla="*/ 462 w 10000"/>
                <a:gd name="connsiteY857" fmla="*/ 8784 h 10000"/>
                <a:gd name="connsiteX858" fmla="*/ 452 w 10000"/>
                <a:gd name="connsiteY858" fmla="*/ 8787 h 10000"/>
                <a:gd name="connsiteX859" fmla="*/ 437 w 10000"/>
                <a:gd name="connsiteY859" fmla="*/ 8794 h 10000"/>
                <a:gd name="connsiteX860" fmla="*/ 424 w 10000"/>
                <a:gd name="connsiteY860" fmla="*/ 8803 h 10000"/>
                <a:gd name="connsiteX861" fmla="*/ 394 w 10000"/>
                <a:gd name="connsiteY861" fmla="*/ 8829 h 10000"/>
                <a:gd name="connsiteX862" fmla="*/ 364 w 10000"/>
                <a:gd name="connsiteY862" fmla="*/ 8859 h 10000"/>
                <a:gd name="connsiteX863" fmla="*/ 311 w 10000"/>
                <a:gd name="connsiteY863" fmla="*/ 8922 h 10000"/>
                <a:gd name="connsiteX864" fmla="*/ 268 w 10000"/>
                <a:gd name="connsiteY864" fmla="*/ 8964 h 10000"/>
                <a:gd name="connsiteX865" fmla="*/ 205 w 10000"/>
                <a:gd name="connsiteY865" fmla="*/ 9016 h 10000"/>
                <a:gd name="connsiteX866" fmla="*/ 146 w 10000"/>
                <a:gd name="connsiteY866" fmla="*/ 9053 h 10000"/>
                <a:gd name="connsiteX867" fmla="*/ 139 w 10000"/>
                <a:gd name="connsiteY867" fmla="*/ 9063 h 10000"/>
                <a:gd name="connsiteX868" fmla="*/ 129 w 10000"/>
                <a:gd name="connsiteY868" fmla="*/ 9077 h 10000"/>
                <a:gd name="connsiteX869" fmla="*/ 126 w 10000"/>
                <a:gd name="connsiteY869" fmla="*/ 9086 h 10000"/>
                <a:gd name="connsiteX870" fmla="*/ 126 w 10000"/>
                <a:gd name="connsiteY870" fmla="*/ 9102 h 10000"/>
                <a:gd name="connsiteX871" fmla="*/ 129 w 10000"/>
                <a:gd name="connsiteY871" fmla="*/ 9116 h 10000"/>
                <a:gd name="connsiteX872" fmla="*/ 139 w 10000"/>
                <a:gd name="connsiteY872" fmla="*/ 9135 h 10000"/>
                <a:gd name="connsiteX873" fmla="*/ 149 w 10000"/>
                <a:gd name="connsiteY873" fmla="*/ 9151 h 10000"/>
                <a:gd name="connsiteX874" fmla="*/ 164 w 10000"/>
                <a:gd name="connsiteY874" fmla="*/ 9175 h 10000"/>
                <a:gd name="connsiteX875" fmla="*/ 184 w 10000"/>
                <a:gd name="connsiteY875" fmla="*/ 9196 h 10000"/>
                <a:gd name="connsiteX876" fmla="*/ 207 w 10000"/>
                <a:gd name="connsiteY876" fmla="*/ 9215 h 10000"/>
                <a:gd name="connsiteX877" fmla="*/ 227 w 10000"/>
                <a:gd name="connsiteY877" fmla="*/ 9233 h 10000"/>
                <a:gd name="connsiteX878" fmla="*/ 253 w 10000"/>
                <a:gd name="connsiteY878" fmla="*/ 9250 h 10000"/>
                <a:gd name="connsiteX879" fmla="*/ 303 w 10000"/>
                <a:gd name="connsiteY879" fmla="*/ 9282 h 10000"/>
                <a:gd name="connsiteX880" fmla="*/ 351 w 10000"/>
                <a:gd name="connsiteY880" fmla="*/ 9315 h 10000"/>
                <a:gd name="connsiteX881" fmla="*/ 414 w 10000"/>
                <a:gd name="connsiteY881" fmla="*/ 9364 h 10000"/>
                <a:gd name="connsiteX882" fmla="*/ 480 w 10000"/>
                <a:gd name="connsiteY882" fmla="*/ 9416 h 10000"/>
                <a:gd name="connsiteX883" fmla="*/ 513 w 10000"/>
                <a:gd name="connsiteY883" fmla="*/ 9437 h 10000"/>
                <a:gd name="connsiteX884" fmla="*/ 548 w 10000"/>
                <a:gd name="connsiteY884" fmla="*/ 9462 h 10000"/>
                <a:gd name="connsiteX885" fmla="*/ 581 w 10000"/>
                <a:gd name="connsiteY885" fmla="*/ 9483 h 10000"/>
                <a:gd name="connsiteX886" fmla="*/ 614 w 10000"/>
                <a:gd name="connsiteY886" fmla="*/ 9502 h 10000"/>
                <a:gd name="connsiteX887" fmla="*/ 641 w 10000"/>
                <a:gd name="connsiteY887" fmla="*/ 9525 h 10000"/>
                <a:gd name="connsiteX888" fmla="*/ 672 w 10000"/>
                <a:gd name="connsiteY888" fmla="*/ 9549 h 10000"/>
                <a:gd name="connsiteX889" fmla="*/ 702 w 10000"/>
                <a:gd name="connsiteY889" fmla="*/ 9568 h 10000"/>
                <a:gd name="connsiteX890" fmla="*/ 737 w 10000"/>
                <a:gd name="connsiteY890" fmla="*/ 9589 h 10000"/>
                <a:gd name="connsiteX891" fmla="*/ 770 w 10000"/>
                <a:gd name="connsiteY891" fmla="*/ 9605 h 10000"/>
                <a:gd name="connsiteX892" fmla="*/ 808 w 10000"/>
                <a:gd name="connsiteY892" fmla="*/ 9617 h 10000"/>
                <a:gd name="connsiteX893" fmla="*/ 843 w 10000"/>
                <a:gd name="connsiteY893" fmla="*/ 9624 h 10000"/>
                <a:gd name="connsiteX894" fmla="*/ 884 w 10000"/>
                <a:gd name="connsiteY894" fmla="*/ 9628 h 10000"/>
                <a:gd name="connsiteX895" fmla="*/ 902 w 10000"/>
                <a:gd name="connsiteY895" fmla="*/ 9628 h 10000"/>
                <a:gd name="connsiteX896" fmla="*/ 914 w 10000"/>
                <a:gd name="connsiteY896" fmla="*/ 9631 h 10000"/>
                <a:gd name="connsiteX897" fmla="*/ 932 w 10000"/>
                <a:gd name="connsiteY897" fmla="*/ 9638 h 10000"/>
                <a:gd name="connsiteX898" fmla="*/ 942 w 10000"/>
                <a:gd name="connsiteY898" fmla="*/ 9642 h 10000"/>
                <a:gd name="connsiteX899" fmla="*/ 967 w 10000"/>
                <a:gd name="connsiteY899" fmla="*/ 9652 h 10000"/>
                <a:gd name="connsiteX900" fmla="*/ 987 w 10000"/>
                <a:gd name="connsiteY900" fmla="*/ 9668 h 10000"/>
                <a:gd name="connsiteX901" fmla="*/ 1005 w 10000"/>
                <a:gd name="connsiteY901" fmla="*/ 9682 h 10000"/>
                <a:gd name="connsiteX902" fmla="*/ 1025 w 10000"/>
                <a:gd name="connsiteY902" fmla="*/ 9698 h 10000"/>
                <a:gd name="connsiteX903" fmla="*/ 1045 w 10000"/>
                <a:gd name="connsiteY903" fmla="*/ 9712 h 10000"/>
                <a:gd name="connsiteX904" fmla="*/ 1073 w 10000"/>
                <a:gd name="connsiteY904" fmla="*/ 9724 h 10000"/>
                <a:gd name="connsiteX905" fmla="*/ 1098 w 10000"/>
                <a:gd name="connsiteY905" fmla="*/ 9738 h 10000"/>
                <a:gd name="connsiteX906" fmla="*/ 1121 w 10000"/>
                <a:gd name="connsiteY906" fmla="*/ 9750 h 10000"/>
                <a:gd name="connsiteX907" fmla="*/ 1141 w 10000"/>
                <a:gd name="connsiteY907" fmla="*/ 9762 h 10000"/>
                <a:gd name="connsiteX908" fmla="*/ 1159 w 10000"/>
                <a:gd name="connsiteY908" fmla="*/ 9776 h 10000"/>
                <a:gd name="connsiteX909" fmla="*/ 1172 w 10000"/>
                <a:gd name="connsiteY909" fmla="*/ 9787 h 10000"/>
                <a:gd name="connsiteX910" fmla="*/ 1182 w 10000"/>
                <a:gd name="connsiteY910" fmla="*/ 9804 h 10000"/>
                <a:gd name="connsiteX911" fmla="*/ 1194 w 10000"/>
                <a:gd name="connsiteY911" fmla="*/ 9818 h 10000"/>
                <a:gd name="connsiteX912" fmla="*/ 1202 w 10000"/>
                <a:gd name="connsiteY912" fmla="*/ 9834 h 10000"/>
                <a:gd name="connsiteX913" fmla="*/ 1212 w 10000"/>
                <a:gd name="connsiteY913" fmla="*/ 9869 h 10000"/>
                <a:gd name="connsiteX914" fmla="*/ 1220 w 10000"/>
                <a:gd name="connsiteY914" fmla="*/ 9906 h 10000"/>
                <a:gd name="connsiteX915" fmla="*/ 1230 w 10000"/>
                <a:gd name="connsiteY915" fmla="*/ 9951 h 10000"/>
                <a:gd name="connsiteX916" fmla="*/ 1237 w 10000"/>
                <a:gd name="connsiteY916" fmla="*/ 10000 h 10000"/>
                <a:gd name="connsiteX917" fmla="*/ 1237 w 10000"/>
                <a:gd name="connsiteY91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64 w 10000"/>
                <a:gd name="connsiteY732" fmla="*/ 7461 h 10000"/>
                <a:gd name="connsiteX733" fmla="*/ 2672 w 10000"/>
                <a:gd name="connsiteY733" fmla="*/ 7480 h 10000"/>
                <a:gd name="connsiteX734" fmla="*/ 2679 w 10000"/>
                <a:gd name="connsiteY734" fmla="*/ 7501 h 10000"/>
                <a:gd name="connsiteX735" fmla="*/ 2687 w 10000"/>
                <a:gd name="connsiteY735" fmla="*/ 7525 h 10000"/>
                <a:gd name="connsiteX736" fmla="*/ 2689 w 10000"/>
                <a:gd name="connsiteY736" fmla="*/ 7543 h 10000"/>
                <a:gd name="connsiteX737" fmla="*/ 2692 w 10000"/>
                <a:gd name="connsiteY737" fmla="*/ 7567 h 10000"/>
                <a:gd name="connsiteX738" fmla="*/ 2692 w 10000"/>
                <a:gd name="connsiteY738" fmla="*/ 7588 h 10000"/>
                <a:gd name="connsiteX739" fmla="*/ 2692 w 10000"/>
                <a:gd name="connsiteY739" fmla="*/ 7604 h 10000"/>
                <a:gd name="connsiteX740" fmla="*/ 2689 w 10000"/>
                <a:gd name="connsiteY740" fmla="*/ 7623 h 10000"/>
                <a:gd name="connsiteX741" fmla="*/ 2684 w 10000"/>
                <a:gd name="connsiteY741" fmla="*/ 7637 h 10000"/>
                <a:gd name="connsiteX742" fmla="*/ 2674 w 10000"/>
                <a:gd name="connsiteY742" fmla="*/ 7648 h 10000"/>
                <a:gd name="connsiteX743" fmla="*/ 2664 w 10000"/>
                <a:gd name="connsiteY743" fmla="*/ 7658 h 10000"/>
                <a:gd name="connsiteX744" fmla="*/ 2654 w 10000"/>
                <a:gd name="connsiteY744" fmla="*/ 7667 h 10000"/>
                <a:gd name="connsiteX745" fmla="*/ 2518 w 10000"/>
                <a:gd name="connsiteY745" fmla="*/ 7693 h 10000"/>
                <a:gd name="connsiteX746" fmla="*/ 2167 w 10000"/>
                <a:gd name="connsiteY746" fmla="*/ 7742 h 10000"/>
                <a:gd name="connsiteX747" fmla="*/ 2159 w 10000"/>
                <a:gd name="connsiteY747" fmla="*/ 7833 h 10000"/>
                <a:gd name="connsiteX748" fmla="*/ 2157 w 10000"/>
                <a:gd name="connsiteY748" fmla="*/ 7882 h 10000"/>
                <a:gd name="connsiteX749" fmla="*/ 2157 w 10000"/>
                <a:gd name="connsiteY749" fmla="*/ 7938 h 10000"/>
                <a:gd name="connsiteX750" fmla="*/ 2159 w 10000"/>
                <a:gd name="connsiteY750" fmla="*/ 8006 h 10000"/>
                <a:gd name="connsiteX751" fmla="*/ 2162 w 10000"/>
                <a:gd name="connsiteY751" fmla="*/ 8079 h 10000"/>
                <a:gd name="connsiteX752" fmla="*/ 2159 w 10000"/>
                <a:gd name="connsiteY752" fmla="*/ 8156 h 10000"/>
                <a:gd name="connsiteX753" fmla="*/ 2157 w 10000"/>
                <a:gd name="connsiteY753" fmla="*/ 8193 h 10000"/>
                <a:gd name="connsiteX754" fmla="*/ 2154 w 10000"/>
                <a:gd name="connsiteY754" fmla="*/ 8228 h 10000"/>
                <a:gd name="connsiteX755" fmla="*/ 2146 w 10000"/>
                <a:gd name="connsiteY755" fmla="*/ 8261 h 10000"/>
                <a:gd name="connsiteX756" fmla="*/ 2136 w 10000"/>
                <a:gd name="connsiteY756" fmla="*/ 8291 h 10000"/>
                <a:gd name="connsiteX757" fmla="*/ 2124 w 10000"/>
                <a:gd name="connsiteY757" fmla="*/ 8319 h 10000"/>
                <a:gd name="connsiteX758" fmla="*/ 2109 w 10000"/>
                <a:gd name="connsiteY758" fmla="*/ 8345 h 10000"/>
                <a:gd name="connsiteX759" fmla="*/ 2098 w 10000"/>
                <a:gd name="connsiteY759" fmla="*/ 8354 h 10000"/>
                <a:gd name="connsiteX760" fmla="*/ 2088 w 10000"/>
                <a:gd name="connsiteY760" fmla="*/ 8364 h 10000"/>
                <a:gd name="connsiteX761" fmla="*/ 2078 w 10000"/>
                <a:gd name="connsiteY761" fmla="*/ 8373 h 10000"/>
                <a:gd name="connsiteX762" fmla="*/ 2063 w 10000"/>
                <a:gd name="connsiteY762" fmla="*/ 8380 h 10000"/>
                <a:gd name="connsiteX763" fmla="*/ 1990 w 10000"/>
                <a:gd name="connsiteY763" fmla="*/ 8422 h 10000"/>
                <a:gd name="connsiteX764" fmla="*/ 1904 w 10000"/>
                <a:gd name="connsiteY764" fmla="*/ 8481 h 10000"/>
                <a:gd name="connsiteX765" fmla="*/ 1856 w 10000"/>
                <a:gd name="connsiteY765" fmla="*/ 8506 h 10000"/>
                <a:gd name="connsiteX766" fmla="*/ 1816 w 10000"/>
                <a:gd name="connsiteY766" fmla="*/ 8527 h 10000"/>
                <a:gd name="connsiteX767" fmla="*/ 1793 w 10000"/>
                <a:gd name="connsiteY767" fmla="*/ 8539 h 10000"/>
                <a:gd name="connsiteX768" fmla="*/ 1775 w 10000"/>
                <a:gd name="connsiteY768" fmla="*/ 8546 h 10000"/>
                <a:gd name="connsiteX769" fmla="*/ 1758 w 10000"/>
                <a:gd name="connsiteY769" fmla="*/ 8548 h 10000"/>
                <a:gd name="connsiteX770" fmla="*/ 1742 w 10000"/>
                <a:gd name="connsiteY770" fmla="*/ 8551 h 10000"/>
                <a:gd name="connsiteX771" fmla="*/ 1727 w 10000"/>
                <a:gd name="connsiteY771" fmla="*/ 8537 h 10000"/>
                <a:gd name="connsiteX772" fmla="*/ 1717 w 10000"/>
                <a:gd name="connsiteY772" fmla="*/ 8518 h 10000"/>
                <a:gd name="connsiteX773" fmla="*/ 1710 w 10000"/>
                <a:gd name="connsiteY773" fmla="*/ 8499 h 10000"/>
                <a:gd name="connsiteX774" fmla="*/ 1702 w 10000"/>
                <a:gd name="connsiteY774" fmla="*/ 8476 h 10000"/>
                <a:gd name="connsiteX775" fmla="*/ 1684 w 10000"/>
                <a:gd name="connsiteY775" fmla="*/ 8429 h 10000"/>
                <a:gd name="connsiteX776" fmla="*/ 1674 w 10000"/>
                <a:gd name="connsiteY776" fmla="*/ 8380 h 10000"/>
                <a:gd name="connsiteX777" fmla="*/ 1667 w 10000"/>
                <a:gd name="connsiteY777" fmla="*/ 8329 h 10000"/>
                <a:gd name="connsiteX778" fmla="*/ 1659 w 10000"/>
                <a:gd name="connsiteY778" fmla="*/ 8282 h 10000"/>
                <a:gd name="connsiteX779" fmla="*/ 1657 w 10000"/>
                <a:gd name="connsiteY779" fmla="*/ 8235 h 10000"/>
                <a:gd name="connsiteX780" fmla="*/ 1657 w 10000"/>
                <a:gd name="connsiteY780" fmla="*/ 8195 h 10000"/>
                <a:gd name="connsiteX781" fmla="*/ 1652 w 10000"/>
                <a:gd name="connsiteY781" fmla="*/ 8191 h 10000"/>
                <a:gd name="connsiteX782" fmla="*/ 1586 w 10000"/>
                <a:gd name="connsiteY782" fmla="*/ 8188 h 10000"/>
                <a:gd name="connsiteX783" fmla="*/ 1525 w 10000"/>
                <a:gd name="connsiteY783" fmla="*/ 8186 h 10000"/>
                <a:gd name="connsiteX784" fmla="*/ 1500 w 10000"/>
                <a:gd name="connsiteY784" fmla="*/ 8191 h 10000"/>
                <a:gd name="connsiteX785" fmla="*/ 1472 w 10000"/>
                <a:gd name="connsiteY785" fmla="*/ 8198 h 10000"/>
                <a:gd name="connsiteX786" fmla="*/ 1457 w 10000"/>
                <a:gd name="connsiteY786" fmla="*/ 8205 h 10000"/>
                <a:gd name="connsiteX787" fmla="*/ 1444 w 10000"/>
                <a:gd name="connsiteY787" fmla="*/ 8212 h 10000"/>
                <a:gd name="connsiteX788" fmla="*/ 1434 w 10000"/>
                <a:gd name="connsiteY788" fmla="*/ 8223 h 10000"/>
                <a:gd name="connsiteX789" fmla="*/ 1419 w 10000"/>
                <a:gd name="connsiteY789" fmla="*/ 8233 h 10000"/>
                <a:gd name="connsiteX790" fmla="*/ 1412 w 10000"/>
                <a:gd name="connsiteY790" fmla="*/ 8247 h 10000"/>
                <a:gd name="connsiteX791" fmla="*/ 1402 w 10000"/>
                <a:gd name="connsiteY791" fmla="*/ 8261 h 10000"/>
                <a:gd name="connsiteX792" fmla="*/ 1394 w 10000"/>
                <a:gd name="connsiteY792" fmla="*/ 8275 h 10000"/>
                <a:gd name="connsiteX793" fmla="*/ 1386 w 10000"/>
                <a:gd name="connsiteY793" fmla="*/ 8294 h 10000"/>
                <a:gd name="connsiteX794" fmla="*/ 1374 w 10000"/>
                <a:gd name="connsiteY794" fmla="*/ 8331 h 10000"/>
                <a:gd name="connsiteX795" fmla="*/ 1361 w 10000"/>
                <a:gd name="connsiteY795" fmla="*/ 8368 h 10000"/>
                <a:gd name="connsiteX796" fmla="*/ 1354 w 10000"/>
                <a:gd name="connsiteY796" fmla="*/ 8387 h 10000"/>
                <a:gd name="connsiteX797" fmla="*/ 1346 w 10000"/>
                <a:gd name="connsiteY797" fmla="*/ 8406 h 10000"/>
                <a:gd name="connsiteX798" fmla="*/ 1338 w 10000"/>
                <a:gd name="connsiteY798" fmla="*/ 8420 h 10000"/>
                <a:gd name="connsiteX799" fmla="*/ 1328 w 10000"/>
                <a:gd name="connsiteY799" fmla="*/ 8436 h 10000"/>
                <a:gd name="connsiteX800" fmla="*/ 1316 w 10000"/>
                <a:gd name="connsiteY800" fmla="*/ 8446 h 10000"/>
                <a:gd name="connsiteX801" fmla="*/ 1306 w 10000"/>
                <a:gd name="connsiteY801" fmla="*/ 8453 h 10000"/>
                <a:gd name="connsiteX802" fmla="*/ 1293 w 10000"/>
                <a:gd name="connsiteY802" fmla="*/ 8460 h 10000"/>
                <a:gd name="connsiteX803" fmla="*/ 1275 w 10000"/>
                <a:gd name="connsiteY803" fmla="*/ 8460 h 10000"/>
                <a:gd name="connsiteX804" fmla="*/ 1265 w 10000"/>
                <a:gd name="connsiteY804" fmla="*/ 8450 h 10000"/>
                <a:gd name="connsiteX805" fmla="*/ 1258 w 10000"/>
                <a:gd name="connsiteY805" fmla="*/ 8441 h 10000"/>
                <a:gd name="connsiteX806" fmla="*/ 1245 w 10000"/>
                <a:gd name="connsiteY806" fmla="*/ 8424 h 10000"/>
                <a:gd name="connsiteX807" fmla="*/ 1237 w 10000"/>
                <a:gd name="connsiteY807" fmla="*/ 8408 h 10000"/>
                <a:gd name="connsiteX808" fmla="*/ 1217 w 10000"/>
                <a:gd name="connsiteY808" fmla="*/ 8373 h 10000"/>
                <a:gd name="connsiteX809" fmla="*/ 1202 w 10000"/>
                <a:gd name="connsiteY809" fmla="*/ 8333 h 10000"/>
                <a:gd name="connsiteX810" fmla="*/ 1182 w 10000"/>
                <a:gd name="connsiteY810" fmla="*/ 8296 h 10000"/>
                <a:gd name="connsiteX811" fmla="*/ 1162 w 10000"/>
                <a:gd name="connsiteY811" fmla="*/ 8268 h 10000"/>
                <a:gd name="connsiteX812" fmla="*/ 1149 w 10000"/>
                <a:gd name="connsiteY812" fmla="*/ 8256 h 10000"/>
                <a:gd name="connsiteX813" fmla="*/ 1139 w 10000"/>
                <a:gd name="connsiteY813" fmla="*/ 8249 h 10000"/>
                <a:gd name="connsiteX814" fmla="*/ 1126 w 10000"/>
                <a:gd name="connsiteY814" fmla="*/ 8240 h 10000"/>
                <a:gd name="connsiteX815" fmla="*/ 1114 w 10000"/>
                <a:gd name="connsiteY815" fmla="*/ 8240 h 10000"/>
                <a:gd name="connsiteX816" fmla="*/ 1091 w 10000"/>
                <a:gd name="connsiteY816" fmla="*/ 8242 h 10000"/>
                <a:gd name="connsiteX817" fmla="*/ 1071 w 10000"/>
                <a:gd name="connsiteY817" fmla="*/ 8252 h 10000"/>
                <a:gd name="connsiteX818" fmla="*/ 1048 w 10000"/>
                <a:gd name="connsiteY818" fmla="*/ 8261 h 10000"/>
                <a:gd name="connsiteX819" fmla="*/ 1030 w 10000"/>
                <a:gd name="connsiteY819" fmla="*/ 8273 h 10000"/>
                <a:gd name="connsiteX820" fmla="*/ 1010 w 10000"/>
                <a:gd name="connsiteY820" fmla="*/ 8287 h 10000"/>
                <a:gd name="connsiteX821" fmla="*/ 995 w 10000"/>
                <a:gd name="connsiteY821" fmla="*/ 8303 h 10000"/>
                <a:gd name="connsiteX822" fmla="*/ 975 w 10000"/>
                <a:gd name="connsiteY822" fmla="*/ 8322 h 10000"/>
                <a:gd name="connsiteX823" fmla="*/ 960 w 10000"/>
                <a:gd name="connsiteY823" fmla="*/ 8343 h 10000"/>
                <a:gd name="connsiteX824" fmla="*/ 927 w 10000"/>
                <a:gd name="connsiteY824" fmla="*/ 8380 h 10000"/>
                <a:gd name="connsiteX825" fmla="*/ 891 w 10000"/>
                <a:gd name="connsiteY825" fmla="*/ 8417 h 10000"/>
                <a:gd name="connsiteX826" fmla="*/ 874 w 10000"/>
                <a:gd name="connsiteY826" fmla="*/ 8436 h 10000"/>
                <a:gd name="connsiteX827" fmla="*/ 859 w 10000"/>
                <a:gd name="connsiteY827" fmla="*/ 8450 h 10000"/>
                <a:gd name="connsiteX828" fmla="*/ 838 w 10000"/>
                <a:gd name="connsiteY828" fmla="*/ 8462 h 10000"/>
                <a:gd name="connsiteX829" fmla="*/ 821 w 10000"/>
                <a:gd name="connsiteY829" fmla="*/ 8476 h 10000"/>
                <a:gd name="connsiteX830" fmla="*/ 742 w 10000"/>
                <a:gd name="connsiteY830" fmla="*/ 8562 h 10000"/>
                <a:gd name="connsiteX831" fmla="*/ 672 w 10000"/>
                <a:gd name="connsiteY831" fmla="*/ 8644 h 10000"/>
                <a:gd name="connsiteX832" fmla="*/ 639 w 10000"/>
                <a:gd name="connsiteY832" fmla="*/ 8684 h 10000"/>
                <a:gd name="connsiteX833" fmla="*/ 609 w 10000"/>
                <a:gd name="connsiteY833" fmla="*/ 8731 h 10000"/>
                <a:gd name="connsiteX834" fmla="*/ 583 w 10000"/>
                <a:gd name="connsiteY834" fmla="*/ 8777 h 10000"/>
                <a:gd name="connsiteX835" fmla="*/ 556 w 10000"/>
                <a:gd name="connsiteY835" fmla="*/ 8831 h 10000"/>
                <a:gd name="connsiteX836" fmla="*/ 545 w 10000"/>
                <a:gd name="connsiteY836" fmla="*/ 8852 h 10000"/>
                <a:gd name="connsiteX837" fmla="*/ 525 w 10000"/>
                <a:gd name="connsiteY837" fmla="*/ 8885 h 10000"/>
                <a:gd name="connsiteX838" fmla="*/ 503 w 10000"/>
                <a:gd name="connsiteY838" fmla="*/ 8925 h 10000"/>
                <a:gd name="connsiteX839" fmla="*/ 480 w 10000"/>
                <a:gd name="connsiteY839" fmla="*/ 8962 h 10000"/>
                <a:gd name="connsiteX840" fmla="*/ 465 w 10000"/>
                <a:gd name="connsiteY840" fmla="*/ 8981 h 10000"/>
                <a:gd name="connsiteX841" fmla="*/ 455 w 10000"/>
                <a:gd name="connsiteY841" fmla="*/ 8993 h 10000"/>
                <a:gd name="connsiteX842" fmla="*/ 444 w 10000"/>
                <a:gd name="connsiteY842" fmla="*/ 9000 h 10000"/>
                <a:gd name="connsiteX843" fmla="*/ 434 w 10000"/>
                <a:gd name="connsiteY843" fmla="*/ 9007 h 10000"/>
                <a:gd name="connsiteX844" fmla="*/ 432 w 10000"/>
                <a:gd name="connsiteY844" fmla="*/ 9007 h 10000"/>
                <a:gd name="connsiteX845" fmla="*/ 429 w 10000"/>
                <a:gd name="connsiteY845" fmla="*/ 9004 h 10000"/>
                <a:gd name="connsiteX846" fmla="*/ 427 w 10000"/>
                <a:gd name="connsiteY846" fmla="*/ 8997 h 10000"/>
                <a:gd name="connsiteX847" fmla="*/ 427 w 10000"/>
                <a:gd name="connsiteY847" fmla="*/ 8993 h 10000"/>
                <a:gd name="connsiteX848" fmla="*/ 424 w 10000"/>
                <a:gd name="connsiteY848" fmla="*/ 8976 h 10000"/>
                <a:gd name="connsiteX849" fmla="*/ 427 w 10000"/>
                <a:gd name="connsiteY849" fmla="*/ 8948 h 10000"/>
                <a:gd name="connsiteX850" fmla="*/ 437 w 10000"/>
                <a:gd name="connsiteY850" fmla="*/ 8913 h 10000"/>
                <a:gd name="connsiteX851" fmla="*/ 455 w 10000"/>
                <a:gd name="connsiteY851" fmla="*/ 8859 h 10000"/>
                <a:gd name="connsiteX852" fmla="*/ 462 w 10000"/>
                <a:gd name="connsiteY852" fmla="*/ 8834 h 10000"/>
                <a:gd name="connsiteX853" fmla="*/ 470 w 10000"/>
                <a:gd name="connsiteY853" fmla="*/ 8810 h 10000"/>
                <a:gd name="connsiteX854" fmla="*/ 472 w 10000"/>
                <a:gd name="connsiteY854" fmla="*/ 8794 h 10000"/>
                <a:gd name="connsiteX855" fmla="*/ 472 w 10000"/>
                <a:gd name="connsiteY855" fmla="*/ 8780 h 10000"/>
                <a:gd name="connsiteX856" fmla="*/ 462 w 10000"/>
                <a:gd name="connsiteY856" fmla="*/ 8784 h 10000"/>
                <a:gd name="connsiteX857" fmla="*/ 452 w 10000"/>
                <a:gd name="connsiteY857" fmla="*/ 8787 h 10000"/>
                <a:gd name="connsiteX858" fmla="*/ 437 w 10000"/>
                <a:gd name="connsiteY858" fmla="*/ 8794 h 10000"/>
                <a:gd name="connsiteX859" fmla="*/ 424 w 10000"/>
                <a:gd name="connsiteY859" fmla="*/ 8803 h 10000"/>
                <a:gd name="connsiteX860" fmla="*/ 394 w 10000"/>
                <a:gd name="connsiteY860" fmla="*/ 8829 h 10000"/>
                <a:gd name="connsiteX861" fmla="*/ 364 w 10000"/>
                <a:gd name="connsiteY861" fmla="*/ 8859 h 10000"/>
                <a:gd name="connsiteX862" fmla="*/ 311 w 10000"/>
                <a:gd name="connsiteY862" fmla="*/ 8922 h 10000"/>
                <a:gd name="connsiteX863" fmla="*/ 268 w 10000"/>
                <a:gd name="connsiteY863" fmla="*/ 8964 h 10000"/>
                <a:gd name="connsiteX864" fmla="*/ 205 w 10000"/>
                <a:gd name="connsiteY864" fmla="*/ 9016 h 10000"/>
                <a:gd name="connsiteX865" fmla="*/ 146 w 10000"/>
                <a:gd name="connsiteY865" fmla="*/ 9053 h 10000"/>
                <a:gd name="connsiteX866" fmla="*/ 139 w 10000"/>
                <a:gd name="connsiteY866" fmla="*/ 9063 h 10000"/>
                <a:gd name="connsiteX867" fmla="*/ 129 w 10000"/>
                <a:gd name="connsiteY867" fmla="*/ 9077 h 10000"/>
                <a:gd name="connsiteX868" fmla="*/ 126 w 10000"/>
                <a:gd name="connsiteY868" fmla="*/ 9086 h 10000"/>
                <a:gd name="connsiteX869" fmla="*/ 126 w 10000"/>
                <a:gd name="connsiteY869" fmla="*/ 9102 h 10000"/>
                <a:gd name="connsiteX870" fmla="*/ 129 w 10000"/>
                <a:gd name="connsiteY870" fmla="*/ 9116 h 10000"/>
                <a:gd name="connsiteX871" fmla="*/ 139 w 10000"/>
                <a:gd name="connsiteY871" fmla="*/ 9135 h 10000"/>
                <a:gd name="connsiteX872" fmla="*/ 149 w 10000"/>
                <a:gd name="connsiteY872" fmla="*/ 9151 h 10000"/>
                <a:gd name="connsiteX873" fmla="*/ 164 w 10000"/>
                <a:gd name="connsiteY873" fmla="*/ 9175 h 10000"/>
                <a:gd name="connsiteX874" fmla="*/ 184 w 10000"/>
                <a:gd name="connsiteY874" fmla="*/ 9196 h 10000"/>
                <a:gd name="connsiteX875" fmla="*/ 207 w 10000"/>
                <a:gd name="connsiteY875" fmla="*/ 9215 h 10000"/>
                <a:gd name="connsiteX876" fmla="*/ 227 w 10000"/>
                <a:gd name="connsiteY876" fmla="*/ 9233 h 10000"/>
                <a:gd name="connsiteX877" fmla="*/ 253 w 10000"/>
                <a:gd name="connsiteY877" fmla="*/ 9250 h 10000"/>
                <a:gd name="connsiteX878" fmla="*/ 303 w 10000"/>
                <a:gd name="connsiteY878" fmla="*/ 9282 h 10000"/>
                <a:gd name="connsiteX879" fmla="*/ 351 w 10000"/>
                <a:gd name="connsiteY879" fmla="*/ 9315 h 10000"/>
                <a:gd name="connsiteX880" fmla="*/ 414 w 10000"/>
                <a:gd name="connsiteY880" fmla="*/ 9364 h 10000"/>
                <a:gd name="connsiteX881" fmla="*/ 480 w 10000"/>
                <a:gd name="connsiteY881" fmla="*/ 9416 h 10000"/>
                <a:gd name="connsiteX882" fmla="*/ 513 w 10000"/>
                <a:gd name="connsiteY882" fmla="*/ 9437 h 10000"/>
                <a:gd name="connsiteX883" fmla="*/ 548 w 10000"/>
                <a:gd name="connsiteY883" fmla="*/ 9462 h 10000"/>
                <a:gd name="connsiteX884" fmla="*/ 581 w 10000"/>
                <a:gd name="connsiteY884" fmla="*/ 9483 h 10000"/>
                <a:gd name="connsiteX885" fmla="*/ 614 w 10000"/>
                <a:gd name="connsiteY885" fmla="*/ 9502 h 10000"/>
                <a:gd name="connsiteX886" fmla="*/ 641 w 10000"/>
                <a:gd name="connsiteY886" fmla="*/ 9525 h 10000"/>
                <a:gd name="connsiteX887" fmla="*/ 672 w 10000"/>
                <a:gd name="connsiteY887" fmla="*/ 9549 h 10000"/>
                <a:gd name="connsiteX888" fmla="*/ 702 w 10000"/>
                <a:gd name="connsiteY888" fmla="*/ 9568 h 10000"/>
                <a:gd name="connsiteX889" fmla="*/ 737 w 10000"/>
                <a:gd name="connsiteY889" fmla="*/ 9589 h 10000"/>
                <a:gd name="connsiteX890" fmla="*/ 770 w 10000"/>
                <a:gd name="connsiteY890" fmla="*/ 9605 h 10000"/>
                <a:gd name="connsiteX891" fmla="*/ 808 w 10000"/>
                <a:gd name="connsiteY891" fmla="*/ 9617 h 10000"/>
                <a:gd name="connsiteX892" fmla="*/ 843 w 10000"/>
                <a:gd name="connsiteY892" fmla="*/ 9624 h 10000"/>
                <a:gd name="connsiteX893" fmla="*/ 884 w 10000"/>
                <a:gd name="connsiteY893" fmla="*/ 9628 h 10000"/>
                <a:gd name="connsiteX894" fmla="*/ 902 w 10000"/>
                <a:gd name="connsiteY894" fmla="*/ 9628 h 10000"/>
                <a:gd name="connsiteX895" fmla="*/ 914 w 10000"/>
                <a:gd name="connsiteY895" fmla="*/ 9631 h 10000"/>
                <a:gd name="connsiteX896" fmla="*/ 932 w 10000"/>
                <a:gd name="connsiteY896" fmla="*/ 9638 h 10000"/>
                <a:gd name="connsiteX897" fmla="*/ 942 w 10000"/>
                <a:gd name="connsiteY897" fmla="*/ 9642 h 10000"/>
                <a:gd name="connsiteX898" fmla="*/ 967 w 10000"/>
                <a:gd name="connsiteY898" fmla="*/ 9652 h 10000"/>
                <a:gd name="connsiteX899" fmla="*/ 987 w 10000"/>
                <a:gd name="connsiteY899" fmla="*/ 9668 h 10000"/>
                <a:gd name="connsiteX900" fmla="*/ 1005 w 10000"/>
                <a:gd name="connsiteY900" fmla="*/ 9682 h 10000"/>
                <a:gd name="connsiteX901" fmla="*/ 1025 w 10000"/>
                <a:gd name="connsiteY901" fmla="*/ 9698 h 10000"/>
                <a:gd name="connsiteX902" fmla="*/ 1045 w 10000"/>
                <a:gd name="connsiteY902" fmla="*/ 9712 h 10000"/>
                <a:gd name="connsiteX903" fmla="*/ 1073 w 10000"/>
                <a:gd name="connsiteY903" fmla="*/ 9724 h 10000"/>
                <a:gd name="connsiteX904" fmla="*/ 1098 w 10000"/>
                <a:gd name="connsiteY904" fmla="*/ 9738 h 10000"/>
                <a:gd name="connsiteX905" fmla="*/ 1121 w 10000"/>
                <a:gd name="connsiteY905" fmla="*/ 9750 h 10000"/>
                <a:gd name="connsiteX906" fmla="*/ 1141 w 10000"/>
                <a:gd name="connsiteY906" fmla="*/ 9762 h 10000"/>
                <a:gd name="connsiteX907" fmla="*/ 1159 w 10000"/>
                <a:gd name="connsiteY907" fmla="*/ 9776 h 10000"/>
                <a:gd name="connsiteX908" fmla="*/ 1172 w 10000"/>
                <a:gd name="connsiteY908" fmla="*/ 9787 h 10000"/>
                <a:gd name="connsiteX909" fmla="*/ 1182 w 10000"/>
                <a:gd name="connsiteY909" fmla="*/ 9804 h 10000"/>
                <a:gd name="connsiteX910" fmla="*/ 1194 w 10000"/>
                <a:gd name="connsiteY910" fmla="*/ 9818 h 10000"/>
                <a:gd name="connsiteX911" fmla="*/ 1202 w 10000"/>
                <a:gd name="connsiteY911" fmla="*/ 9834 h 10000"/>
                <a:gd name="connsiteX912" fmla="*/ 1212 w 10000"/>
                <a:gd name="connsiteY912" fmla="*/ 9869 h 10000"/>
                <a:gd name="connsiteX913" fmla="*/ 1220 w 10000"/>
                <a:gd name="connsiteY913" fmla="*/ 9906 h 10000"/>
                <a:gd name="connsiteX914" fmla="*/ 1230 w 10000"/>
                <a:gd name="connsiteY914" fmla="*/ 9951 h 10000"/>
                <a:gd name="connsiteX915" fmla="*/ 1237 w 10000"/>
                <a:gd name="connsiteY915" fmla="*/ 10000 h 10000"/>
                <a:gd name="connsiteX916" fmla="*/ 1237 w 10000"/>
                <a:gd name="connsiteY91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64 w 10000"/>
                <a:gd name="connsiteY732" fmla="*/ 7461 h 10000"/>
                <a:gd name="connsiteX733" fmla="*/ 2672 w 10000"/>
                <a:gd name="connsiteY733" fmla="*/ 7480 h 10000"/>
                <a:gd name="connsiteX734" fmla="*/ 2679 w 10000"/>
                <a:gd name="connsiteY734" fmla="*/ 7501 h 10000"/>
                <a:gd name="connsiteX735" fmla="*/ 2687 w 10000"/>
                <a:gd name="connsiteY735" fmla="*/ 7525 h 10000"/>
                <a:gd name="connsiteX736" fmla="*/ 2689 w 10000"/>
                <a:gd name="connsiteY736" fmla="*/ 7543 h 10000"/>
                <a:gd name="connsiteX737" fmla="*/ 2692 w 10000"/>
                <a:gd name="connsiteY737" fmla="*/ 7567 h 10000"/>
                <a:gd name="connsiteX738" fmla="*/ 2692 w 10000"/>
                <a:gd name="connsiteY738" fmla="*/ 7588 h 10000"/>
                <a:gd name="connsiteX739" fmla="*/ 2689 w 10000"/>
                <a:gd name="connsiteY739" fmla="*/ 7623 h 10000"/>
                <a:gd name="connsiteX740" fmla="*/ 2684 w 10000"/>
                <a:gd name="connsiteY740" fmla="*/ 7637 h 10000"/>
                <a:gd name="connsiteX741" fmla="*/ 2674 w 10000"/>
                <a:gd name="connsiteY741" fmla="*/ 7648 h 10000"/>
                <a:gd name="connsiteX742" fmla="*/ 2664 w 10000"/>
                <a:gd name="connsiteY742" fmla="*/ 7658 h 10000"/>
                <a:gd name="connsiteX743" fmla="*/ 2654 w 10000"/>
                <a:gd name="connsiteY743" fmla="*/ 7667 h 10000"/>
                <a:gd name="connsiteX744" fmla="*/ 2518 w 10000"/>
                <a:gd name="connsiteY744" fmla="*/ 7693 h 10000"/>
                <a:gd name="connsiteX745" fmla="*/ 2167 w 10000"/>
                <a:gd name="connsiteY745" fmla="*/ 7742 h 10000"/>
                <a:gd name="connsiteX746" fmla="*/ 2159 w 10000"/>
                <a:gd name="connsiteY746" fmla="*/ 7833 h 10000"/>
                <a:gd name="connsiteX747" fmla="*/ 2157 w 10000"/>
                <a:gd name="connsiteY747" fmla="*/ 7882 h 10000"/>
                <a:gd name="connsiteX748" fmla="*/ 2157 w 10000"/>
                <a:gd name="connsiteY748" fmla="*/ 7938 h 10000"/>
                <a:gd name="connsiteX749" fmla="*/ 2159 w 10000"/>
                <a:gd name="connsiteY749" fmla="*/ 8006 h 10000"/>
                <a:gd name="connsiteX750" fmla="*/ 2162 w 10000"/>
                <a:gd name="connsiteY750" fmla="*/ 8079 h 10000"/>
                <a:gd name="connsiteX751" fmla="*/ 2159 w 10000"/>
                <a:gd name="connsiteY751" fmla="*/ 8156 h 10000"/>
                <a:gd name="connsiteX752" fmla="*/ 2157 w 10000"/>
                <a:gd name="connsiteY752" fmla="*/ 8193 h 10000"/>
                <a:gd name="connsiteX753" fmla="*/ 2154 w 10000"/>
                <a:gd name="connsiteY753" fmla="*/ 8228 h 10000"/>
                <a:gd name="connsiteX754" fmla="*/ 2146 w 10000"/>
                <a:gd name="connsiteY754" fmla="*/ 8261 h 10000"/>
                <a:gd name="connsiteX755" fmla="*/ 2136 w 10000"/>
                <a:gd name="connsiteY755" fmla="*/ 8291 h 10000"/>
                <a:gd name="connsiteX756" fmla="*/ 2124 w 10000"/>
                <a:gd name="connsiteY756" fmla="*/ 8319 h 10000"/>
                <a:gd name="connsiteX757" fmla="*/ 2109 w 10000"/>
                <a:gd name="connsiteY757" fmla="*/ 8345 h 10000"/>
                <a:gd name="connsiteX758" fmla="*/ 2098 w 10000"/>
                <a:gd name="connsiteY758" fmla="*/ 8354 h 10000"/>
                <a:gd name="connsiteX759" fmla="*/ 2088 w 10000"/>
                <a:gd name="connsiteY759" fmla="*/ 8364 h 10000"/>
                <a:gd name="connsiteX760" fmla="*/ 2078 w 10000"/>
                <a:gd name="connsiteY760" fmla="*/ 8373 h 10000"/>
                <a:gd name="connsiteX761" fmla="*/ 2063 w 10000"/>
                <a:gd name="connsiteY761" fmla="*/ 8380 h 10000"/>
                <a:gd name="connsiteX762" fmla="*/ 1990 w 10000"/>
                <a:gd name="connsiteY762" fmla="*/ 8422 h 10000"/>
                <a:gd name="connsiteX763" fmla="*/ 1904 w 10000"/>
                <a:gd name="connsiteY763" fmla="*/ 8481 h 10000"/>
                <a:gd name="connsiteX764" fmla="*/ 1856 w 10000"/>
                <a:gd name="connsiteY764" fmla="*/ 8506 h 10000"/>
                <a:gd name="connsiteX765" fmla="*/ 1816 w 10000"/>
                <a:gd name="connsiteY765" fmla="*/ 8527 h 10000"/>
                <a:gd name="connsiteX766" fmla="*/ 1793 w 10000"/>
                <a:gd name="connsiteY766" fmla="*/ 8539 h 10000"/>
                <a:gd name="connsiteX767" fmla="*/ 1775 w 10000"/>
                <a:gd name="connsiteY767" fmla="*/ 8546 h 10000"/>
                <a:gd name="connsiteX768" fmla="*/ 1758 w 10000"/>
                <a:gd name="connsiteY768" fmla="*/ 8548 h 10000"/>
                <a:gd name="connsiteX769" fmla="*/ 1742 w 10000"/>
                <a:gd name="connsiteY769" fmla="*/ 8551 h 10000"/>
                <a:gd name="connsiteX770" fmla="*/ 1727 w 10000"/>
                <a:gd name="connsiteY770" fmla="*/ 8537 h 10000"/>
                <a:gd name="connsiteX771" fmla="*/ 1717 w 10000"/>
                <a:gd name="connsiteY771" fmla="*/ 8518 h 10000"/>
                <a:gd name="connsiteX772" fmla="*/ 1710 w 10000"/>
                <a:gd name="connsiteY772" fmla="*/ 8499 h 10000"/>
                <a:gd name="connsiteX773" fmla="*/ 1702 w 10000"/>
                <a:gd name="connsiteY773" fmla="*/ 8476 h 10000"/>
                <a:gd name="connsiteX774" fmla="*/ 1684 w 10000"/>
                <a:gd name="connsiteY774" fmla="*/ 8429 h 10000"/>
                <a:gd name="connsiteX775" fmla="*/ 1674 w 10000"/>
                <a:gd name="connsiteY775" fmla="*/ 8380 h 10000"/>
                <a:gd name="connsiteX776" fmla="*/ 1667 w 10000"/>
                <a:gd name="connsiteY776" fmla="*/ 8329 h 10000"/>
                <a:gd name="connsiteX777" fmla="*/ 1659 w 10000"/>
                <a:gd name="connsiteY777" fmla="*/ 8282 h 10000"/>
                <a:gd name="connsiteX778" fmla="*/ 1657 w 10000"/>
                <a:gd name="connsiteY778" fmla="*/ 8235 h 10000"/>
                <a:gd name="connsiteX779" fmla="*/ 1657 w 10000"/>
                <a:gd name="connsiteY779" fmla="*/ 8195 h 10000"/>
                <a:gd name="connsiteX780" fmla="*/ 1652 w 10000"/>
                <a:gd name="connsiteY780" fmla="*/ 8191 h 10000"/>
                <a:gd name="connsiteX781" fmla="*/ 1586 w 10000"/>
                <a:gd name="connsiteY781" fmla="*/ 8188 h 10000"/>
                <a:gd name="connsiteX782" fmla="*/ 1525 w 10000"/>
                <a:gd name="connsiteY782" fmla="*/ 8186 h 10000"/>
                <a:gd name="connsiteX783" fmla="*/ 1500 w 10000"/>
                <a:gd name="connsiteY783" fmla="*/ 8191 h 10000"/>
                <a:gd name="connsiteX784" fmla="*/ 1472 w 10000"/>
                <a:gd name="connsiteY784" fmla="*/ 8198 h 10000"/>
                <a:gd name="connsiteX785" fmla="*/ 1457 w 10000"/>
                <a:gd name="connsiteY785" fmla="*/ 8205 h 10000"/>
                <a:gd name="connsiteX786" fmla="*/ 1444 w 10000"/>
                <a:gd name="connsiteY786" fmla="*/ 8212 h 10000"/>
                <a:gd name="connsiteX787" fmla="*/ 1434 w 10000"/>
                <a:gd name="connsiteY787" fmla="*/ 8223 h 10000"/>
                <a:gd name="connsiteX788" fmla="*/ 1419 w 10000"/>
                <a:gd name="connsiteY788" fmla="*/ 8233 h 10000"/>
                <a:gd name="connsiteX789" fmla="*/ 1412 w 10000"/>
                <a:gd name="connsiteY789" fmla="*/ 8247 h 10000"/>
                <a:gd name="connsiteX790" fmla="*/ 1402 w 10000"/>
                <a:gd name="connsiteY790" fmla="*/ 8261 h 10000"/>
                <a:gd name="connsiteX791" fmla="*/ 1394 w 10000"/>
                <a:gd name="connsiteY791" fmla="*/ 8275 h 10000"/>
                <a:gd name="connsiteX792" fmla="*/ 1386 w 10000"/>
                <a:gd name="connsiteY792" fmla="*/ 8294 h 10000"/>
                <a:gd name="connsiteX793" fmla="*/ 1374 w 10000"/>
                <a:gd name="connsiteY793" fmla="*/ 8331 h 10000"/>
                <a:gd name="connsiteX794" fmla="*/ 1361 w 10000"/>
                <a:gd name="connsiteY794" fmla="*/ 8368 h 10000"/>
                <a:gd name="connsiteX795" fmla="*/ 1354 w 10000"/>
                <a:gd name="connsiteY795" fmla="*/ 8387 h 10000"/>
                <a:gd name="connsiteX796" fmla="*/ 1346 w 10000"/>
                <a:gd name="connsiteY796" fmla="*/ 8406 h 10000"/>
                <a:gd name="connsiteX797" fmla="*/ 1338 w 10000"/>
                <a:gd name="connsiteY797" fmla="*/ 8420 h 10000"/>
                <a:gd name="connsiteX798" fmla="*/ 1328 w 10000"/>
                <a:gd name="connsiteY798" fmla="*/ 8436 h 10000"/>
                <a:gd name="connsiteX799" fmla="*/ 1316 w 10000"/>
                <a:gd name="connsiteY799" fmla="*/ 8446 h 10000"/>
                <a:gd name="connsiteX800" fmla="*/ 1306 w 10000"/>
                <a:gd name="connsiteY800" fmla="*/ 8453 h 10000"/>
                <a:gd name="connsiteX801" fmla="*/ 1293 w 10000"/>
                <a:gd name="connsiteY801" fmla="*/ 8460 h 10000"/>
                <a:gd name="connsiteX802" fmla="*/ 1275 w 10000"/>
                <a:gd name="connsiteY802" fmla="*/ 8460 h 10000"/>
                <a:gd name="connsiteX803" fmla="*/ 1265 w 10000"/>
                <a:gd name="connsiteY803" fmla="*/ 8450 h 10000"/>
                <a:gd name="connsiteX804" fmla="*/ 1258 w 10000"/>
                <a:gd name="connsiteY804" fmla="*/ 8441 h 10000"/>
                <a:gd name="connsiteX805" fmla="*/ 1245 w 10000"/>
                <a:gd name="connsiteY805" fmla="*/ 8424 h 10000"/>
                <a:gd name="connsiteX806" fmla="*/ 1237 w 10000"/>
                <a:gd name="connsiteY806" fmla="*/ 8408 h 10000"/>
                <a:gd name="connsiteX807" fmla="*/ 1217 w 10000"/>
                <a:gd name="connsiteY807" fmla="*/ 8373 h 10000"/>
                <a:gd name="connsiteX808" fmla="*/ 1202 w 10000"/>
                <a:gd name="connsiteY808" fmla="*/ 8333 h 10000"/>
                <a:gd name="connsiteX809" fmla="*/ 1182 w 10000"/>
                <a:gd name="connsiteY809" fmla="*/ 8296 h 10000"/>
                <a:gd name="connsiteX810" fmla="*/ 1162 w 10000"/>
                <a:gd name="connsiteY810" fmla="*/ 8268 h 10000"/>
                <a:gd name="connsiteX811" fmla="*/ 1149 w 10000"/>
                <a:gd name="connsiteY811" fmla="*/ 8256 h 10000"/>
                <a:gd name="connsiteX812" fmla="*/ 1139 w 10000"/>
                <a:gd name="connsiteY812" fmla="*/ 8249 h 10000"/>
                <a:gd name="connsiteX813" fmla="*/ 1126 w 10000"/>
                <a:gd name="connsiteY813" fmla="*/ 8240 h 10000"/>
                <a:gd name="connsiteX814" fmla="*/ 1114 w 10000"/>
                <a:gd name="connsiteY814" fmla="*/ 8240 h 10000"/>
                <a:gd name="connsiteX815" fmla="*/ 1091 w 10000"/>
                <a:gd name="connsiteY815" fmla="*/ 8242 h 10000"/>
                <a:gd name="connsiteX816" fmla="*/ 1071 w 10000"/>
                <a:gd name="connsiteY816" fmla="*/ 8252 h 10000"/>
                <a:gd name="connsiteX817" fmla="*/ 1048 w 10000"/>
                <a:gd name="connsiteY817" fmla="*/ 8261 h 10000"/>
                <a:gd name="connsiteX818" fmla="*/ 1030 w 10000"/>
                <a:gd name="connsiteY818" fmla="*/ 8273 h 10000"/>
                <a:gd name="connsiteX819" fmla="*/ 1010 w 10000"/>
                <a:gd name="connsiteY819" fmla="*/ 8287 h 10000"/>
                <a:gd name="connsiteX820" fmla="*/ 995 w 10000"/>
                <a:gd name="connsiteY820" fmla="*/ 8303 h 10000"/>
                <a:gd name="connsiteX821" fmla="*/ 975 w 10000"/>
                <a:gd name="connsiteY821" fmla="*/ 8322 h 10000"/>
                <a:gd name="connsiteX822" fmla="*/ 960 w 10000"/>
                <a:gd name="connsiteY822" fmla="*/ 8343 h 10000"/>
                <a:gd name="connsiteX823" fmla="*/ 927 w 10000"/>
                <a:gd name="connsiteY823" fmla="*/ 8380 h 10000"/>
                <a:gd name="connsiteX824" fmla="*/ 891 w 10000"/>
                <a:gd name="connsiteY824" fmla="*/ 8417 h 10000"/>
                <a:gd name="connsiteX825" fmla="*/ 874 w 10000"/>
                <a:gd name="connsiteY825" fmla="*/ 8436 h 10000"/>
                <a:gd name="connsiteX826" fmla="*/ 859 w 10000"/>
                <a:gd name="connsiteY826" fmla="*/ 8450 h 10000"/>
                <a:gd name="connsiteX827" fmla="*/ 838 w 10000"/>
                <a:gd name="connsiteY827" fmla="*/ 8462 h 10000"/>
                <a:gd name="connsiteX828" fmla="*/ 821 w 10000"/>
                <a:gd name="connsiteY828" fmla="*/ 8476 h 10000"/>
                <a:gd name="connsiteX829" fmla="*/ 742 w 10000"/>
                <a:gd name="connsiteY829" fmla="*/ 8562 h 10000"/>
                <a:gd name="connsiteX830" fmla="*/ 672 w 10000"/>
                <a:gd name="connsiteY830" fmla="*/ 8644 h 10000"/>
                <a:gd name="connsiteX831" fmla="*/ 639 w 10000"/>
                <a:gd name="connsiteY831" fmla="*/ 8684 h 10000"/>
                <a:gd name="connsiteX832" fmla="*/ 609 w 10000"/>
                <a:gd name="connsiteY832" fmla="*/ 8731 h 10000"/>
                <a:gd name="connsiteX833" fmla="*/ 583 w 10000"/>
                <a:gd name="connsiteY833" fmla="*/ 8777 h 10000"/>
                <a:gd name="connsiteX834" fmla="*/ 556 w 10000"/>
                <a:gd name="connsiteY834" fmla="*/ 8831 h 10000"/>
                <a:gd name="connsiteX835" fmla="*/ 545 w 10000"/>
                <a:gd name="connsiteY835" fmla="*/ 8852 h 10000"/>
                <a:gd name="connsiteX836" fmla="*/ 525 w 10000"/>
                <a:gd name="connsiteY836" fmla="*/ 8885 h 10000"/>
                <a:gd name="connsiteX837" fmla="*/ 503 w 10000"/>
                <a:gd name="connsiteY837" fmla="*/ 8925 h 10000"/>
                <a:gd name="connsiteX838" fmla="*/ 480 w 10000"/>
                <a:gd name="connsiteY838" fmla="*/ 8962 h 10000"/>
                <a:gd name="connsiteX839" fmla="*/ 465 w 10000"/>
                <a:gd name="connsiteY839" fmla="*/ 8981 h 10000"/>
                <a:gd name="connsiteX840" fmla="*/ 455 w 10000"/>
                <a:gd name="connsiteY840" fmla="*/ 8993 h 10000"/>
                <a:gd name="connsiteX841" fmla="*/ 444 w 10000"/>
                <a:gd name="connsiteY841" fmla="*/ 9000 h 10000"/>
                <a:gd name="connsiteX842" fmla="*/ 434 w 10000"/>
                <a:gd name="connsiteY842" fmla="*/ 9007 h 10000"/>
                <a:gd name="connsiteX843" fmla="*/ 432 w 10000"/>
                <a:gd name="connsiteY843" fmla="*/ 9007 h 10000"/>
                <a:gd name="connsiteX844" fmla="*/ 429 w 10000"/>
                <a:gd name="connsiteY844" fmla="*/ 9004 h 10000"/>
                <a:gd name="connsiteX845" fmla="*/ 427 w 10000"/>
                <a:gd name="connsiteY845" fmla="*/ 8997 h 10000"/>
                <a:gd name="connsiteX846" fmla="*/ 427 w 10000"/>
                <a:gd name="connsiteY846" fmla="*/ 8993 h 10000"/>
                <a:gd name="connsiteX847" fmla="*/ 424 w 10000"/>
                <a:gd name="connsiteY847" fmla="*/ 8976 h 10000"/>
                <a:gd name="connsiteX848" fmla="*/ 427 w 10000"/>
                <a:gd name="connsiteY848" fmla="*/ 8948 h 10000"/>
                <a:gd name="connsiteX849" fmla="*/ 437 w 10000"/>
                <a:gd name="connsiteY849" fmla="*/ 8913 h 10000"/>
                <a:gd name="connsiteX850" fmla="*/ 455 w 10000"/>
                <a:gd name="connsiteY850" fmla="*/ 8859 h 10000"/>
                <a:gd name="connsiteX851" fmla="*/ 462 w 10000"/>
                <a:gd name="connsiteY851" fmla="*/ 8834 h 10000"/>
                <a:gd name="connsiteX852" fmla="*/ 470 w 10000"/>
                <a:gd name="connsiteY852" fmla="*/ 8810 h 10000"/>
                <a:gd name="connsiteX853" fmla="*/ 472 w 10000"/>
                <a:gd name="connsiteY853" fmla="*/ 8794 h 10000"/>
                <a:gd name="connsiteX854" fmla="*/ 472 w 10000"/>
                <a:gd name="connsiteY854" fmla="*/ 8780 h 10000"/>
                <a:gd name="connsiteX855" fmla="*/ 462 w 10000"/>
                <a:gd name="connsiteY855" fmla="*/ 8784 h 10000"/>
                <a:gd name="connsiteX856" fmla="*/ 452 w 10000"/>
                <a:gd name="connsiteY856" fmla="*/ 8787 h 10000"/>
                <a:gd name="connsiteX857" fmla="*/ 437 w 10000"/>
                <a:gd name="connsiteY857" fmla="*/ 8794 h 10000"/>
                <a:gd name="connsiteX858" fmla="*/ 424 w 10000"/>
                <a:gd name="connsiteY858" fmla="*/ 8803 h 10000"/>
                <a:gd name="connsiteX859" fmla="*/ 394 w 10000"/>
                <a:gd name="connsiteY859" fmla="*/ 8829 h 10000"/>
                <a:gd name="connsiteX860" fmla="*/ 364 w 10000"/>
                <a:gd name="connsiteY860" fmla="*/ 8859 h 10000"/>
                <a:gd name="connsiteX861" fmla="*/ 311 w 10000"/>
                <a:gd name="connsiteY861" fmla="*/ 8922 h 10000"/>
                <a:gd name="connsiteX862" fmla="*/ 268 w 10000"/>
                <a:gd name="connsiteY862" fmla="*/ 8964 h 10000"/>
                <a:gd name="connsiteX863" fmla="*/ 205 w 10000"/>
                <a:gd name="connsiteY863" fmla="*/ 9016 h 10000"/>
                <a:gd name="connsiteX864" fmla="*/ 146 w 10000"/>
                <a:gd name="connsiteY864" fmla="*/ 9053 h 10000"/>
                <a:gd name="connsiteX865" fmla="*/ 139 w 10000"/>
                <a:gd name="connsiteY865" fmla="*/ 9063 h 10000"/>
                <a:gd name="connsiteX866" fmla="*/ 129 w 10000"/>
                <a:gd name="connsiteY866" fmla="*/ 9077 h 10000"/>
                <a:gd name="connsiteX867" fmla="*/ 126 w 10000"/>
                <a:gd name="connsiteY867" fmla="*/ 9086 h 10000"/>
                <a:gd name="connsiteX868" fmla="*/ 126 w 10000"/>
                <a:gd name="connsiteY868" fmla="*/ 9102 h 10000"/>
                <a:gd name="connsiteX869" fmla="*/ 129 w 10000"/>
                <a:gd name="connsiteY869" fmla="*/ 9116 h 10000"/>
                <a:gd name="connsiteX870" fmla="*/ 139 w 10000"/>
                <a:gd name="connsiteY870" fmla="*/ 9135 h 10000"/>
                <a:gd name="connsiteX871" fmla="*/ 149 w 10000"/>
                <a:gd name="connsiteY871" fmla="*/ 9151 h 10000"/>
                <a:gd name="connsiteX872" fmla="*/ 164 w 10000"/>
                <a:gd name="connsiteY872" fmla="*/ 9175 h 10000"/>
                <a:gd name="connsiteX873" fmla="*/ 184 w 10000"/>
                <a:gd name="connsiteY873" fmla="*/ 9196 h 10000"/>
                <a:gd name="connsiteX874" fmla="*/ 207 w 10000"/>
                <a:gd name="connsiteY874" fmla="*/ 9215 h 10000"/>
                <a:gd name="connsiteX875" fmla="*/ 227 w 10000"/>
                <a:gd name="connsiteY875" fmla="*/ 9233 h 10000"/>
                <a:gd name="connsiteX876" fmla="*/ 253 w 10000"/>
                <a:gd name="connsiteY876" fmla="*/ 9250 h 10000"/>
                <a:gd name="connsiteX877" fmla="*/ 303 w 10000"/>
                <a:gd name="connsiteY877" fmla="*/ 9282 h 10000"/>
                <a:gd name="connsiteX878" fmla="*/ 351 w 10000"/>
                <a:gd name="connsiteY878" fmla="*/ 9315 h 10000"/>
                <a:gd name="connsiteX879" fmla="*/ 414 w 10000"/>
                <a:gd name="connsiteY879" fmla="*/ 9364 h 10000"/>
                <a:gd name="connsiteX880" fmla="*/ 480 w 10000"/>
                <a:gd name="connsiteY880" fmla="*/ 9416 h 10000"/>
                <a:gd name="connsiteX881" fmla="*/ 513 w 10000"/>
                <a:gd name="connsiteY881" fmla="*/ 9437 h 10000"/>
                <a:gd name="connsiteX882" fmla="*/ 548 w 10000"/>
                <a:gd name="connsiteY882" fmla="*/ 9462 h 10000"/>
                <a:gd name="connsiteX883" fmla="*/ 581 w 10000"/>
                <a:gd name="connsiteY883" fmla="*/ 9483 h 10000"/>
                <a:gd name="connsiteX884" fmla="*/ 614 w 10000"/>
                <a:gd name="connsiteY884" fmla="*/ 9502 h 10000"/>
                <a:gd name="connsiteX885" fmla="*/ 641 w 10000"/>
                <a:gd name="connsiteY885" fmla="*/ 9525 h 10000"/>
                <a:gd name="connsiteX886" fmla="*/ 672 w 10000"/>
                <a:gd name="connsiteY886" fmla="*/ 9549 h 10000"/>
                <a:gd name="connsiteX887" fmla="*/ 702 w 10000"/>
                <a:gd name="connsiteY887" fmla="*/ 9568 h 10000"/>
                <a:gd name="connsiteX888" fmla="*/ 737 w 10000"/>
                <a:gd name="connsiteY888" fmla="*/ 9589 h 10000"/>
                <a:gd name="connsiteX889" fmla="*/ 770 w 10000"/>
                <a:gd name="connsiteY889" fmla="*/ 9605 h 10000"/>
                <a:gd name="connsiteX890" fmla="*/ 808 w 10000"/>
                <a:gd name="connsiteY890" fmla="*/ 9617 h 10000"/>
                <a:gd name="connsiteX891" fmla="*/ 843 w 10000"/>
                <a:gd name="connsiteY891" fmla="*/ 9624 h 10000"/>
                <a:gd name="connsiteX892" fmla="*/ 884 w 10000"/>
                <a:gd name="connsiteY892" fmla="*/ 9628 h 10000"/>
                <a:gd name="connsiteX893" fmla="*/ 902 w 10000"/>
                <a:gd name="connsiteY893" fmla="*/ 9628 h 10000"/>
                <a:gd name="connsiteX894" fmla="*/ 914 w 10000"/>
                <a:gd name="connsiteY894" fmla="*/ 9631 h 10000"/>
                <a:gd name="connsiteX895" fmla="*/ 932 w 10000"/>
                <a:gd name="connsiteY895" fmla="*/ 9638 h 10000"/>
                <a:gd name="connsiteX896" fmla="*/ 942 w 10000"/>
                <a:gd name="connsiteY896" fmla="*/ 9642 h 10000"/>
                <a:gd name="connsiteX897" fmla="*/ 967 w 10000"/>
                <a:gd name="connsiteY897" fmla="*/ 9652 h 10000"/>
                <a:gd name="connsiteX898" fmla="*/ 987 w 10000"/>
                <a:gd name="connsiteY898" fmla="*/ 9668 h 10000"/>
                <a:gd name="connsiteX899" fmla="*/ 1005 w 10000"/>
                <a:gd name="connsiteY899" fmla="*/ 9682 h 10000"/>
                <a:gd name="connsiteX900" fmla="*/ 1025 w 10000"/>
                <a:gd name="connsiteY900" fmla="*/ 9698 h 10000"/>
                <a:gd name="connsiteX901" fmla="*/ 1045 w 10000"/>
                <a:gd name="connsiteY901" fmla="*/ 9712 h 10000"/>
                <a:gd name="connsiteX902" fmla="*/ 1073 w 10000"/>
                <a:gd name="connsiteY902" fmla="*/ 9724 h 10000"/>
                <a:gd name="connsiteX903" fmla="*/ 1098 w 10000"/>
                <a:gd name="connsiteY903" fmla="*/ 9738 h 10000"/>
                <a:gd name="connsiteX904" fmla="*/ 1121 w 10000"/>
                <a:gd name="connsiteY904" fmla="*/ 9750 h 10000"/>
                <a:gd name="connsiteX905" fmla="*/ 1141 w 10000"/>
                <a:gd name="connsiteY905" fmla="*/ 9762 h 10000"/>
                <a:gd name="connsiteX906" fmla="*/ 1159 w 10000"/>
                <a:gd name="connsiteY906" fmla="*/ 9776 h 10000"/>
                <a:gd name="connsiteX907" fmla="*/ 1172 w 10000"/>
                <a:gd name="connsiteY907" fmla="*/ 9787 h 10000"/>
                <a:gd name="connsiteX908" fmla="*/ 1182 w 10000"/>
                <a:gd name="connsiteY908" fmla="*/ 9804 h 10000"/>
                <a:gd name="connsiteX909" fmla="*/ 1194 w 10000"/>
                <a:gd name="connsiteY909" fmla="*/ 9818 h 10000"/>
                <a:gd name="connsiteX910" fmla="*/ 1202 w 10000"/>
                <a:gd name="connsiteY910" fmla="*/ 9834 h 10000"/>
                <a:gd name="connsiteX911" fmla="*/ 1212 w 10000"/>
                <a:gd name="connsiteY911" fmla="*/ 9869 h 10000"/>
                <a:gd name="connsiteX912" fmla="*/ 1220 w 10000"/>
                <a:gd name="connsiteY912" fmla="*/ 9906 h 10000"/>
                <a:gd name="connsiteX913" fmla="*/ 1230 w 10000"/>
                <a:gd name="connsiteY913" fmla="*/ 9951 h 10000"/>
                <a:gd name="connsiteX914" fmla="*/ 1237 w 10000"/>
                <a:gd name="connsiteY914" fmla="*/ 10000 h 10000"/>
                <a:gd name="connsiteX915" fmla="*/ 1237 w 10000"/>
                <a:gd name="connsiteY91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79 w 10000"/>
                <a:gd name="connsiteY733" fmla="*/ 7501 h 10000"/>
                <a:gd name="connsiteX734" fmla="*/ 2687 w 10000"/>
                <a:gd name="connsiteY734" fmla="*/ 7525 h 10000"/>
                <a:gd name="connsiteX735" fmla="*/ 2689 w 10000"/>
                <a:gd name="connsiteY735" fmla="*/ 7543 h 10000"/>
                <a:gd name="connsiteX736" fmla="*/ 2692 w 10000"/>
                <a:gd name="connsiteY736" fmla="*/ 7567 h 10000"/>
                <a:gd name="connsiteX737" fmla="*/ 2692 w 10000"/>
                <a:gd name="connsiteY737" fmla="*/ 7588 h 10000"/>
                <a:gd name="connsiteX738" fmla="*/ 2689 w 10000"/>
                <a:gd name="connsiteY738" fmla="*/ 7623 h 10000"/>
                <a:gd name="connsiteX739" fmla="*/ 2684 w 10000"/>
                <a:gd name="connsiteY739" fmla="*/ 7637 h 10000"/>
                <a:gd name="connsiteX740" fmla="*/ 2674 w 10000"/>
                <a:gd name="connsiteY740" fmla="*/ 7648 h 10000"/>
                <a:gd name="connsiteX741" fmla="*/ 2664 w 10000"/>
                <a:gd name="connsiteY741" fmla="*/ 7658 h 10000"/>
                <a:gd name="connsiteX742" fmla="*/ 2654 w 10000"/>
                <a:gd name="connsiteY742" fmla="*/ 7667 h 10000"/>
                <a:gd name="connsiteX743" fmla="*/ 2518 w 10000"/>
                <a:gd name="connsiteY743" fmla="*/ 7693 h 10000"/>
                <a:gd name="connsiteX744" fmla="*/ 2167 w 10000"/>
                <a:gd name="connsiteY744" fmla="*/ 7742 h 10000"/>
                <a:gd name="connsiteX745" fmla="*/ 2159 w 10000"/>
                <a:gd name="connsiteY745" fmla="*/ 7833 h 10000"/>
                <a:gd name="connsiteX746" fmla="*/ 2157 w 10000"/>
                <a:gd name="connsiteY746" fmla="*/ 7882 h 10000"/>
                <a:gd name="connsiteX747" fmla="*/ 2157 w 10000"/>
                <a:gd name="connsiteY747" fmla="*/ 7938 h 10000"/>
                <a:gd name="connsiteX748" fmla="*/ 2159 w 10000"/>
                <a:gd name="connsiteY748" fmla="*/ 8006 h 10000"/>
                <a:gd name="connsiteX749" fmla="*/ 2162 w 10000"/>
                <a:gd name="connsiteY749" fmla="*/ 8079 h 10000"/>
                <a:gd name="connsiteX750" fmla="*/ 2159 w 10000"/>
                <a:gd name="connsiteY750" fmla="*/ 8156 h 10000"/>
                <a:gd name="connsiteX751" fmla="*/ 2157 w 10000"/>
                <a:gd name="connsiteY751" fmla="*/ 8193 h 10000"/>
                <a:gd name="connsiteX752" fmla="*/ 2154 w 10000"/>
                <a:gd name="connsiteY752" fmla="*/ 8228 h 10000"/>
                <a:gd name="connsiteX753" fmla="*/ 2146 w 10000"/>
                <a:gd name="connsiteY753" fmla="*/ 8261 h 10000"/>
                <a:gd name="connsiteX754" fmla="*/ 2136 w 10000"/>
                <a:gd name="connsiteY754" fmla="*/ 8291 h 10000"/>
                <a:gd name="connsiteX755" fmla="*/ 2124 w 10000"/>
                <a:gd name="connsiteY755" fmla="*/ 8319 h 10000"/>
                <a:gd name="connsiteX756" fmla="*/ 2109 w 10000"/>
                <a:gd name="connsiteY756" fmla="*/ 8345 h 10000"/>
                <a:gd name="connsiteX757" fmla="*/ 2098 w 10000"/>
                <a:gd name="connsiteY757" fmla="*/ 8354 h 10000"/>
                <a:gd name="connsiteX758" fmla="*/ 2088 w 10000"/>
                <a:gd name="connsiteY758" fmla="*/ 8364 h 10000"/>
                <a:gd name="connsiteX759" fmla="*/ 2078 w 10000"/>
                <a:gd name="connsiteY759" fmla="*/ 8373 h 10000"/>
                <a:gd name="connsiteX760" fmla="*/ 2063 w 10000"/>
                <a:gd name="connsiteY760" fmla="*/ 8380 h 10000"/>
                <a:gd name="connsiteX761" fmla="*/ 1990 w 10000"/>
                <a:gd name="connsiteY761" fmla="*/ 8422 h 10000"/>
                <a:gd name="connsiteX762" fmla="*/ 1904 w 10000"/>
                <a:gd name="connsiteY762" fmla="*/ 8481 h 10000"/>
                <a:gd name="connsiteX763" fmla="*/ 1856 w 10000"/>
                <a:gd name="connsiteY763" fmla="*/ 8506 h 10000"/>
                <a:gd name="connsiteX764" fmla="*/ 1816 w 10000"/>
                <a:gd name="connsiteY764" fmla="*/ 8527 h 10000"/>
                <a:gd name="connsiteX765" fmla="*/ 1793 w 10000"/>
                <a:gd name="connsiteY765" fmla="*/ 8539 h 10000"/>
                <a:gd name="connsiteX766" fmla="*/ 1775 w 10000"/>
                <a:gd name="connsiteY766" fmla="*/ 8546 h 10000"/>
                <a:gd name="connsiteX767" fmla="*/ 1758 w 10000"/>
                <a:gd name="connsiteY767" fmla="*/ 8548 h 10000"/>
                <a:gd name="connsiteX768" fmla="*/ 1742 w 10000"/>
                <a:gd name="connsiteY768" fmla="*/ 8551 h 10000"/>
                <a:gd name="connsiteX769" fmla="*/ 1727 w 10000"/>
                <a:gd name="connsiteY769" fmla="*/ 8537 h 10000"/>
                <a:gd name="connsiteX770" fmla="*/ 1717 w 10000"/>
                <a:gd name="connsiteY770" fmla="*/ 8518 h 10000"/>
                <a:gd name="connsiteX771" fmla="*/ 1710 w 10000"/>
                <a:gd name="connsiteY771" fmla="*/ 8499 h 10000"/>
                <a:gd name="connsiteX772" fmla="*/ 1702 w 10000"/>
                <a:gd name="connsiteY772" fmla="*/ 8476 h 10000"/>
                <a:gd name="connsiteX773" fmla="*/ 1684 w 10000"/>
                <a:gd name="connsiteY773" fmla="*/ 8429 h 10000"/>
                <a:gd name="connsiteX774" fmla="*/ 1674 w 10000"/>
                <a:gd name="connsiteY774" fmla="*/ 8380 h 10000"/>
                <a:gd name="connsiteX775" fmla="*/ 1667 w 10000"/>
                <a:gd name="connsiteY775" fmla="*/ 8329 h 10000"/>
                <a:gd name="connsiteX776" fmla="*/ 1659 w 10000"/>
                <a:gd name="connsiteY776" fmla="*/ 8282 h 10000"/>
                <a:gd name="connsiteX777" fmla="*/ 1657 w 10000"/>
                <a:gd name="connsiteY777" fmla="*/ 8235 h 10000"/>
                <a:gd name="connsiteX778" fmla="*/ 1657 w 10000"/>
                <a:gd name="connsiteY778" fmla="*/ 8195 h 10000"/>
                <a:gd name="connsiteX779" fmla="*/ 1652 w 10000"/>
                <a:gd name="connsiteY779" fmla="*/ 8191 h 10000"/>
                <a:gd name="connsiteX780" fmla="*/ 1586 w 10000"/>
                <a:gd name="connsiteY780" fmla="*/ 8188 h 10000"/>
                <a:gd name="connsiteX781" fmla="*/ 1525 w 10000"/>
                <a:gd name="connsiteY781" fmla="*/ 8186 h 10000"/>
                <a:gd name="connsiteX782" fmla="*/ 1500 w 10000"/>
                <a:gd name="connsiteY782" fmla="*/ 8191 h 10000"/>
                <a:gd name="connsiteX783" fmla="*/ 1472 w 10000"/>
                <a:gd name="connsiteY783" fmla="*/ 8198 h 10000"/>
                <a:gd name="connsiteX784" fmla="*/ 1457 w 10000"/>
                <a:gd name="connsiteY784" fmla="*/ 8205 h 10000"/>
                <a:gd name="connsiteX785" fmla="*/ 1444 w 10000"/>
                <a:gd name="connsiteY785" fmla="*/ 8212 h 10000"/>
                <a:gd name="connsiteX786" fmla="*/ 1434 w 10000"/>
                <a:gd name="connsiteY786" fmla="*/ 8223 h 10000"/>
                <a:gd name="connsiteX787" fmla="*/ 1419 w 10000"/>
                <a:gd name="connsiteY787" fmla="*/ 8233 h 10000"/>
                <a:gd name="connsiteX788" fmla="*/ 1412 w 10000"/>
                <a:gd name="connsiteY788" fmla="*/ 8247 h 10000"/>
                <a:gd name="connsiteX789" fmla="*/ 1402 w 10000"/>
                <a:gd name="connsiteY789" fmla="*/ 8261 h 10000"/>
                <a:gd name="connsiteX790" fmla="*/ 1394 w 10000"/>
                <a:gd name="connsiteY790" fmla="*/ 8275 h 10000"/>
                <a:gd name="connsiteX791" fmla="*/ 1386 w 10000"/>
                <a:gd name="connsiteY791" fmla="*/ 8294 h 10000"/>
                <a:gd name="connsiteX792" fmla="*/ 1374 w 10000"/>
                <a:gd name="connsiteY792" fmla="*/ 8331 h 10000"/>
                <a:gd name="connsiteX793" fmla="*/ 1361 w 10000"/>
                <a:gd name="connsiteY793" fmla="*/ 8368 h 10000"/>
                <a:gd name="connsiteX794" fmla="*/ 1354 w 10000"/>
                <a:gd name="connsiteY794" fmla="*/ 8387 h 10000"/>
                <a:gd name="connsiteX795" fmla="*/ 1346 w 10000"/>
                <a:gd name="connsiteY795" fmla="*/ 8406 h 10000"/>
                <a:gd name="connsiteX796" fmla="*/ 1338 w 10000"/>
                <a:gd name="connsiteY796" fmla="*/ 8420 h 10000"/>
                <a:gd name="connsiteX797" fmla="*/ 1328 w 10000"/>
                <a:gd name="connsiteY797" fmla="*/ 8436 h 10000"/>
                <a:gd name="connsiteX798" fmla="*/ 1316 w 10000"/>
                <a:gd name="connsiteY798" fmla="*/ 8446 h 10000"/>
                <a:gd name="connsiteX799" fmla="*/ 1306 w 10000"/>
                <a:gd name="connsiteY799" fmla="*/ 8453 h 10000"/>
                <a:gd name="connsiteX800" fmla="*/ 1293 w 10000"/>
                <a:gd name="connsiteY800" fmla="*/ 8460 h 10000"/>
                <a:gd name="connsiteX801" fmla="*/ 1275 w 10000"/>
                <a:gd name="connsiteY801" fmla="*/ 8460 h 10000"/>
                <a:gd name="connsiteX802" fmla="*/ 1265 w 10000"/>
                <a:gd name="connsiteY802" fmla="*/ 8450 h 10000"/>
                <a:gd name="connsiteX803" fmla="*/ 1258 w 10000"/>
                <a:gd name="connsiteY803" fmla="*/ 8441 h 10000"/>
                <a:gd name="connsiteX804" fmla="*/ 1245 w 10000"/>
                <a:gd name="connsiteY804" fmla="*/ 8424 h 10000"/>
                <a:gd name="connsiteX805" fmla="*/ 1237 w 10000"/>
                <a:gd name="connsiteY805" fmla="*/ 8408 h 10000"/>
                <a:gd name="connsiteX806" fmla="*/ 1217 w 10000"/>
                <a:gd name="connsiteY806" fmla="*/ 8373 h 10000"/>
                <a:gd name="connsiteX807" fmla="*/ 1202 w 10000"/>
                <a:gd name="connsiteY807" fmla="*/ 8333 h 10000"/>
                <a:gd name="connsiteX808" fmla="*/ 1182 w 10000"/>
                <a:gd name="connsiteY808" fmla="*/ 8296 h 10000"/>
                <a:gd name="connsiteX809" fmla="*/ 1162 w 10000"/>
                <a:gd name="connsiteY809" fmla="*/ 8268 h 10000"/>
                <a:gd name="connsiteX810" fmla="*/ 1149 w 10000"/>
                <a:gd name="connsiteY810" fmla="*/ 8256 h 10000"/>
                <a:gd name="connsiteX811" fmla="*/ 1139 w 10000"/>
                <a:gd name="connsiteY811" fmla="*/ 8249 h 10000"/>
                <a:gd name="connsiteX812" fmla="*/ 1126 w 10000"/>
                <a:gd name="connsiteY812" fmla="*/ 8240 h 10000"/>
                <a:gd name="connsiteX813" fmla="*/ 1114 w 10000"/>
                <a:gd name="connsiteY813" fmla="*/ 8240 h 10000"/>
                <a:gd name="connsiteX814" fmla="*/ 1091 w 10000"/>
                <a:gd name="connsiteY814" fmla="*/ 8242 h 10000"/>
                <a:gd name="connsiteX815" fmla="*/ 1071 w 10000"/>
                <a:gd name="connsiteY815" fmla="*/ 8252 h 10000"/>
                <a:gd name="connsiteX816" fmla="*/ 1048 w 10000"/>
                <a:gd name="connsiteY816" fmla="*/ 8261 h 10000"/>
                <a:gd name="connsiteX817" fmla="*/ 1030 w 10000"/>
                <a:gd name="connsiteY817" fmla="*/ 8273 h 10000"/>
                <a:gd name="connsiteX818" fmla="*/ 1010 w 10000"/>
                <a:gd name="connsiteY818" fmla="*/ 8287 h 10000"/>
                <a:gd name="connsiteX819" fmla="*/ 995 w 10000"/>
                <a:gd name="connsiteY819" fmla="*/ 8303 h 10000"/>
                <a:gd name="connsiteX820" fmla="*/ 975 w 10000"/>
                <a:gd name="connsiteY820" fmla="*/ 8322 h 10000"/>
                <a:gd name="connsiteX821" fmla="*/ 960 w 10000"/>
                <a:gd name="connsiteY821" fmla="*/ 8343 h 10000"/>
                <a:gd name="connsiteX822" fmla="*/ 927 w 10000"/>
                <a:gd name="connsiteY822" fmla="*/ 8380 h 10000"/>
                <a:gd name="connsiteX823" fmla="*/ 891 w 10000"/>
                <a:gd name="connsiteY823" fmla="*/ 8417 h 10000"/>
                <a:gd name="connsiteX824" fmla="*/ 874 w 10000"/>
                <a:gd name="connsiteY824" fmla="*/ 8436 h 10000"/>
                <a:gd name="connsiteX825" fmla="*/ 859 w 10000"/>
                <a:gd name="connsiteY825" fmla="*/ 8450 h 10000"/>
                <a:gd name="connsiteX826" fmla="*/ 838 w 10000"/>
                <a:gd name="connsiteY826" fmla="*/ 8462 h 10000"/>
                <a:gd name="connsiteX827" fmla="*/ 821 w 10000"/>
                <a:gd name="connsiteY827" fmla="*/ 8476 h 10000"/>
                <a:gd name="connsiteX828" fmla="*/ 742 w 10000"/>
                <a:gd name="connsiteY828" fmla="*/ 8562 h 10000"/>
                <a:gd name="connsiteX829" fmla="*/ 672 w 10000"/>
                <a:gd name="connsiteY829" fmla="*/ 8644 h 10000"/>
                <a:gd name="connsiteX830" fmla="*/ 639 w 10000"/>
                <a:gd name="connsiteY830" fmla="*/ 8684 h 10000"/>
                <a:gd name="connsiteX831" fmla="*/ 609 w 10000"/>
                <a:gd name="connsiteY831" fmla="*/ 8731 h 10000"/>
                <a:gd name="connsiteX832" fmla="*/ 583 w 10000"/>
                <a:gd name="connsiteY832" fmla="*/ 8777 h 10000"/>
                <a:gd name="connsiteX833" fmla="*/ 556 w 10000"/>
                <a:gd name="connsiteY833" fmla="*/ 8831 h 10000"/>
                <a:gd name="connsiteX834" fmla="*/ 545 w 10000"/>
                <a:gd name="connsiteY834" fmla="*/ 8852 h 10000"/>
                <a:gd name="connsiteX835" fmla="*/ 525 w 10000"/>
                <a:gd name="connsiteY835" fmla="*/ 8885 h 10000"/>
                <a:gd name="connsiteX836" fmla="*/ 503 w 10000"/>
                <a:gd name="connsiteY836" fmla="*/ 8925 h 10000"/>
                <a:gd name="connsiteX837" fmla="*/ 480 w 10000"/>
                <a:gd name="connsiteY837" fmla="*/ 8962 h 10000"/>
                <a:gd name="connsiteX838" fmla="*/ 465 w 10000"/>
                <a:gd name="connsiteY838" fmla="*/ 8981 h 10000"/>
                <a:gd name="connsiteX839" fmla="*/ 455 w 10000"/>
                <a:gd name="connsiteY839" fmla="*/ 8993 h 10000"/>
                <a:gd name="connsiteX840" fmla="*/ 444 w 10000"/>
                <a:gd name="connsiteY840" fmla="*/ 9000 h 10000"/>
                <a:gd name="connsiteX841" fmla="*/ 434 w 10000"/>
                <a:gd name="connsiteY841" fmla="*/ 9007 h 10000"/>
                <a:gd name="connsiteX842" fmla="*/ 432 w 10000"/>
                <a:gd name="connsiteY842" fmla="*/ 9007 h 10000"/>
                <a:gd name="connsiteX843" fmla="*/ 429 w 10000"/>
                <a:gd name="connsiteY843" fmla="*/ 9004 h 10000"/>
                <a:gd name="connsiteX844" fmla="*/ 427 w 10000"/>
                <a:gd name="connsiteY844" fmla="*/ 8997 h 10000"/>
                <a:gd name="connsiteX845" fmla="*/ 427 w 10000"/>
                <a:gd name="connsiteY845" fmla="*/ 8993 h 10000"/>
                <a:gd name="connsiteX846" fmla="*/ 424 w 10000"/>
                <a:gd name="connsiteY846" fmla="*/ 8976 h 10000"/>
                <a:gd name="connsiteX847" fmla="*/ 427 w 10000"/>
                <a:gd name="connsiteY847" fmla="*/ 8948 h 10000"/>
                <a:gd name="connsiteX848" fmla="*/ 437 w 10000"/>
                <a:gd name="connsiteY848" fmla="*/ 8913 h 10000"/>
                <a:gd name="connsiteX849" fmla="*/ 455 w 10000"/>
                <a:gd name="connsiteY849" fmla="*/ 8859 h 10000"/>
                <a:gd name="connsiteX850" fmla="*/ 462 w 10000"/>
                <a:gd name="connsiteY850" fmla="*/ 8834 h 10000"/>
                <a:gd name="connsiteX851" fmla="*/ 470 w 10000"/>
                <a:gd name="connsiteY851" fmla="*/ 8810 h 10000"/>
                <a:gd name="connsiteX852" fmla="*/ 472 w 10000"/>
                <a:gd name="connsiteY852" fmla="*/ 8794 h 10000"/>
                <a:gd name="connsiteX853" fmla="*/ 472 w 10000"/>
                <a:gd name="connsiteY853" fmla="*/ 8780 h 10000"/>
                <a:gd name="connsiteX854" fmla="*/ 462 w 10000"/>
                <a:gd name="connsiteY854" fmla="*/ 8784 h 10000"/>
                <a:gd name="connsiteX855" fmla="*/ 452 w 10000"/>
                <a:gd name="connsiteY855" fmla="*/ 8787 h 10000"/>
                <a:gd name="connsiteX856" fmla="*/ 437 w 10000"/>
                <a:gd name="connsiteY856" fmla="*/ 8794 h 10000"/>
                <a:gd name="connsiteX857" fmla="*/ 424 w 10000"/>
                <a:gd name="connsiteY857" fmla="*/ 8803 h 10000"/>
                <a:gd name="connsiteX858" fmla="*/ 394 w 10000"/>
                <a:gd name="connsiteY858" fmla="*/ 8829 h 10000"/>
                <a:gd name="connsiteX859" fmla="*/ 364 w 10000"/>
                <a:gd name="connsiteY859" fmla="*/ 8859 h 10000"/>
                <a:gd name="connsiteX860" fmla="*/ 311 w 10000"/>
                <a:gd name="connsiteY860" fmla="*/ 8922 h 10000"/>
                <a:gd name="connsiteX861" fmla="*/ 268 w 10000"/>
                <a:gd name="connsiteY861" fmla="*/ 8964 h 10000"/>
                <a:gd name="connsiteX862" fmla="*/ 205 w 10000"/>
                <a:gd name="connsiteY862" fmla="*/ 9016 h 10000"/>
                <a:gd name="connsiteX863" fmla="*/ 146 w 10000"/>
                <a:gd name="connsiteY863" fmla="*/ 9053 h 10000"/>
                <a:gd name="connsiteX864" fmla="*/ 139 w 10000"/>
                <a:gd name="connsiteY864" fmla="*/ 9063 h 10000"/>
                <a:gd name="connsiteX865" fmla="*/ 129 w 10000"/>
                <a:gd name="connsiteY865" fmla="*/ 9077 h 10000"/>
                <a:gd name="connsiteX866" fmla="*/ 126 w 10000"/>
                <a:gd name="connsiteY866" fmla="*/ 9086 h 10000"/>
                <a:gd name="connsiteX867" fmla="*/ 126 w 10000"/>
                <a:gd name="connsiteY867" fmla="*/ 9102 h 10000"/>
                <a:gd name="connsiteX868" fmla="*/ 129 w 10000"/>
                <a:gd name="connsiteY868" fmla="*/ 9116 h 10000"/>
                <a:gd name="connsiteX869" fmla="*/ 139 w 10000"/>
                <a:gd name="connsiteY869" fmla="*/ 9135 h 10000"/>
                <a:gd name="connsiteX870" fmla="*/ 149 w 10000"/>
                <a:gd name="connsiteY870" fmla="*/ 9151 h 10000"/>
                <a:gd name="connsiteX871" fmla="*/ 164 w 10000"/>
                <a:gd name="connsiteY871" fmla="*/ 9175 h 10000"/>
                <a:gd name="connsiteX872" fmla="*/ 184 w 10000"/>
                <a:gd name="connsiteY872" fmla="*/ 9196 h 10000"/>
                <a:gd name="connsiteX873" fmla="*/ 207 w 10000"/>
                <a:gd name="connsiteY873" fmla="*/ 9215 h 10000"/>
                <a:gd name="connsiteX874" fmla="*/ 227 w 10000"/>
                <a:gd name="connsiteY874" fmla="*/ 9233 h 10000"/>
                <a:gd name="connsiteX875" fmla="*/ 253 w 10000"/>
                <a:gd name="connsiteY875" fmla="*/ 9250 h 10000"/>
                <a:gd name="connsiteX876" fmla="*/ 303 w 10000"/>
                <a:gd name="connsiteY876" fmla="*/ 9282 h 10000"/>
                <a:gd name="connsiteX877" fmla="*/ 351 w 10000"/>
                <a:gd name="connsiteY877" fmla="*/ 9315 h 10000"/>
                <a:gd name="connsiteX878" fmla="*/ 414 w 10000"/>
                <a:gd name="connsiteY878" fmla="*/ 9364 h 10000"/>
                <a:gd name="connsiteX879" fmla="*/ 480 w 10000"/>
                <a:gd name="connsiteY879" fmla="*/ 9416 h 10000"/>
                <a:gd name="connsiteX880" fmla="*/ 513 w 10000"/>
                <a:gd name="connsiteY880" fmla="*/ 9437 h 10000"/>
                <a:gd name="connsiteX881" fmla="*/ 548 w 10000"/>
                <a:gd name="connsiteY881" fmla="*/ 9462 h 10000"/>
                <a:gd name="connsiteX882" fmla="*/ 581 w 10000"/>
                <a:gd name="connsiteY882" fmla="*/ 9483 h 10000"/>
                <a:gd name="connsiteX883" fmla="*/ 614 w 10000"/>
                <a:gd name="connsiteY883" fmla="*/ 9502 h 10000"/>
                <a:gd name="connsiteX884" fmla="*/ 641 w 10000"/>
                <a:gd name="connsiteY884" fmla="*/ 9525 h 10000"/>
                <a:gd name="connsiteX885" fmla="*/ 672 w 10000"/>
                <a:gd name="connsiteY885" fmla="*/ 9549 h 10000"/>
                <a:gd name="connsiteX886" fmla="*/ 702 w 10000"/>
                <a:gd name="connsiteY886" fmla="*/ 9568 h 10000"/>
                <a:gd name="connsiteX887" fmla="*/ 737 w 10000"/>
                <a:gd name="connsiteY887" fmla="*/ 9589 h 10000"/>
                <a:gd name="connsiteX888" fmla="*/ 770 w 10000"/>
                <a:gd name="connsiteY888" fmla="*/ 9605 h 10000"/>
                <a:gd name="connsiteX889" fmla="*/ 808 w 10000"/>
                <a:gd name="connsiteY889" fmla="*/ 9617 h 10000"/>
                <a:gd name="connsiteX890" fmla="*/ 843 w 10000"/>
                <a:gd name="connsiteY890" fmla="*/ 9624 h 10000"/>
                <a:gd name="connsiteX891" fmla="*/ 884 w 10000"/>
                <a:gd name="connsiteY891" fmla="*/ 9628 h 10000"/>
                <a:gd name="connsiteX892" fmla="*/ 902 w 10000"/>
                <a:gd name="connsiteY892" fmla="*/ 9628 h 10000"/>
                <a:gd name="connsiteX893" fmla="*/ 914 w 10000"/>
                <a:gd name="connsiteY893" fmla="*/ 9631 h 10000"/>
                <a:gd name="connsiteX894" fmla="*/ 932 w 10000"/>
                <a:gd name="connsiteY894" fmla="*/ 9638 h 10000"/>
                <a:gd name="connsiteX895" fmla="*/ 942 w 10000"/>
                <a:gd name="connsiteY895" fmla="*/ 9642 h 10000"/>
                <a:gd name="connsiteX896" fmla="*/ 967 w 10000"/>
                <a:gd name="connsiteY896" fmla="*/ 9652 h 10000"/>
                <a:gd name="connsiteX897" fmla="*/ 987 w 10000"/>
                <a:gd name="connsiteY897" fmla="*/ 9668 h 10000"/>
                <a:gd name="connsiteX898" fmla="*/ 1005 w 10000"/>
                <a:gd name="connsiteY898" fmla="*/ 9682 h 10000"/>
                <a:gd name="connsiteX899" fmla="*/ 1025 w 10000"/>
                <a:gd name="connsiteY899" fmla="*/ 9698 h 10000"/>
                <a:gd name="connsiteX900" fmla="*/ 1045 w 10000"/>
                <a:gd name="connsiteY900" fmla="*/ 9712 h 10000"/>
                <a:gd name="connsiteX901" fmla="*/ 1073 w 10000"/>
                <a:gd name="connsiteY901" fmla="*/ 9724 h 10000"/>
                <a:gd name="connsiteX902" fmla="*/ 1098 w 10000"/>
                <a:gd name="connsiteY902" fmla="*/ 9738 h 10000"/>
                <a:gd name="connsiteX903" fmla="*/ 1121 w 10000"/>
                <a:gd name="connsiteY903" fmla="*/ 9750 h 10000"/>
                <a:gd name="connsiteX904" fmla="*/ 1141 w 10000"/>
                <a:gd name="connsiteY904" fmla="*/ 9762 h 10000"/>
                <a:gd name="connsiteX905" fmla="*/ 1159 w 10000"/>
                <a:gd name="connsiteY905" fmla="*/ 9776 h 10000"/>
                <a:gd name="connsiteX906" fmla="*/ 1172 w 10000"/>
                <a:gd name="connsiteY906" fmla="*/ 9787 h 10000"/>
                <a:gd name="connsiteX907" fmla="*/ 1182 w 10000"/>
                <a:gd name="connsiteY907" fmla="*/ 9804 h 10000"/>
                <a:gd name="connsiteX908" fmla="*/ 1194 w 10000"/>
                <a:gd name="connsiteY908" fmla="*/ 9818 h 10000"/>
                <a:gd name="connsiteX909" fmla="*/ 1202 w 10000"/>
                <a:gd name="connsiteY909" fmla="*/ 9834 h 10000"/>
                <a:gd name="connsiteX910" fmla="*/ 1212 w 10000"/>
                <a:gd name="connsiteY910" fmla="*/ 9869 h 10000"/>
                <a:gd name="connsiteX911" fmla="*/ 1220 w 10000"/>
                <a:gd name="connsiteY911" fmla="*/ 9906 h 10000"/>
                <a:gd name="connsiteX912" fmla="*/ 1230 w 10000"/>
                <a:gd name="connsiteY912" fmla="*/ 9951 h 10000"/>
                <a:gd name="connsiteX913" fmla="*/ 1237 w 10000"/>
                <a:gd name="connsiteY913" fmla="*/ 10000 h 10000"/>
                <a:gd name="connsiteX914" fmla="*/ 1237 w 10000"/>
                <a:gd name="connsiteY91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67 h 10000"/>
                <a:gd name="connsiteX736" fmla="*/ 2692 w 10000"/>
                <a:gd name="connsiteY736" fmla="*/ 7588 h 10000"/>
                <a:gd name="connsiteX737" fmla="*/ 2689 w 10000"/>
                <a:gd name="connsiteY737" fmla="*/ 7623 h 10000"/>
                <a:gd name="connsiteX738" fmla="*/ 2684 w 10000"/>
                <a:gd name="connsiteY738" fmla="*/ 7637 h 10000"/>
                <a:gd name="connsiteX739" fmla="*/ 2674 w 10000"/>
                <a:gd name="connsiteY739" fmla="*/ 7648 h 10000"/>
                <a:gd name="connsiteX740" fmla="*/ 2664 w 10000"/>
                <a:gd name="connsiteY740" fmla="*/ 7658 h 10000"/>
                <a:gd name="connsiteX741" fmla="*/ 2654 w 10000"/>
                <a:gd name="connsiteY741" fmla="*/ 7667 h 10000"/>
                <a:gd name="connsiteX742" fmla="*/ 2518 w 10000"/>
                <a:gd name="connsiteY742" fmla="*/ 7693 h 10000"/>
                <a:gd name="connsiteX743" fmla="*/ 2167 w 10000"/>
                <a:gd name="connsiteY743" fmla="*/ 7742 h 10000"/>
                <a:gd name="connsiteX744" fmla="*/ 2159 w 10000"/>
                <a:gd name="connsiteY744" fmla="*/ 7833 h 10000"/>
                <a:gd name="connsiteX745" fmla="*/ 2157 w 10000"/>
                <a:gd name="connsiteY745" fmla="*/ 7882 h 10000"/>
                <a:gd name="connsiteX746" fmla="*/ 2157 w 10000"/>
                <a:gd name="connsiteY746" fmla="*/ 7938 h 10000"/>
                <a:gd name="connsiteX747" fmla="*/ 2159 w 10000"/>
                <a:gd name="connsiteY747" fmla="*/ 8006 h 10000"/>
                <a:gd name="connsiteX748" fmla="*/ 2162 w 10000"/>
                <a:gd name="connsiteY748" fmla="*/ 8079 h 10000"/>
                <a:gd name="connsiteX749" fmla="*/ 2159 w 10000"/>
                <a:gd name="connsiteY749" fmla="*/ 8156 h 10000"/>
                <a:gd name="connsiteX750" fmla="*/ 2157 w 10000"/>
                <a:gd name="connsiteY750" fmla="*/ 8193 h 10000"/>
                <a:gd name="connsiteX751" fmla="*/ 2154 w 10000"/>
                <a:gd name="connsiteY751" fmla="*/ 8228 h 10000"/>
                <a:gd name="connsiteX752" fmla="*/ 2146 w 10000"/>
                <a:gd name="connsiteY752" fmla="*/ 8261 h 10000"/>
                <a:gd name="connsiteX753" fmla="*/ 2136 w 10000"/>
                <a:gd name="connsiteY753" fmla="*/ 8291 h 10000"/>
                <a:gd name="connsiteX754" fmla="*/ 2124 w 10000"/>
                <a:gd name="connsiteY754" fmla="*/ 8319 h 10000"/>
                <a:gd name="connsiteX755" fmla="*/ 2109 w 10000"/>
                <a:gd name="connsiteY755" fmla="*/ 8345 h 10000"/>
                <a:gd name="connsiteX756" fmla="*/ 2098 w 10000"/>
                <a:gd name="connsiteY756" fmla="*/ 8354 h 10000"/>
                <a:gd name="connsiteX757" fmla="*/ 2088 w 10000"/>
                <a:gd name="connsiteY757" fmla="*/ 8364 h 10000"/>
                <a:gd name="connsiteX758" fmla="*/ 2078 w 10000"/>
                <a:gd name="connsiteY758" fmla="*/ 8373 h 10000"/>
                <a:gd name="connsiteX759" fmla="*/ 2063 w 10000"/>
                <a:gd name="connsiteY759" fmla="*/ 8380 h 10000"/>
                <a:gd name="connsiteX760" fmla="*/ 1990 w 10000"/>
                <a:gd name="connsiteY760" fmla="*/ 8422 h 10000"/>
                <a:gd name="connsiteX761" fmla="*/ 1904 w 10000"/>
                <a:gd name="connsiteY761" fmla="*/ 8481 h 10000"/>
                <a:gd name="connsiteX762" fmla="*/ 1856 w 10000"/>
                <a:gd name="connsiteY762" fmla="*/ 8506 h 10000"/>
                <a:gd name="connsiteX763" fmla="*/ 1816 w 10000"/>
                <a:gd name="connsiteY763" fmla="*/ 8527 h 10000"/>
                <a:gd name="connsiteX764" fmla="*/ 1793 w 10000"/>
                <a:gd name="connsiteY764" fmla="*/ 8539 h 10000"/>
                <a:gd name="connsiteX765" fmla="*/ 1775 w 10000"/>
                <a:gd name="connsiteY765" fmla="*/ 8546 h 10000"/>
                <a:gd name="connsiteX766" fmla="*/ 1758 w 10000"/>
                <a:gd name="connsiteY766" fmla="*/ 8548 h 10000"/>
                <a:gd name="connsiteX767" fmla="*/ 1742 w 10000"/>
                <a:gd name="connsiteY767" fmla="*/ 8551 h 10000"/>
                <a:gd name="connsiteX768" fmla="*/ 1727 w 10000"/>
                <a:gd name="connsiteY768" fmla="*/ 8537 h 10000"/>
                <a:gd name="connsiteX769" fmla="*/ 1717 w 10000"/>
                <a:gd name="connsiteY769" fmla="*/ 8518 h 10000"/>
                <a:gd name="connsiteX770" fmla="*/ 1710 w 10000"/>
                <a:gd name="connsiteY770" fmla="*/ 8499 h 10000"/>
                <a:gd name="connsiteX771" fmla="*/ 1702 w 10000"/>
                <a:gd name="connsiteY771" fmla="*/ 8476 h 10000"/>
                <a:gd name="connsiteX772" fmla="*/ 1684 w 10000"/>
                <a:gd name="connsiteY772" fmla="*/ 8429 h 10000"/>
                <a:gd name="connsiteX773" fmla="*/ 1674 w 10000"/>
                <a:gd name="connsiteY773" fmla="*/ 8380 h 10000"/>
                <a:gd name="connsiteX774" fmla="*/ 1667 w 10000"/>
                <a:gd name="connsiteY774" fmla="*/ 8329 h 10000"/>
                <a:gd name="connsiteX775" fmla="*/ 1659 w 10000"/>
                <a:gd name="connsiteY775" fmla="*/ 8282 h 10000"/>
                <a:gd name="connsiteX776" fmla="*/ 1657 w 10000"/>
                <a:gd name="connsiteY776" fmla="*/ 8235 h 10000"/>
                <a:gd name="connsiteX777" fmla="*/ 1657 w 10000"/>
                <a:gd name="connsiteY777" fmla="*/ 8195 h 10000"/>
                <a:gd name="connsiteX778" fmla="*/ 1652 w 10000"/>
                <a:gd name="connsiteY778" fmla="*/ 8191 h 10000"/>
                <a:gd name="connsiteX779" fmla="*/ 1586 w 10000"/>
                <a:gd name="connsiteY779" fmla="*/ 8188 h 10000"/>
                <a:gd name="connsiteX780" fmla="*/ 1525 w 10000"/>
                <a:gd name="connsiteY780" fmla="*/ 8186 h 10000"/>
                <a:gd name="connsiteX781" fmla="*/ 1500 w 10000"/>
                <a:gd name="connsiteY781" fmla="*/ 8191 h 10000"/>
                <a:gd name="connsiteX782" fmla="*/ 1472 w 10000"/>
                <a:gd name="connsiteY782" fmla="*/ 8198 h 10000"/>
                <a:gd name="connsiteX783" fmla="*/ 1457 w 10000"/>
                <a:gd name="connsiteY783" fmla="*/ 8205 h 10000"/>
                <a:gd name="connsiteX784" fmla="*/ 1444 w 10000"/>
                <a:gd name="connsiteY784" fmla="*/ 8212 h 10000"/>
                <a:gd name="connsiteX785" fmla="*/ 1434 w 10000"/>
                <a:gd name="connsiteY785" fmla="*/ 8223 h 10000"/>
                <a:gd name="connsiteX786" fmla="*/ 1419 w 10000"/>
                <a:gd name="connsiteY786" fmla="*/ 8233 h 10000"/>
                <a:gd name="connsiteX787" fmla="*/ 1412 w 10000"/>
                <a:gd name="connsiteY787" fmla="*/ 8247 h 10000"/>
                <a:gd name="connsiteX788" fmla="*/ 1402 w 10000"/>
                <a:gd name="connsiteY788" fmla="*/ 8261 h 10000"/>
                <a:gd name="connsiteX789" fmla="*/ 1394 w 10000"/>
                <a:gd name="connsiteY789" fmla="*/ 8275 h 10000"/>
                <a:gd name="connsiteX790" fmla="*/ 1386 w 10000"/>
                <a:gd name="connsiteY790" fmla="*/ 8294 h 10000"/>
                <a:gd name="connsiteX791" fmla="*/ 1374 w 10000"/>
                <a:gd name="connsiteY791" fmla="*/ 8331 h 10000"/>
                <a:gd name="connsiteX792" fmla="*/ 1361 w 10000"/>
                <a:gd name="connsiteY792" fmla="*/ 8368 h 10000"/>
                <a:gd name="connsiteX793" fmla="*/ 1354 w 10000"/>
                <a:gd name="connsiteY793" fmla="*/ 8387 h 10000"/>
                <a:gd name="connsiteX794" fmla="*/ 1346 w 10000"/>
                <a:gd name="connsiteY794" fmla="*/ 8406 h 10000"/>
                <a:gd name="connsiteX795" fmla="*/ 1338 w 10000"/>
                <a:gd name="connsiteY795" fmla="*/ 8420 h 10000"/>
                <a:gd name="connsiteX796" fmla="*/ 1328 w 10000"/>
                <a:gd name="connsiteY796" fmla="*/ 8436 h 10000"/>
                <a:gd name="connsiteX797" fmla="*/ 1316 w 10000"/>
                <a:gd name="connsiteY797" fmla="*/ 8446 h 10000"/>
                <a:gd name="connsiteX798" fmla="*/ 1306 w 10000"/>
                <a:gd name="connsiteY798" fmla="*/ 8453 h 10000"/>
                <a:gd name="connsiteX799" fmla="*/ 1293 w 10000"/>
                <a:gd name="connsiteY799" fmla="*/ 8460 h 10000"/>
                <a:gd name="connsiteX800" fmla="*/ 1275 w 10000"/>
                <a:gd name="connsiteY800" fmla="*/ 8460 h 10000"/>
                <a:gd name="connsiteX801" fmla="*/ 1265 w 10000"/>
                <a:gd name="connsiteY801" fmla="*/ 8450 h 10000"/>
                <a:gd name="connsiteX802" fmla="*/ 1258 w 10000"/>
                <a:gd name="connsiteY802" fmla="*/ 8441 h 10000"/>
                <a:gd name="connsiteX803" fmla="*/ 1245 w 10000"/>
                <a:gd name="connsiteY803" fmla="*/ 8424 h 10000"/>
                <a:gd name="connsiteX804" fmla="*/ 1237 w 10000"/>
                <a:gd name="connsiteY804" fmla="*/ 8408 h 10000"/>
                <a:gd name="connsiteX805" fmla="*/ 1217 w 10000"/>
                <a:gd name="connsiteY805" fmla="*/ 8373 h 10000"/>
                <a:gd name="connsiteX806" fmla="*/ 1202 w 10000"/>
                <a:gd name="connsiteY806" fmla="*/ 8333 h 10000"/>
                <a:gd name="connsiteX807" fmla="*/ 1182 w 10000"/>
                <a:gd name="connsiteY807" fmla="*/ 8296 h 10000"/>
                <a:gd name="connsiteX808" fmla="*/ 1162 w 10000"/>
                <a:gd name="connsiteY808" fmla="*/ 8268 h 10000"/>
                <a:gd name="connsiteX809" fmla="*/ 1149 w 10000"/>
                <a:gd name="connsiteY809" fmla="*/ 8256 h 10000"/>
                <a:gd name="connsiteX810" fmla="*/ 1139 w 10000"/>
                <a:gd name="connsiteY810" fmla="*/ 8249 h 10000"/>
                <a:gd name="connsiteX811" fmla="*/ 1126 w 10000"/>
                <a:gd name="connsiteY811" fmla="*/ 8240 h 10000"/>
                <a:gd name="connsiteX812" fmla="*/ 1114 w 10000"/>
                <a:gd name="connsiteY812" fmla="*/ 8240 h 10000"/>
                <a:gd name="connsiteX813" fmla="*/ 1091 w 10000"/>
                <a:gd name="connsiteY813" fmla="*/ 8242 h 10000"/>
                <a:gd name="connsiteX814" fmla="*/ 1071 w 10000"/>
                <a:gd name="connsiteY814" fmla="*/ 8252 h 10000"/>
                <a:gd name="connsiteX815" fmla="*/ 1048 w 10000"/>
                <a:gd name="connsiteY815" fmla="*/ 8261 h 10000"/>
                <a:gd name="connsiteX816" fmla="*/ 1030 w 10000"/>
                <a:gd name="connsiteY816" fmla="*/ 8273 h 10000"/>
                <a:gd name="connsiteX817" fmla="*/ 1010 w 10000"/>
                <a:gd name="connsiteY817" fmla="*/ 8287 h 10000"/>
                <a:gd name="connsiteX818" fmla="*/ 995 w 10000"/>
                <a:gd name="connsiteY818" fmla="*/ 8303 h 10000"/>
                <a:gd name="connsiteX819" fmla="*/ 975 w 10000"/>
                <a:gd name="connsiteY819" fmla="*/ 8322 h 10000"/>
                <a:gd name="connsiteX820" fmla="*/ 960 w 10000"/>
                <a:gd name="connsiteY820" fmla="*/ 8343 h 10000"/>
                <a:gd name="connsiteX821" fmla="*/ 927 w 10000"/>
                <a:gd name="connsiteY821" fmla="*/ 8380 h 10000"/>
                <a:gd name="connsiteX822" fmla="*/ 891 w 10000"/>
                <a:gd name="connsiteY822" fmla="*/ 8417 h 10000"/>
                <a:gd name="connsiteX823" fmla="*/ 874 w 10000"/>
                <a:gd name="connsiteY823" fmla="*/ 8436 h 10000"/>
                <a:gd name="connsiteX824" fmla="*/ 859 w 10000"/>
                <a:gd name="connsiteY824" fmla="*/ 8450 h 10000"/>
                <a:gd name="connsiteX825" fmla="*/ 838 w 10000"/>
                <a:gd name="connsiteY825" fmla="*/ 8462 h 10000"/>
                <a:gd name="connsiteX826" fmla="*/ 821 w 10000"/>
                <a:gd name="connsiteY826" fmla="*/ 8476 h 10000"/>
                <a:gd name="connsiteX827" fmla="*/ 742 w 10000"/>
                <a:gd name="connsiteY827" fmla="*/ 8562 h 10000"/>
                <a:gd name="connsiteX828" fmla="*/ 672 w 10000"/>
                <a:gd name="connsiteY828" fmla="*/ 8644 h 10000"/>
                <a:gd name="connsiteX829" fmla="*/ 639 w 10000"/>
                <a:gd name="connsiteY829" fmla="*/ 8684 h 10000"/>
                <a:gd name="connsiteX830" fmla="*/ 609 w 10000"/>
                <a:gd name="connsiteY830" fmla="*/ 8731 h 10000"/>
                <a:gd name="connsiteX831" fmla="*/ 583 w 10000"/>
                <a:gd name="connsiteY831" fmla="*/ 8777 h 10000"/>
                <a:gd name="connsiteX832" fmla="*/ 556 w 10000"/>
                <a:gd name="connsiteY832" fmla="*/ 8831 h 10000"/>
                <a:gd name="connsiteX833" fmla="*/ 545 w 10000"/>
                <a:gd name="connsiteY833" fmla="*/ 8852 h 10000"/>
                <a:gd name="connsiteX834" fmla="*/ 525 w 10000"/>
                <a:gd name="connsiteY834" fmla="*/ 8885 h 10000"/>
                <a:gd name="connsiteX835" fmla="*/ 503 w 10000"/>
                <a:gd name="connsiteY835" fmla="*/ 8925 h 10000"/>
                <a:gd name="connsiteX836" fmla="*/ 480 w 10000"/>
                <a:gd name="connsiteY836" fmla="*/ 8962 h 10000"/>
                <a:gd name="connsiteX837" fmla="*/ 465 w 10000"/>
                <a:gd name="connsiteY837" fmla="*/ 8981 h 10000"/>
                <a:gd name="connsiteX838" fmla="*/ 455 w 10000"/>
                <a:gd name="connsiteY838" fmla="*/ 8993 h 10000"/>
                <a:gd name="connsiteX839" fmla="*/ 444 w 10000"/>
                <a:gd name="connsiteY839" fmla="*/ 9000 h 10000"/>
                <a:gd name="connsiteX840" fmla="*/ 434 w 10000"/>
                <a:gd name="connsiteY840" fmla="*/ 9007 h 10000"/>
                <a:gd name="connsiteX841" fmla="*/ 432 w 10000"/>
                <a:gd name="connsiteY841" fmla="*/ 9007 h 10000"/>
                <a:gd name="connsiteX842" fmla="*/ 429 w 10000"/>
                <a:gd name="connsiteY842" fmla="*/ 9004 h 10000"/>
                <a:gd name="connsiteX843" fmla="*/ 427 w 10000"/>
                <a:gd name="connsiteY843" fmla="*/ 8997 h 10000"/>
                <a:gd name="connsiteX844" fmla="*/ 427 w 10000"/>
                <a:gd name="connsiteY844" fmla="*/ 8993 h 10000"/>
                <a:gd name="connsiteX845" fmla="*/ 424 w 10000"/>
                <a:gd name="connsiteY845" fmla="*/ 8976 h 10000"/>
                <a:gd name="connsiteX846" fmla="*/ 427 w 10000"/>
                <a:gd name="connsiteY846" fmla="*/ 8948 h 10000"/>
                <a:gd name="connsiteX847" fmla="*/ 437 w 10000"/>
                <a:gd name="connsiteY847" fmla="*/ 8913 h 10000"/>
                <a:gd name="connsiteX848" fmla="*/ 455 w 10000"/>
                <a:gd name="connsiteY848" fmla="*/ 8859 h 10000"/>
                <a:gd name="connsiteX849" fmla="*/ 462 w 10000"/>
                <a:gd name="connsiteY849" fmla="*/ 8834 h 10000"/>
                <a:gd name="connsiteX850" fmla="*/ 470 w 10000"/>
                <a:gd name="connsiteY850" fmla="*/ 8810 h 10000"/>
                <a:gd name="connsiteX851" fmla="*/ 472 w 10000"/>
                <a:gd name="connsiteY851" fmla="*/ 8794 h 10000"/>
                <a:gd name="connsiteX852" fmla="*/ 472 w 10000"/>
                <a:gd name="connsiteY852" fmla="*/ 8780 h 10000"/>
                <a:gd name="connsiteX853" fmla="*/ 462 w 10000"/>
                <a:gd name="connsiteY853" fmla="*/ 8784 h 10000"/>
                <a:gd name="connsiteX854" fmla="*/ 452 w 10000"/>
                <a:gd name="connsiteY854" fmla="*/ 8787 h 10000"/>
                <a:gd name="connsiteX855" fmla="*/ 437 w 10000"/>
                <a:gd name="connsiteY855" fmla="*/ 8794 h 10000"/>
                <a:gd name="connsiteX856" fmla="*/ 424 w 10000"/>
                <a:gd name="connsiteY856" fmla="*/ 8803 h 10000"/>
                <a:gd name="connsiteX857" fmla="*/ 394 w 10000"/>
                <a:gd name="connsiteY857" fmla="*/ 8829 h 10000"/>
                <a:gd name="connsiteX858" fmla="*/ 364 w 10000"/>
                <a:gd name="connsiteY858" fmla="*/ 8859 h 10000"/>
                <a:gd name="connsiteX859" fmla="*/ 311 w 10000"/>
                <a:gd name="connsiteY859" fmla="*/ 8922 h 10000"/>
                <a:gd name="connsiteX860" fmla="*/ 268 w 10000"/>
                <a:gd name="connsiteY860" fmla="*/ 8964 h 10000"/>
                <a:gd name="connsiteX861" fmla="*/ 205 w 10000"/>
                <a:gd name="connsiteY861" fmla="*/ 9016 h 10000"/>
                <a:gd name="connsiteX862" fmla="*/ 146 w 10000"/>
                <a:gd name="connsiteY862" fmla="*/ 9053 h 10000"/>
                <a:gd name="connsiteX863" fmla="*/ 139 w 10000"/>
                <a:gd name="connsiteY863" fmla="*/ 9063 h 10000"/>
                <a:gd name="connsiteX864" fmla="*/ 129 w 10000"/>
                <a:gd name="connsiteY864" fmla="*/ 9077 h 10000"/>
                <a:gd name="connsiteX865" fmla="*/ 126 w 10000"/>
                <a:gd name="connsiteY865" fmla="*/ 9086 h 10000"/>
                <a:gd name="connsiteX866" fmla="*/ 126 w 10000"/>
                <a:gd name="connsiteY866" fmla="*/ 9102 h 10000"/>
                <a:gd name="connsiteX867" fmla="*/ 129 w 10000"/>
                <a:gd name="connsiteY867" fmla="*/ 9116 h 10000"/>
                <a:gd name="connsiteX868" fmla="*/ 139 w 10000"/>
                <a:gd name="connsiteY868" fmla="*/ 9135 h 10000"/>
                <a:gd name="connsiteX869" fmla="*/ 149 w 10000"/>
                <a:gd name="connsiteY869" fmla="*/ 9151 h 10000"/>
                <a:gd name="connsiteX870" fmla="*/ 164 w 10000"/>
                <a:gd name="connsiteY870" fmla="*/ 9175 h 10000"/>
                <a:gd name="connsiteX871" fmla="*/ 184 w 10000"/>
                <a:gd name="connsiteY871" fmla="*/ 9196 h 10000"/>
                <a:gd name="connsiteX872" fmla="*/ 207 w 10000"/>
                <a:gd name="connsiteY872" fmla="*/ 9215 h 10000"/>
                <a:gd name="connsiteX873" fmla="*/ 227 w 10000"/>
                <a:gd name="connsiteY873" fmla="*/ 9233 h 10000"/>
                <a:gd name="connsiteX874" fmla="*/ 253 w 10000"/>
                <a:gd name="connsiteY874" fmla="*/ 9250 h 10000"/>
                <a:gd name="connsiteX875" fmla="*/ 303 w 10000"/>
                <a:gd name="connsiteY875" fmla="*/ 9282 h 10000"/>
                <a:gd name="connsiteX876" fmla="*/ 351 w 10000"/>
                <a:gd name="connsiteY876" fmla="*/ 9315 h 10000"/>
                <a:gd name="connsiteX877" fmla="*/ 414 w 10000"/>
                <a:gd name="connsiteY877" fmla="*/ 9364 h 10000"/>
                <a:gd name="connsiteX878" fmla="*/ 480 w 10000"/>
                <a:gd name="connsiteY878" fmla="*/ 9416 h 10000"/>
                <a:gd name="connsiteX879" fmla="*/ 513 w 10000"/>
                <a:gd name="connsiteY879" fmla="*/ 9437 h 10000"/>
                <a:gd name="connsiteX880" fmla="*/ 548 w 10000"/>
                <a:gd name="connsiteY880" fmla="*/ 9462 h 10000"/>
                <a:gd name="connsiteX881" fmla="*/ 581 w 10000"/>
                <a:gd name="connsiteY881" fmla="*/ 9483 h 10000"/>
                <a:gd name="connsiteX882" fmla="*/ 614 w 10000"/>
                <a:gd name="connsiteY882" fmla="*/ 9502 h 10000"/>
                <a:gd name="connsiteX883" fmla="*/ 641 w 10000"/>
                <a:gd name="connsiteY883" fmla="*/ 9525 h 10000"/>
                <a:gd name="connsiteX884" fmla="*/ 672 w 10000"/>
                <a:gd name="connsiteY884" fmla="*/ 9549 h 10000"/>
                <a:gd name="connsiteX885" fmla="*/ 702 w 10000"/>
                <a:gd name="connsiteY885" fmla="*/ 9568 h 10000"/>
                <a:gd name="connsiteX886" fmla="*/ 737 w 10000"/>
                <a:gd name="connsiteY886" fmla="*/ 9589 h 10000"/>
                <a:gd name="connsiteX887" fmla="*/ 770 w 10000"/>
                <a:gd name="connsiteY887" fmla="*/ 9605 h 10000"/>
                <a:gd name="connsiteX888" fmla="*/ 808 w 10000"/>
                <a:gd name="connsiteY888" fmla="*/ 9617 h 10000"/>
                <a:gd name="connsiteX889" fmla="*/ 843 w 10000"/>
                <a:gd name="connsiteY889" fmla="*/ 9624 h 10000"/>
                <a:gd name="connsiteX890" fmla="*/ 884 w 10000"/>
                <a:gd name="connsiteY890" fmla="*/ 9628 h 10000"/>
                <a:gd name="connsiteX891" fmla="*/ 902 w 10000"/>
                <a:gd name="connsiteY891" fmla="*/ 9628 h 10000"/>
                <a:gd name="connsiteX892" fmla="*/ 914 w 10000"/>
                <a:gd name="connsiteY892" fmla="*/ 9631 h 10000"/>
                <a:gd name="connsiteX893" fmla="*/ 932 w 10000"/>
                <a:gd name="connsiteY893" fmla="*/ 9638 h 10000"/>
                <a:gd name="connsiteX894" fmla="*/ 942 w 10000"/>
                <a:gd name="connsiteY894" fmla="*/ 9642 h 10000"/>
                <a:gd name="connsiteX895" fmla="*/ 967 w 10000"/>
                <a:gd name="connsiteY895" fmla="*/ 9652 h 10000"/>
                <a:gd name="connsiteX896" fmla="*/ 987 w 10000"/>
                <a:gd name="connsiteY896" fmla="*/ 9668 h 10000"/>
                <a:gd name="connsiteX897" fmla="*/ 1005 w 10000"/>
                <a:gd name="connsiteY897" fmla="*/ 9682 h 10000"/>
                <a:gd name="connsiteX898" fmla="*/ 1025 w 10000"/>
                <a:gd name="connsiteY898" fmla="*/ 9698 h 10000"/>
                <a:gd name="connsiteX899" fmla="*/ 1045 w 10000"/>
                <a:gd name="connsiteY899" fmla="*/ 9712 h 10000"/>
                <a:gd name="connsiteX900" fmla="*/ 1073 w 10000"/>
                <a:gd name="connsiteY900" fmla="*/ 9724 h 10000"/>
                <a:gd name="connsiteX901" fmla="*/ 1098 w 10000"/>
                <a:gd name="connsiteY901" fmla="*/ 9738 h 10000"/>
                <a:gd name="connsiteX902" fmla="*/ 1121 w 10000"/>
                <a:gd name="connsiteY902" fmla="*/ 9750 h 10000"/>
                <a:gd name="connsiteX903" fmla="*/ 1141 w 10000"/>
                <a:gd name="connsiteY903" fmla="*/ 9762 h 10000"/>
                <a:gd name="connsiteX904" fmla="*/ 1159 w 10000"/>
                <a:gd name="connsiteY904" fmla="*/ 9776 h 10000"/>
                <a:gd name="connsiteX905" fmla="*/ 1172 w 10000"/>
                <a:gd name="connsiteY905" fmla="*/ 9787 h 10000"/>
                <a:gd name="connsiteX906" fmla="*/ 1182 w 10000"/>
                <a:gd name="connsiteY906" fmla="*/ 9804 h 10000"/>
                <a:gd name="connsiteX907" fmla="*/ 1194 w 10000"/>
                <a:gd name="connsiteY907" fmla="*/ 9818 h 10000"/>
                <a:gd name="connsiteX908" fmla="*/ 1202 w 10000"/>
                <a:gd name="connsiteY908" fmla="*/ 9834 h 10000"/>
                <a:gd name="connsiteX909" fmla="*/ 1212 w 10000"/>
                <a:gd name="connsiteY909" fmla="*/ 9869 h 10000"/>
                <a:gd name="connsiteX910" fmla="*/ 1220 w 10000"/>
                <a:gd name="connsiteY910" fmla="*/ 9906 h 10000"/>
                <a:gd name="connsiteX911" fmla="*/ 1230 w 10000"/>
                <a:gd name="connsiteY911" fmla="*/ 9951 h 10000"/>
                <a:gd name="connsiteX912" fmla="*/ 1237 w 10000"/>
                <a:gd name="connsiteY912" fmla="*/ 10000 h 10000"/>
                <a:gd name="connsiteX913" fmla="*/ 1237 w 10000"/>
                <a:gd name="connsiteY91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9 w 10000"/>
                <a:gd name="connsiteY736" fmla="*/ 7623 h 10000"/>
                <a:gd name="connsiteX737" fmla="*/ 2684 w 10000"/>
                <a:gd name="connsiteY737" fmla="*/ 7637 h 10000"/>
                <a:gd name="connsiteX738" fmla="*/ 2674 w 10000"/>
                <a:gd name="connsiteY738" fmla="*/ 7648 h 10000"/>
                <a:gd name="connsiteX739" fmla="*/ 2664 w 10000"/>
                <a:gd name="connsiteY739" fmla="*/ 7658 h 10000"/>
                <a:gd name="connsiteX740" fmla="*/ 2654 w 10000"/>
                <a:gd name="connsiteY740" fmla="*/ 7667 h 10000"/>
                <a:gd name="connsiteX741" fmla="*/ 2518 w 10000"/>
                <a:gd name="connsiteY741" fmla="*/ 7693 h 10000"/>
                <a:gd name="connsiteX742" fmla="*/ 2167 w 10000"/>
                <a:gd name="connsiteY742" fmla="*/ 7742 h 10000"/>
                <a:gd name="connsiteX743" fmla="*/ 2159 w 10000"/>
                <a:gd name="connsiteY743" fmla="*/ 7833 h 10000"/>
                <a:gd name="connsiteX744" fmla="*/ 2157 w 10000"/>
                <a:gd name="connsiteY744" fmla="*/ 7882 h 10000"/>
                <a:gd name="connsiteX745" fmla="*/ 2157 w 10000"/>
                <a:gd name="connsiteY745" fmla="*/ 7938 h 10000"/>
                <a:gd name="connsiteX746" fmla="*/ 2159 w 10000"/>
                <a:gd name="connsiteY746" fmla="*/ 8006 h 10000"/>
                <a:gd name="connsiteX747" fmla="*/ 2162 w 10000"/>
                <a:gd name="connsiteY747" fmla="*/ 8079 h 10000"/>
                <a:gd name="connsiteX748" fmla="*/ 2159 w 10000"/>
                <a:gd name="connsiteY748" fmla="*/ 8156 h 10000"/>
                <a:gd name="connsiteX749" fmla="*/ 2157 w 10000"/>
                <a:gd name="connsiteY749" fmla="*/ 8193 h 10000"/>
                <a:gd name="connsiteX750" fmla="*/ 2154 w 10000"/>
                <a:gd name="connsiteY750" fmla="*/ 8228 h 10000"/>
                <a:gd name="connsiteX751" fmla="*/ 2146 w 10000"/>
                <a:gd name="connsiteY751" fmla="*/ 8261 h 10000"/>
                <a:gd name="connsiteX752" fmla="*/ 2136 w 10000"/>
                <a:gd name="connsiteY752" fmla="*/ 8291 h 10000"/>
                <a:gd name="connsiteX753" fmla="*/ 2124 w 10000"/>
                <a:gd name="connsiteY753" fmla="*/ 8319 h 10000"/>
                <a:gd name="connsiteX754" fmla="*/ 2109 w 10000"/>
                <a:gd name="connsiteY754" fmla="*/ 8345 h 10000"/>
                <a:gd name="connsiteX755" fmla="*/ 2098 w 10000"/>
                <a:gd name="connsiteY755" fmla="*/ 8354 h 10000"/>
                <a:gd name="connsiteX756" fmla="*/ 2088 w 10000"/>
                <a:gd name="connsiteY756" fmla="*/ 8364 h 10000"/>
                <a:gd name="connsiteX757" fmla="*/ 2078 w 10000"/>
                <a:gd name="connsiteY757" fmla="*/ 8373 h 10000"/>
                <a:gd name="connsiteX758" fmla="*/ 2063 w 10000"/>
                <a:gd name="connsiteY758" fmla="*/ 8380 h 10000"/>
                <a:gd name="connsiteX759" fmla="*/ 1990 w 10000"/>
                <a:gd name="connsiteY759" fmla="*/ 8422 h 10000"/>
                <a:gd name="connsiteX760" fmla="*/ 1904 w 10000"/>
                <a:gd name="connsiteY760" fmla="*/ 8481 h 10000"/>
                <a:gd name="connsiteX761" fmla="*/ 1856 w 10000"/>
                <a:gd name="connsiteY761" fmla="*/ 8506 h 10000"/>
                <a:gd name="connsiteX762" fmla="*/ 1816 w 10000"/>
                <a:gd name="connsiteY762" fmla="*/ 8527 h 10000"/>
                <a:gd name="connsiteX763" fmla="*/ 1793 w 10000"/>
                <a:gd name="connsiteY763" fmla="*/ 8539 h 10000"/>
                <a:gd name="connsiteX764" fmla="*/ 1775 w 10000"/>
                <a:gd name="connsiteY764" fmla="*/ 8546 h 10000"/>
                <a:gd name="connsiteX765" fmla="*/ 1758 w 10000"/>
                <a:gd name="connsiteY765" fmla="*/ 8548 h 10000"/>
                <a:gd name="connsiteX766" fmla="*/ 1742 w 10000"/>
                <a:gd name="connsiteY766" fmla="*/ 8551 h 10000"/>
                <a:gd name="connsiteX767" fmla="*/ 1727 w 10000"/>
                <a:gd name="connsiteY767" fmla="*/ 8537 h 10000"/>
                <a:gd name="connsiteX768" fmla="*/ 1717 w 10000"/>
                <a:gd name="connsiteY768" fmla="*/ 8518 h 10000"/>
                <a:gd name="connsiteX769" fmla="*/ 1710 w 10000"/>
                <a:gd name="connsiteY769" fmla="*/ 8499 h 10000"/>
                <a:gd name="connsiteX770" fmla="*/ 1702 w 10000"/>
                <a:gd name="connsiteY770" fmla="*/ 8476 h 10000"/>
                <a:gd name="connsiteX771" fmla="*/ 1684 w 10000"/>
                <a:gd name="connsiteY771" fmla="*/ 8429 h 10000"/>
                <a:gd name="connsiteX772" fmla="*/ 1674 w 10000"/>
                <a:gd name="connsiteY772" fmla="*/ 8380 h 10000"/>
                <a:gd name="connsiteX773" fmla="*/ 1667 w 10000"/>
                <a:gd name="connsiteY773" fmla="*/ 8329 h 10000"/>
                <a:gd name="connsiteX774" fmla="*/ 1659 w 10000"/>
                <a:gd name="connsiteY774" fmla="*/ 8282 h 10000"/>
                <a:gd name="connsiteX775" fmla="*/ 1657 w 10000"/>
                <a:gd name="connsiteY775" fmla="*/ 8235 h 10000"/>
                <a:gd name="connsiteX776" fmla="*/ 1657 w 10000"/>
                <a:gd name="connsiteY776" fmla="*/ 8195 h 10000"/>
                <a:gd name="connsiteX777" fmla="*/ 1652 w 10000"/>
                <a:gd name="connsiteY777" fmla="*/ 8191 h 10000"/>
                <a:gd name="connsiteX778" fmla="*/ 1586 w 10000"/>
                <a:gd name="connsiteY778" fmla="*/ 8188 h 10000"/>
                <a:gd name="connsiteX779" fmla="*/ 1525 w 10000"/>
                <a:gd name="connsiteY779" fmla="*/ 8186 h 10000"/>
                <a:gd name="connsiteX780" fmla="*/ 1500 w 10000"/>
                <a:gd name="connsiteY780" fmla="*/ 8191 h 10000"/>
                <a:gd name="connsiteX781" fmla="*/ 1472 w 10000"/>
                <a:gd name="connsiteY781" fmla="*/ 8198 h 10000"/>
                <a:gd name="connsiteX782" fmla="*/ 1457 w 10000"/>
                <a:gd name="connsiteY782" fmla="*/ 8205 h 10000"/>
                <a:gd name="connsiteX783" fmla="*/ 1444 w 10000"/>
                <a:gd name="connsiteY783" fmla="*/ 8212 h 10000"/>
                <a:gd name="connsiteX784" fmla="*/ 1434 w 10000"/>
                <a:gd name="connsiteY784" fmla="*/ 8223 h 10000"/>
                <a:gd name="connsiteX785" fmla="*/ 1419 w 10000"/>
                <a:gd name="connsiteY785" fmla="*/ 8233 h 10000"/>
                <a:gd name="connsiteX786" fmla="*/ 1412 w 10000"/>
                <a:gd name="connsiteY786" fmla="*/ 8247 h 10000"/>
                <a:gd name="connsiteX787" fmla="*/ 1402 w 10000"/>
                <a:gd name="connsiteY787" fmla="*/ 8261 h 10000"/>
                <a:gd name="connsiteX788" fmla="*/ 1394 w 10000"/>
                <a:gd name="connsiteY788" fmla="*/ 8275 h 10000"/>
                <a:gd name="connsiteX789" fmla="*/ 1386 w 10000"/>
                <a:gd name="connsiteY789" fmla="*/ 8294 h 10000"/>
                <a:gd name="connsiteX790" fmla="*/ 1374 w 10000"/>
                <a:gd name="connsiteY790" fmla="*/ 8331 h 10000"/>
                <a:gd name="connsiteX791" fmla="*/ 1361 w 10000"/>
                <a:gd name="connsiteY791" fmla="*/ 8368 h 10000"/>
                <a:gd name="connsiteX792" fmla="*/ 1354 w 10000"/>
                <a:gd name="connsiteY792" fmla="*/ 8387 h 10000"/>
                <a:gd name="connsiteX793" fmla="*/ 1346 w 10000"/>
                <a:gd name="connsiteY793" fmla="*/ 8406 h 10000"/>
                <a:gd name="connsiteX794" fmla="*/ 1338 w 10000"/>
                <a:gd name="connsiteY794" fmla="*/ 8420 h 10000"/>
                <a:gd name="connsiteX795" fmla="*/ 1328 w 10000"/>
                <a:gd name="connsiteY795" fmla="*/ 8436 h 10000"/>
                <a:gd name="connsiteX796" fmla="*/ 1316 w 10000"/>
                <a:gd name="connsiteY796" fmla="*/ 8446 h 10000"/>
                <a:gd name="connsiteX797" fmla="*/ 1306 w 10000"/>
                <a:gd name="connsiteY797" fmla="*/ 8453 h 10000"/>
                <a:gd name="connsiteX798" fmla="*/ 1293 w 10000"/>
                <a:gd name="connsiteY798" fmla="*/ 8460 h 10000"/>
                <a:gd name="connsiteX799" fmla="*/ 1275 w 10000"/>
                <a:gd name="connsiteY799" fmla="*/ 8460 h 10000"/>
                <a:gd name="connsiteX800" fmla="*/ 1265 w 10000"/>
                <a:gd name="connsiteY800" fmla="*/ 8450 h 10000"/>
                <a:gd name="connsiteX801" fmla="*/ 1258 w 10000"/>
                <a:gd name="connsiteY801" fmla="*/ 8441 h 10000"/>
                <a:gd name="connsiteX802" fmla="*/ 1245 w 10000"/>
                <a:gd name="connsiteY802" fmla="*/ 8424 h 10000"/>
                <a:gd name="connsiteX803" fmla="*/ 1237 w 10000"/>
                <a:gd name="connsiteY803" fmla="*/ 8408 h 10000"/>
                <a:gd name="connsiteX804" fmla="*/ 1217 w 10000"/>
                <a:gd name="connsiteY804" fmla="*/ 8373 h 10000"/>
                <a:gd name="connsiteX805" fmla="*/ 1202 w 10000"/>
                <a:gd name="connsiteY805" fmla="*/ 8333 h 10000"/>
                <a:gd name="connsiteX806" fmla="*/ 1182 w 10000"/>
                <a:gd name="connsiteY806" fmla="*/ 8296 h 10000"/>
                <a:gd name="connsiteX807" fmla="*/ 1162 w 10000"/>
                <a:gd name="connsiteY807" fmla="*/ 8268 h 10000"/>
                <a:gd name="connsiteX808" fmla="*/ 1149 w 10000"/>
                <a:gd name="connsiteY808" fmla="*/ 8256 h 10000"/>
                <a:gd name="connsiteX809" fmla="*/ 1139 w 10000"/>
                <a:gd name="connsiteY809" fmla="*/ 8249 h 10000"/>
                <a:gd name="connsiteX810" fmla="*/ 1126 w 10000"/>
                <a:gd name="connsiteY810" fmla="*/ 8240 h 10000"/>
                <a:gd name="connsiteX811" fmla="*/ 1114 w 10000"/>
                <a:gd name="connsiteY811" fmla="*/ 8240 h 10000"/>
                <a:gd name="connsiteX812" fmla="*/ 1091 w 10000"/>
                <a:gd name="connsiteY812" fmla="*/ 8242 h 10000"/>
                <a:gd name="connsiteX813" fmla="*/ 1071 w 10000"/>
                <a:gd name="connsiteY813" fmla="*/ 8252 h 10000"/>
                <a:gd name="connsiteX814" fmla="*/ 1048 w 10000"/>
                <a:gd name="connsiteY814" fmla="*/ 8261 h 10000"/>
                <a:gd name="connsiteX815" fmla="*/ 1030 w 10000"/>
                <a:gd name="connsiteY815" fmla="*/ 8273 h 10000"/>
                <a:gd name="connsiteX816" fmla="*/ 1010 w 10000"/>
                <a:gd name="connsiteY816" fmla="*/ 8287 h 10000"/>
                <a:gd name="connsiteX817" fmla="*/ 995 w 10000"/>
                <a:gd name="connsiteY817" fmla="*/ 8303 h 10000"/>
                <a:gd name="connsiteX818" fmla="*/ 975 w 10000"/>
                <a:gd name="connsiteY818" fmla="*/ 8322 h 10000"/>
                <a:gd name="connsiteX819" fmla="*/ 960 w 10000"/>
                <a:gd name="connsiteY819" fmla="*/ 8343 h 10000"/>
                <a:gd name="connsiteX820" fmla="*/ 927 w 10000"/>
                <a:gd name="connsiteY820" fmla="*/ 8380 h 10000"/>
                <a:gd name="connsiteX821" fmla="*/ 891 w 10000"/>
                <a:gd name="connsiteY821" fmla="*/ 8417 h 10000"/>
                <a:gd name="connsiteX822" fmla="*/ 874 w 10000"/>
                <a:gd name="connsiteY822" fmla="*/ 8436 h 10000"/>
                <a:gd name="connsiteX823" fmla="*/ 859 w 10000"/>
                <a:gd name="connsiteY823" fmla="*/ 8450 h 10000"/>
                <a:gd name="connsiteX824" fmla="*/ 838 w 10000"/>
                <a:gd name="connsiteY824" fmla="*/ 8462 h 10000"/>
                <a:gd name="connsiteX825" fmla="*/ 821 w 10000"/>
                <a:gd name="connsiteY825" fmla="*/ 8476 h 10000"/>
                <a:gd name="connsiteX826" fmla="*/ 742 w 10000"/>
                <a:gd name="connsiteY826" fmla="*/ 8562 h 10000"/>
                <a:gd name="connsiteX827" fmla="*/ 672 w 10000"/>
                <a:gd name="connsiteY827" fmla="*/ 8644 h 10000"/>
                <a:gd name="connsiteX828" fmla="*/ 639 w 10000"/>
                <a:gd name="connsiteY828" fmla="*/ 8684 h 10000"/>
                <a:gd name="connsiteX829" fmla="*/ 609 w 10000"/>
                <a:gd name="connsiteY829" fmla="*/ 8731 h 10000"/>
                <a:gd name="connsiteX830" fmla="*/ 583 w 10000"/>
                <a:gd name="connsiteY830" fmla="*/ 8777 h 10000"/>
                <a:gd name="connsiteX831" fmla="*/ 556 w 10000"/>
                <a:gd name="connsiteY831" fmla="*/ 8831 h 10000"/>
                <a:gd name="connsiteX832" fmla="*/ 545 w 10000"/>
                <a:gd name="connsiteY832" fmla="*/ 8852 h 10000"/>
                <a:gd name="connsiteX833" fmla="*/ 525 w 10000"/>
                <a:gd name="connsiteY833" fmla="*/ 8885 h 10000"/>
                <a:gd name="connsiteX834" fmla="*/ 503 w 10000"/>
                <a:gd name="connsiteY834" fmla="*/ 8925 h 10000"/>
                <a:gd name="connsiteX835" fmla="*/ 480 w 10000"/>
                <a:gd name="connsiteY835" fmla="*/ 8962 h 10000"/>
                <a:gd name="connsiteX836" fmla="*/ 465 w 10000"/>
                <a:gd name="connsiteY836" fmla="*/ 8981 h 10000"/>
                <a:gd name="connsiteX837" fmla="*/ 455 w 10000"/>
                <a:gd name="connsiteY837" fmla="*/ 8993 h 10000"/>
                <a:gd name="connsiteX838" fmla="*/ 444 w 10000"/>
                <a:gd name="connsiteY838" fmla="*/ 9000 h 10000"/>
                <a:gd name="connsiteX839" fmla="*/ 434 w 10000"/>
                <a:gd name="connsiteY839" fmla="*/ 9007 h 10000"/>
                <a:gd name="connsiteX840" fmla="*/ 432 w 10000"/>
                <a:gd name="connsiteY840" fmla="*/ 9007 h 10000"/>
                <a:gd name="connsiteX841" fmla="*/ 429 w 10000"/>
                <a:gd name="connsiteY841" fmla="*/ 9004 h 10000"/>
                <a:gd name="connsiteX842" fmla="*/ 427 w 10000"/>
                <a:gd name="connsiteY842" fmla="*/ 8997 h 10000"/>
                <a:gd name="connsiteX843" fmla="*/ 427 w 10000"/>
                <a:gd name="connsiteY843" fmla="*/ 8993 h 10000"/>
                <a:gd name="connsiteX844" fmla="*/ 424 w 10000"/>
                <a:gd name="connsiteY844" fmla="*/ 8976 h 10000"/>
                <a:gd name="connsiteX845" fmla="*/ 427 w 10000"/>
                <a:gd name="connsiteY845" fmla="*/ 8948 h 10000"/>
                <a:gd name="connsiteX846" fmla="*/ 437 w 10000"/>
                <a:gd name="connsiteY846" fmla="*/ 8913 h 10000"/>
                <a:gd name="connsiteX847" fmla="*/ 455 w 10000"/>
                <a:gd name="connsiteY847" fmla="*/ 8859 h 10000"/>
                <a:gd name="connsiteX848" fmla="*/ 462 w 10000"/>
                <a:gd name="connsiteY848" fmla="*/ 8834 h 10000"/>
                <a:gd name="connsiteX849" fmla="*/ 470 w 10000"/>
                <a:gd name="connsiteY849" fmla="*/ 8810 h 10000"/>
                <a:gd name="connsiteX850" fmla="*/ 472 w 10000"/>
                <a:gd name="connsiteY850" fmla="*/ 8794 h 10000"/>
                <a:gd name="connsiteX851" fmla="*/ 472 w 10000"/>
                <a:gd name="connsiteY851" fmla="*/ 8780 h 10000"/>
                <a:gd name="connsiteX852" fmla="*/ 462 w 10000"/>
                <a:gd name="connsiteY852" fmla="*/ 8784 h 10000"/>
                <a:gd name="connsiteX853" fmla="*/ 452 w 10000"/>
                <a:gd name="connsiteY853" fmla="*/ 8787 h 10000"/>
                <a:gd name="connsiteX854" fmla="*/ 437 w 10000"/>
                <a:gd name="connsiteY854" fmla="*/ 8794 h 10000"/>
                <a:gd name="connsiteX855" fmla="*/ 424 w 10000"/>
                <a:gd name="connsiteY855" fmla="*/ 8803 h 10000"/>
                <a:gd name="connsiteX856" fmla="*/ 394 w 10000"/>
                <a:gd name="connsiteY856" fmla="*/ 8829 h 10000"/>
                <a:gd name="connsiteX857" fmla="*/ 364 w 10000"/>
                <a:gd name="connsiteY857" fmla="*/ 8859 h 10000"/>
                <a:gd name="connsiteX858" fmla="*/ 311 w 10000"/>
                <a:gd name="connsiteY858" fmla="*/ 8922 h 10000"/>
                <a:gd name="connsiteX859" fmla="*/ 268 w 10000"/>
                <a:gd name="connsiteY859" fmla="*/ 8964 h 10000"/>
                <a:gd name="connsiteX860" fmla="*/ 205 w 10000"/>
                <a:gd name="connsiteY860" fmla="*/ 9016 h 10000"/>
                <a:gd name="connsiteX861" fmla="*/ 146 w 10000"/>
                <a:gd name="connsiteY861" fmla="*/ 9053 h 10000"/>
                <a:gd name="connsiteX862" fmla="*/ 139 w 10000"/>
                <a:gd name="connsiteY862" fmla="*/ 9063 h 10000"/>
                <a:gd name="connsiteX863" fmla="*/ 129 w 10000"/>
                <a:gd name="connsiteY863" fmla="*/ 9077 h 10000"/>
                <a:gd name="connsiteX864" fmla="*/ 126 w 10000"/>
                <a:gd name="connsiteY864" fmla="*/ 9086 h 10000"/>
                <a:gd name="connsiteX865" fmla="*/ 126 w 10000"/>
                <a:gd name="connsiteY865" fmla="*/ 9102 h 10000"/>
                <a:gd name="connsiteX866" fmla="*/ 129 w 10000"/>
                <a:gd name="connsiteY866" fmla="*/ 9116 h 10000"/>
                <a:gd name="connsiteX867" fmla="*/ 139 w 10000"/>
                <a:gd name="connsiteY867" fmla="*/ 9135 h 10000"/>
                <a:gd name="connsiteX868" fmla="*/ 149 w 10000"/>
                <a:gd name="connsiteY868" fmla="*/ 9151 h 10000"/>
                <a:gd name="connsiteX869" fmla="*/ 164 w 10000"/>
                <a:gd name="connsiteY869" fmla="*/ 9175 h 10000"/>
                <a:gd name="connsiteX870" fmla="*/ 184 w 10000"/>
                <a:gd name="connsiteY870" fmla="*/ 9196 h 10000"/>
                <a:gd name="connsiteX871" fmla="*/ 207 w 10000"/>
                <a:gd name="connsiteY871" fmla="*/ 9215 h 10000"/>
                <a:gd name="connsiteX872" fmla="*/ 227 w 10000"/>
                <a:gd name="connsiteY872" fmla="*/ 9233 h 10000"/>
                <a:gd name="connsiteX873" fmla="*/ 253 w 10000"/>
                <a:gd name="connsiteY873" fmla="*/ 9250 h 10000"/>
                <a:gd name="connsiteX874" fmla="*/ 303 w 10000"/>
                <a:gd name="connsiteY874" fmla="*/ 9282 h 10000"/>
                <a:gd name="connsiteX875" fmla="*/ 351 w 10000"/>
                <a:gd name="connsiteY875" fmla="*/ 9315 h 10000"/>
                <a:gd name="connsiteX876" fmla="*/ 414 w 10000"/>
                <a:gd name="connsiteY876" fmla="*/ 9364 h 10000"/>
                <a:gd name="connsiteX877" fmla="*/ 480 w 10000"/>
                <a:gd name="connsiteY877" fmla="*/ 9416 h 10000"/>
                <a:gd name="connsiteX878" fmla="*/ 513 w 10000"/>
                <a:gd name="connsiteY878" fmla="*/ 9437 h 10000"/>
                <a:gd name="connsiteX879" fmla="*/ 548 w 10000"/>
                <a:gd name="connsiteY879" fmla="*/ 9462 h 10000"/>
                <a:gd name="connsiteX880" fmla="*/ 581 w 10000"/>
                <a:gd name="connsiteY880" fmla="*/ 9483 h 10000"/>
                <a:gd name="connsiteX881" fmla="*/ 614 w 10000"/>
                <a:gd name="connsiteY881" fmla="*/ 9502 h 10000"/>
                <a:gd name="connsiteX882" fmla="*/ 641 w 10000"/>
                <a:gd name="connsiteY882" fmla="*/ 9525 h 10000"/>
                <a:gd name="connsiteX883" fmla="*/ 672 w 10000"/>
                <a:gd name="connsiteY883" fmla="*/ 9549 h 10000"/>
                <a:gd name="connsiteX884" fmla="*/ 702 w 10000"/>
                <a:gd name="connsiteY884" fmla="*/ 9568 h 10000"/>
                <a:gd name="connsiteX885" fmla="*/ 737 w 10000"/>
                <a:gd name="connsiteY885" fmla="*/ 9589 h 10000"/>
                <a:gd name="connsiteX886" fmla="*/ 770 w 10000"/>
                <a:gd name="connsiteY886" fmla="*/ 9605 h 10000"/>
                <a:gd name="connsiteX887" fmla="*/ 808 w 10000"/>
                <a:gd name="connsiteY887" fmla="*/ 9617 h 10000"/>
                <a:gd name="connsiteX888" fmla="*/ 843 w 10000"/>
                <a:gd name="connsiteY888" fmla="*/ 9624 h 10000"/>
                <a:gd name="connsiteX889" fmla="*/ 884 w 10000"/>
                <a:gd name="connsiteY889" fmla="*/ 9628 h 10000"/>
                <a:gd name="connsiteX890" fmla="*/ 902 w 10000"/>
                <a:gd name="connsiteY890" fmla="*/ 9628 h 10000"/>
                <a:gd name="connsiteX891" fmla="*/ 914 w 10000"/>
                <a:gd name="connsiteY891" fmla="*/ 9631 h 10000"/>
                <a:gd name="connsiteX892" fmla="*/ 932 w 10000"/>
                <a:gd name="connsiteY892" fmla="*/ 9638 h 10000"/>
                <a:gd name="connsiteX893" fmla="*/ 942 w 10000"/>
                <a:gd name="connsiteY893" fmla="*/ 9642 h 10000"/>
                <a:gd name="connsiteX894" fmla="*/ 967 w 10000"/>
                <a:gd name="connsiteY894" fmla="*/ 9652 h 10000"/>
                <a:gd name="connsiteX895" fmla="*/ 987 w 10000"/>
                <a:gd name="connsiteY895" fmla="*/ 9668 h 10000"/>
                <a:gd name="connsiteX896" fmla="*/ 1005 w 10000"/>
                <a:gd name="connsiteY896" fmla="*/ 9682 h 10000"/>
                <a:gd name="connsiteX897" fmla="*/ 1025 w 10000"/>
                <a:gd name="connsiteY897" fmla="*/ 9698 h 10000"/>
                <a:gd name="connsiteX898" fmla="*/ 1045 w 10000"/>
                <a:gd name="connsiteY898" fmla="*/ 9712 h 10000"/>
                <a:gd name="connsiteX899" fmla="*/ 1073 w 10000"/>
                <a:gd name="connsiteY899" fmla="*/ 9724 h 10000"/>
                <a:gd name="connsiteX900" fmla="*/ 1098 w 10000"/>
                <a:gd name="connsiteY900" fmla="*/ 9738 h 10000"/>
                <a:gd name="connsiteX901" fmla="*/ 1121 w 10000"/>
                <a:gd name="connsiteY901" fmla="*/ 9750 h 10000"/>
                <a:gd name="connsiteX902" fmla="*/ 1141 w 10000"/>
                <a:gd name="connsiteY902" fmla="*/ 9762 h 10000"/>
                <a:gd name="connsiteX903" fmla="*/ 1159 w 10000"/>
                <a:gd name="connsiteY903" fmla="*/ 9776 h 10000"/>
                <a:gd name="connsiteX904" fmla="*/ 1172 w 10000"/>
                <a:gd name="connsiteY904" fmla="*/ 9787 h 10000"/>
                <a:gd name="connsiteX905" fmla="*/ 1182 w 10000"/>
                <a:gd name="connsiteY905" fmla="*/ 9804 h 10000"/>
                <a:gd name="connsiteX906" fmla="*/ 1194 w 10000"/>
                <a:gd name="connsiteY906" fmla="*/ 9818 h 10000"/>
                <a:gd name="connsiteX907" fmla="*/ 1202 w 10000"/>
                <a:gd name="connsiteY907" fmla="*/ 9834 h 10000"/>
                <a:gd name="connsiteX908" fmla="*/ 1212 w 10000"/>
                <a:gd name="connsiteY908" fmla="*/ 9869 h 10000"/>
                <a:gd name="connsiteX909" fmla="*/ 1220 w 10000"/>
                <a:gd name="connsiteY909" fmla="*/ 9906 h 10000"/>
                <a:gd name="connsiteX910" fmla="*/ 1230 w 10000"/>
                <a:gd name="connsiteY910" fmla="*/ 9951 h 10000"/>
                <a:gd name="connsiteX911" fmla="*/ 1237 w 10000"/>
                <a:gd name="connsiteY911" fmla="*/ 10000 h 10000"/>
                <a:gd name="connsiteX912" fmla="*/ 1237 w 10000"/>
                <a:gd name="connsiteY91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9 w 10000"/>
                <a:gd name="connsiteY736" fmla="*/ 7623 h 10000"/>
                <a:gd name="connsiteX737" fmla="*/ 2684 w 10000"/>
                <a:gd name="connsiteY737" fmla="*/ 7637 h 10000"/>
                <a:gd name="connsiteX738" fmla="*/ 2664 w 10000"/>
                <a:gd name="connsiteY738" fmla="*/ 7658 h 10000"/>
                <a:gd name="connsiteX739" fmla="*/ 2654 w 10000"/>
                <a:gd name="connsiteY739" fmla="*/ 7667 h 10000"/>
                <a:gd name="connsiteX740" fmla="*/ 2518 w 10000"/>
                <a:gd name="connsiteY740" fmla="*/ 7693 h 10000"/>
                <a:gd name="connsiteX741" fmla="*/ 2167 w 10000"/>
                <a:gd name="connsiteY741" fmla="*/ 7742 h 10000"/>
                <a:gd name="connsiteX742" fmla="*/ 2159 w 10000"/>
                <a:gd name="connsiteY742" fmla="*/ 7833 h 10000"/>
                <a:gd name="connsiteX743" fmla="*/ 2157 w 10000"/>
                <a:gd name="connsiteY743" fmla="*/ 7882 h 10000"/>
                <a:gd name="connsiteX744" fmla="*/ 2157 w 10000"/>
                <a:gd name="connsiteY744" fmla="*/ 7938 h 10000"/>
                <a:gd name="connsiteX745" fmla="*/ 2159 w 10000"/>
                <a:gd name="connsiteY745" fmla="*/ 8006 h 10000"/>
                <a:gd name="connsiteX746" fmla="*/ 2162 w 10000"/>
                <a:gd name="connsiteY746" fmla="*/ 8079 h 10000"/>
                <a:gd name="connsiteX747" fmla="*/ 2159 w 10000"/>
                <a:gd name="connsiteY747" fmla="*/ 8156 h 10000"/>
                <a:gd name="connsiteX748" fmla="*/ 2157 w 10000"/>
                <a:gd name="connsiteY748" fmla="*/ 8193 h 10000"/>
                <a:gd name="connsiteX749" fmla="*/ 2154 w 10000"/>
                <a:gd name="connsiteY749" fmla="*/ 8228 h 10000"/>
                <a:gd name="connsiteX750" fmla="*/ 2146 w 10000"/>
                <a:gd name="connsiteY750" fmla="*/ 8261 h 10000"/>
                <a:gd name="connsiteX751" fmla="*/ 2136 w 10000"/>
                <a:gd name="connsiteY751" fmla="*/ 8291 h 10000"/>
                <a:gd name="connsiteX752" fmla="*/ 2124 w 10000"/>
                <a:gd name="connsiteY752" fmla="*/ 8319 h 10000"/>
                <a:gd name="connsiteX753" fmla="*/ 2109 w 10000"/>
                <a:gd name="connsiteY753" fmla="*/ 8345 h 10000"/>
                <a:gd name="connsiteX754" fmla="*/ 2098 w 10000"/>
                <a:gd name="connsiteY754" fmla="*/ 8354 h 10000"/>
                <a:gd name="connsiteX755" fmla="*/ 2088 w 10000"/>
                <a:gd name="connsiteY755" fmla="*/ 8364 h 10000"/>
                <a:gd name="connsiteX756" fmla="*/ 2078 w 10000"/>
                <a:gd name="connsiteY756" fmla="*/ 8373 h 10000"/>
                <a:gd name="connsiteX757" fmla="*/ 2063 w 10000"/>
                <a:gd name="connsiteY757" fmla="*/ 8380 h 10000"/>
                <a:gd name="connsiteX758" fmla="*/ 1990 w 10000"/>
                <a:gd name="connsiteY758" fmla="*/ 8422 h 10000"/>
                <a:gd name="connsiteX759" fmla="*/ 1904 w 10000"/>
                <a:gd name="connsiteY759" fmla="*/ 8481 h 10000"/>
                <a:gd name="connsiteX760" fmla="*/ 1856 w 10000"/>
                <a:gd name="connsiteY760" fmla="*/ 8506 h 10000"/>
                <a:gd name="connsiteX761" fmla="*/ 1816 w 10000"/>
                <a:gd name="connsiteY761" fmla="*/ 8527 h 10000"/>
                <a:gd name="connsiteX762" fmla="*/ 1793 w 10000"/>
                <a:gd name="connsiteY762" fmla="*/ 8539 h 10000"/>
                <a:gd name="connsiteX763" fmla="*/ 1775 w 10000"/>
                <a:gd name="connsiteY763" fmla="*/ 8546 h 10000"/>
                <a:gd name="connsiteX764" fmla="*/ 1758 w 10000"/>
                <a:gd name="connsiteY764" fmla="*/ 8548 h 10000"/>
                <a:gd name="connsiteX765" fmla="*/ 1742 w 10000"/>
                <a:gd name="connsiteY765" fmla="*/ 8551 h 10000"/>
                <a:gd name="connsiteX766" fmla="*/ 1727 w 10000"/>
                <a:gd name="connsiteY766" fmla="*/ 8537 h 10000"/>
                <a:gd name="connsiteX767" fmla="*/ 1717 w 10000"/>
                <a:gd name="connsiteY767" fmla="*/ 8518 h 10000"/>
                <a:gd name="connsiteX768" fmla="*/ 1710 w 10000"/>
                <a:gd name="connsiteY768" fmla="*/ 8499 h 10000"/>
                <a:gd name="connsiteX769" fmla="*/ 1702 w 10000"/>
                <a:gd name="connsiteY769" fmla="*/ 8476 h 10000"/>
                <a:gd name="connsiteX770" fmla="*/ 1684 w 10000"/>
                <a:gd name="connsiteY770" fmla="*/ 8429 h 10000"/>
                <a:gd name="connsiteX771" fmla="*/ 1674 w 10000"/>
                <a:gd name="connsiteY771" fmla="*/ 8380 h 10000"/>
                <a:gd name="connsiteX772" fmla="*/ 1667 w 10000"/>
                <a:gd name="connsiteY772" fmla="*/ 8329 h 10000"/>
                <a:gd name="connsiteX773" fmla="*/ 1659 w 10000"/>
                <a:gd name="connsiteY773" fmla="*/ 8282 h 10000"/>
                <a:gd name="connsiteX774" fmla="*/ 1657 w 10000"/>
                <a:gd name="connsiteY774" fmla="*/ 8235 h 10000"/>
                <a:gd name="connsiteX775" fmla="*/ 1657 w 10000"/>
                <a:gd name="connsiteY775" fmla="*/ 8195 h 10000"/>
                <a:gd name="connsiteX776" fmla="*/ 1652 w 10000"/>
                <a:gd name="connsiteY776" fmla="*/ 8191 h 10000"/>
                <a:gd name="connsiteX777" fmla="*/ 1586 w 10000"/>
                <a:gd name="connsiteY777" fmla="*/ 8188 h 10000"/>
                <a:gd name="connsiteX778" fmla="*/ 1525 w 10000"/>
                <a:gd name="connsiteY778" fmla="*/ 8186 h 10000"/>
                <a:gd name="connsiteX779" fmla="*/ 1500 w 10000"/>
                <a:gd name="connsiteY779" fmla="*/ 8191 h 10000"/>
                <a:gd name="connsiteX780" fmla="*/ 1472 w 10000"/>
                <a:gd name="connsiteY780" fmla="*/ 8198 h 10000"/>
                <a:gd name="connsiteX781" fmla="*/ 1457 w 10000"/>
                <a:gd name="connsiteY781" fmla="*/ 8205 h 10000"/>
                <a:gd name="connsiteX782" fmla="*/ 1444 w 10000"/>
                <a:gd name="connsiteY782" fmla="*/ 8212 h 10000"/>
                <a:gd name="connsiteX783" fmla="*/ 1434 w 10000"/>
                <a:gd name="connsiteY783" fmla="*/ 8223 h 10000"/>
                <a:gd name="connsiteX784" fmla="*/ 1419 w 10000"/>
                <a:gd name="connsiteY784" fmla="*/ 8233 h 10000"/>
                <a:gd name="connsiteX785" fmla="*/ 1412 w 10000"/>
                <a:gd name="connsiteY785" fmla="*/ 8247 h 10000"/>
                <a:gd name="connsiteX786" fmla="*/ 1402 w 10000"/>
                <a:gd name="connsiteY786" fmla="*/ 8261 h 10000"/>
                <a:gd name="connsiteX787" fmla="*/ 1394 w 10000"/>
                <a:gd name="connsiteY787" fmla="*/ 8275 h 10000"/>
                <a:gd name="connsiteX788" fmla="*/ 1386 w 10000"/>
                <a:gd name="connsiteY788" fmla="*/ 8294 h 10000"/>
                <a:gd name="connsiteX789" fmla="*/ 1374 w 10000"/>
                <a:gd name="connsiteY789" fmla="*/ 8331 h 10000"/>
                <a:gd name="connsiteX790" fmla="*/ 1361 w 10000"/>
                <a:gd name="connsiteY790" fmla="*/ 8368 h 10000"/>
                <a:gd name="connsiteX791" fmla="*/ 1354 w 10000"/>
                <a:gd name="connsiteY791" fmla="*/ 8387 h 10000"/>
                <a:gd name="connsiteX792" fmla="*/ 1346 w 10000"/>
                <a:gd name="connsiteY792" fmla="*/ 8406 h 10000"/>
                <a:gd name="connsiteX793" fmla="*/ 1338 w 10000"/>
                <a:gd name="connsiteY793" fmla="*/ 8420 h 10000"/>
                <a:gd name="connsiteX794" fmla="*/ 1328 w 10000"/>
                <a:gd name="connsiteY794" fmla="*/ 8436 h 10000"/>
                <a:gd name="connsiteX795" fmla="*/ 1316 w 10000"/>
                <a:gd name="connsiteY795" fmla="*/ 8446 h 10000"/>
                <a:gd name="connsiteX796" fmla="*/ 1306 w 10000"/>
                <a:gd name="connsiteY796" fmla="*/ 8453 h 10000"/>
                <a:gd name="connsiteX797" fmla="*/ 1293 w 10000"/>
                <a:gd name="connsiteY797" fmla="*/ 8460 h 10000"/>
                <a:gd name="connsiteX798" fmla="*/ 1275 w 10000"/>
                <a:gd name="connsiteY798" fmla="*/ 8460 h 10000"/>
                <a:gd name="connsiteX799" fmla="*/ 1265 w 10000"/>
                <a:gd name="connsiteY799" fmla="*/ 8450 h 10000"/>
                <a:gd name="connsiteX800" fmla="*/ 1258 w 10000"/>
                <a:gd name="connsiteY800" fmla="*/ 8441 h 10000"/>
                <a:gd name="connsiteX801" fmla="*/ 1245 w 10000"/>
                <a:gd name="connsiteY801" fmla="*/ 8424 h 10000"/>
                <a:gd name="connsiteX802" fmla="*/ 1237 w 10000"/>
                <a:gd name="connsiteY802" fmla="*/ 8408 h 10000"/>
                <a:gd name="connsiteX803" fmla="*/ 1217 w 10000"/>
                <a:gd name="connsiteY803" fmla="*/ 8373 h 10000"/>
                <a:gd name="connsiteX804" fmla="*/ 1202 w 10000"/>
                <a:gd name="connsiteY804" fmla="*/ 8333 h 10000"/>
                <a:gd name="connsiteX805" fmla="*/ 1182 w 10000"/>
                <a:gd name="connsiteY805" fmla="*/ 8296 h 10000"/>
                <a:gd name="connsiteX806" fmla="*/ 1162 w 10000"/>
                <a:gd name="connsiteY806" fmla="*/ 8268 h 10000"/>
                <a:gd name="connsiteX807" fmla="*/ 1149 w 10000"/>
                <a:gd name="connsiteY807" fmla="*/ 8256 h 10000"/>
                <a:gd name="connsiteX808" fmla="*/ 1139 w 10000"/>
                <a:gd name="connsiteY808" fmla="*/ 8249 h 10000"/>
                <a:gd name="connsiteX809" fmla="*/ 1126 w 10000"/>
                <a:gd name="connsiteY809" fmla="*/ 8240 h 10000"/>
                <a:gd name="connsiteX810" fmla="*/ 1114 w 10000"/>
                <a:gd name="connsiteY810" fmla="*/ 8240 h 10000"/>
                <a:gd name="connsiteX811" fmla="*/ 1091 w 10000"/>
                <a:gd name="connsiteY811" fmla="*/ 8242 h 10000"/>
                <a:gd name="connsiteX812" fmla="*/ 1071 w 10000"/>
                <a:gd name="connsiteY812" fmla="*/ 8252 h 10000"/>
                <a:gd name="connsiteX813" fmla="*/ 1048 w 10000"/>
                <a:gd name="connsiteY813" fmla="*/ 8261 h 10000"/>
                <a:gd name="connsiteX814" fmla="*/ 1030 w 10000"/>
                <a:gd name="connsiteY814" fmla="*/ 8273 h 10000"/>
                <a:gd name="connsiteX815" fmla="*/ 1010 w 10000"/>
                <a:gd name="connsiteY815" fmla="*/ 8287 h 10000"/>
                <a:gd name="connsiteX816" fmla="*/ 995 w 10000"/>
                <a:gd name="connsiteY816" fmla="*/ 8303 h 10000"/>
                <a:gd name="connsiteX817" fmla="*/ 975 w 10000"/>
                <a:gd name="connsiteY817" fmla="*/ 8322 h 10000"/>
                <a:gd name="connsiteX818" fmla="*/ 960 w 10000"/>
                <a:gd name="connsiteY818" fmla="*/ 8343 h 10000"/>
                <a:gd name="connsiteX819" fmla="*/ 927 w 10000"/>
                <a:gd name="connsiteY819" fmla="*/ 8380 h 10000"/>
                <a:gd name="connsiteX820" fmla="*/ 891 w 10000"/>
                <a:gd name="connsiteY820" fmla="*/ 8417 h 10000"/>
                <a:gd name="connsiteX821" fmla="*/ 874 w 10000"/>
                <a:gd name="connsiteY821" fmla="*/ 8436 h 10000"/>
                <a:gd name="connsiteX822" fmla="*/ 859 w 10000"/>
                <a:gd name="connsiteY822" fmla="*/ 8450 h 10000"/>
                <a:gd name="connsiteX823" fmla="*/ 838 w 10000"/>
                <a:gd name="connsiteY823" fmla="*/ 8462 h 10000"/>
                <a:gd name="connsiteX824" fmla="*/ 821 w 10000"/>
                <a:gd name="connsiteY824" fmla="*/ 8476 h 10000"/>
                <a:gd name="connsiteX825" fmla="*/ 742 w 10000"/>
                <a:gd name="connsiteY825" fmla="*/ 8562 h 10000"/>
                <a:gd name="connsiteX826" fmla="*/ 672 w 10000"/>
                <a:gd name="connsiteY826" fmla="*/ 8644 h 10000"/>
                <a:gd name="connsiteX827" fmla="*/ 639 w 10000"/>
                <a:gd name="connsiteY827" fmla="*/ 8684 h 10000"/>
                <a:gd name="connsiteX828" fmla="*/ 609 w 10000"/>
                <a:gd name="connsiteY828" fmla="*/ 8731 h 10000"/>
                <a:gd name="connsiteX829" fmla="*/ 583 w 10000"/>
                <a:gd name="connsiteY829" fmla="*/ 8777 h 10000"/>
                <a:gd name="connsiteX830" fmla="*/ 556 w 10000"/>
                <a:gd name="connsiteY830" fmla="*/ 8831 h 10000"/>
                <a:gd name="connsiteX831" fmla="*/ 545 w 10000"/>
                <a:gd name="connsiteY831" fmla="*/ 8852 h 10000"/>
                <a:gd name="connsiteX832" fmla="*/ 525 w 10000"/>
                <a:gd name="connsiteY832" fmla="*/ 8885 h 10000"/>
                <a:gd name="connsiteX833" fmla="*/ 503 w 10000"/>
                <a:gd name="connsiteY833" fmla="*/ 8925 h 10000"/>
                <a:gd name="connsiteX834" fmla="*/ 480 w 10000"/>
                <a:gd name="connsiteY834" fmla="*/ 8962 h 10000"/>
                <a:gd name="connsiteX835" fmla="*/ 465 w 10000"/>
                <a:gd name="connsiteY835" fmla="*/ 8981 h 10000"/>
                <a:gd name="connsiteX836" fmla="*/ 455 w 10000"/>
                <a:gd name="connsiteY836" fmla="*/ 8993 h 10000"/>
                <a:gd name="connsiteX837" fmla="*/ 444 w 10000"/>
                <a:gd name="connsiteY837" fmla="*/ 9000 h 10000"/>
                <a:gd name="connsiteX838" fmla="*/ 434 w 10000"/>
                <a:gd name="connsiteY838" fmla="*/ 9007 h 10000"/>
                <a:gd name="connsiteX839" fmla="*/ 432 w 10000"/>
                <a:gd name="connsiteY839" fmla="*/ 9007 h 10000"/>
                <a:gd name="connsiteX840" fmla="*/ 429 w 10000"/>
                <a:gd name="connsiteY840" fmla="*/ 9004 h 10000"/>
                <a:gd name="connsiteX841" fmla="*/ 427 w 10000"/>
                <a:gd name="connsiteY841" fmla="*/ 8997 h 10000"/>
                <a:gd name="connsiteX842" fmla="*/ 427 w 10000"/>
                <a:gd name="connsiteY842" fmla="*/ 8993 h 10000"/>
                <a:gd name="connsiteX843" fmla="*/ 424 w 10000"/>
                <a:gd name="connsiteY843" fmla="*/ 8976 h 10000"/>
                <a:gd name="connsiteX844" fmla="*/ 427 w 10000"/>
                <a:gd name="connsiteY844" fmla="*/ 8948 h 10000"/>
                <a:gd name="connsiteX845" fmla="*/ 437 w 10000"/>
                <a:gd name="connsiteY845" fmla="*/ 8913 h 10000"/>
                <a:gd name="connsiteX846" fmla="*/ 455 w 10000"/>
                <a:gd name="connsiteY846" fmla="*/ 8859 h 10000"/>
                <a:gd name="connsiteX847" fmla="*/ 462 w 10000"/>
                <a:gd name="connsiteY847" fmla="*/ 8834 h 10000"/>
                <a:gd name="connsiteX848" fmla="*/ 470 w 10000"/>
                <a:gd name="connsiteY848" fmla="*/ 8810 h 10000"/>
                <a:gd name="connsiteX849" fmla="*/ 472 w 10000"/>
                <a:gd name="connsiteY849" fmla="*/ 8794 h 10000"/>
                <a:gd name="connsiteX850" fmla="*/ 472 w 10000"/>
                <a:gd name="connsiteY850" fmla="*/ 8780 h 10000"/>
                <a:gd name="connsiteX851" fmla="*/ 462 w 10000"/>
                <a:gd name="connsiteY851" fmla="*/ 8784 h 10000"/>
                <a:gd name="connsiteX852" fmla="*/ 452 w 10000"/>
                <a:gd name="connsiteY852" fmla="*/ 8787 h 10000"/>
                <a:gd name="connsiteX853" fmla="*/ 437 w 10000"/>
                <a:gd name="connsiteY853" fmla="*/ 8794 h 10000"/>
                <a:gd name="connsiteX854" fmla="*/ 424 w 10000"/>
                <a:gd name="connsiteY854" fmla="*/ 8803 h 10000"/>
                <a:gd name="connsiteX855" fmla="*/ 394 w 10000"/>
                <a:gd name="connsiteY855" fmla="*/ 8829 h 10000"/>
                <a:gd name="connsiteX856" fmla="*/ 364 w 10000"/>
                <a:gd name="connsiteY856" fmla="*/ 8859 h 10000"/>
                <a:gd name="connsiteX857" fmla="*/ 311 w 10000"/>
                <a:gd name="connsiteY857" fmla="*/ 8922 h 10000"/>
                <a:gd name="connsiteX858" fmla="*/ 268 w 10000"/>
                <a:gd name="connsiteY858" fmla="*/ 8964 h 10000"/>
                <a:gd name="connsiteX859" fmla="*/ 205 w 10000"/>
                <a:gd name="connsiteY859" fmla="*/ 9016 h 10000"/>
                <a:gd name="connsiteX860" fmla="*/ 146 w 10000"/>
                <a:gd name="connsiteY860" fmla="*/ 9053 h 10000"/>
                <a:gd name="connsiteX861" fmla="*/ 139 w 10000"/>
                <a:gd name="connsiteY861" fmla="*/ 9063 h 10000"/>
                <a:gd name="connsiteX862" fmla="*/ 129 w 10000"/>
                <a:gd name="connsiteY862" fmla="*/ 9077 h 10000"/>
                <a:gd name="connsiteX863" fmla="*/ 126 w 10000"/>
                <a:gd name="connsiteY863" fmla="*/ 9086 h 10000"/>
                <a:gd name="connsiteX864" fmla="*/ 126 w 10000"/>
                <a:gd name="connsiteY864" fmla="*/ 9102 h 10000"/>
                <a:gd name="connsiteX865" fmla="*/ 129 w 10000"/>
                <a:gd name="connsiteY865" fmla="*/ 9116 h 10000"/>
                <a:gd name="connsiteX866" fmla="*/ 139 w 10000"/>
                <a:gd name="connsiteY866" fmla="*/ 9135 h 10000"/>
                <a:gd name="connsiteX867" fmla="*/ 149 w 10000"/>
                <a:gd name="connsiteY867" fmla="*/ 9151 h 10000"/>
                <a:gd name="connsiteX868" fmla="*/ 164 w 10000"/>
                <a:gd name="connsiteY868" fmla="*/ 9175 h 10000"/>
                <a:gd name="connsiteX869" fmla="*/ 184 w 10000"/>
                <a:gd name="connsiteY869" fmla="*/ 9196 h 10000"/>
                <a:gd name="connsiteX870" fmla="*/ 207 w 10000"/>
                <a:gd name="connsiteY870" fmla="*/ 9215 h 10000"/>
                <a:gd name="connsiteX871" fmla="*/ 227 w 10000"/>
                <a:gd name="connsiteY871" fmla="*/ 9233 h 10000"/>
                <a:gd name="connsiteX872" fmla="*/ 253 w 10000"/>
                <a:gd name="connsiteY872" fmla="*/ 9250 h 10000"/>
                <a:gd name="connsiteX873" fmla="*/ 303 w 10000"/>
                <a:gd name="connsiteY873" fmla="*/ 9282 h 10000"/>
                <a:gd name="connsiteX874" fmla="*/ 351 w 10000"/>
                <a:gd name="connsiteY874" fmla="*/ 9315 h 10000"/>
                <a:gd name="connsiteX875" fmla="*/ 414 w 10000"/>
                <a:gd name="connsiteY875" fmla="*/ 9364 h 10000"/>
                <a:gd name="connsiteX876" fmla="*/ 480 w 10000"/>
                <a:gd name="connsiteY876" fmla="*/ 9416 h 10000"/>
                <a:gd name="connsiteX877" fmla="*/ 513 w 10000"/>
                <a:gd name="connsiteY877" fmla="*/ 9437 h 10000"/>
                <a:gd name="connsiteX878" fmla="*/ 548 w 10000"/>
                <a:gd name="connsiteY878" fmla="*/ 9462 h 10000"/>
                <a:gd name="connsiteX879" fmla="*/ 581 w 10000"/>
                <a:gd name="connsiteY879" fmla="*/ 9483 h 10000"/>
                <a:gd name="connsiteX880" fmla="*/ 614 w 10000"/>
                <a:gd name="connsiteY880" fmla="*/ 9502 h 10000"/>
                <a:gd name="connsiteX881" fmla="*/ 641 w 10000"/>
                <a:gd name="connsiteY881" fmla="*/ 9525 h 10000"/>
                <a:gd name="connsiteX882" fmla="*/ 672 w 10000"/>
                <a:gd name="connsiteY882" fmla="*/ 9549 h 10000"/>
                <a:gd name="connsiteX883" fmla="*/ 702 w 10000"/>
                <a:gd name="connsiteY883" fmla="*/ 9568 h 10000"/>
                <a:gd name="connsiteX884" fmla="*/ 737 w 10000"/>
                <a:gd name="connsiteY884" fmla="*/ 9589 h 10000"/>
                <a:gd name="connsiteX885" fmla="*/ 770 w 10000"/>
                <a:gd name="connsiteY885" fmla="*/ 9605 h 10000"/>
                <a:gd name="connsiteX886" fmla="*/ 808 w 10000"/>
                <a:gd name="connsiteY886" fmla="*/ 9617 h 10000"/>
                <a:gd name="connsiteX887" fmla="*/ 843 w 10000"/>
                <a:gd name="connsiteY887" fmla="*/ 9624 h 10000"/>
                <a:gd name="connsiteX888" fmla="*/ 884 w 10000"/>
                <a:gd name="connsiteY888" fmla="*/ 9628 h 10000"/>
                <a:gd name="connsiteX889" fmla="*/ 902 w 10000"/>
                <a:gd name="connsiteY889" fmla="*/ 9628 h 10000"/>
                <a:gd name="connsiteX890" fmla="*/ 914 w 10000"/>
                <a:gd name="connsiteY890" fmla="*/ 9631 h 10000"/>
                <a:gd name="connsiteX891" fmla="*/ 932 w 10000"/>
                <a:gd name="connsiteY891" fmla="*/ 9638 h 10000"/>
                <a:gd name="connsiteX892" fmla="*/ 942 w 10000"/>
                <a:gd name="connsiteY892" fmla="*/ 9642 h 10000"/>
                <a:gd name="connsiteX893" fmla="*/ 967 w 10000"/>
                <a:gd name="connsiteY893" fmla="*/ 9652 h 10000"/>
                <a:gd name="connsiteX894" fmla="*/ 987 w 10000"/>
                <a:gd name="connsiteY894" fmla="*/ 9668 h 10000"/>
                <a:gd name="connsiteX895" fmla="*/ 1005 w 10000"/>
                <a:gd name="connsiteY895" fmla="*/ 9682 h 10000"/>
                <a:gd name="connsiteX896" fmla="*/ 1025 w 10000"/>
                <a:gd name="connsiteY896" fmla="*/ 9698 h 10000"/>
                <a:gd name="connsiteX897" fmla="*/ 1045 w 10000"/>
                <a:gd name="connsiteY897" fmla="*/ 9712 h 10000"/>
                <a:gd name="connsiteX898" fmla="*/ 1073 w 10000"/>
                <a:gd name="connsiteY898" fmla="*/ 9724 h 10000"/>
                <a:gd name="connsiteX899" fmla="*/ 1098 w 10000"/>
                <a:gd name="connsiteY899" fmla="*/ 9738 h 10000"/>
                <a:gd name="connsiteX900" fmla="*/ 1121 w 10000"/>
                <a:gd name="connsiteY900" fmla="*/ 9750 h 10000"/>
                <a:gd name="connsiteX901" fmla="*/ 1141 w 10000"/>
                <a:gd name="connsiteY901" fmla="*/ 9762 h 10000"/>
                <a:gd name="connsiteX902" fmla="*/ 1159 w 10000"/>
                <a:gd name="connsiteY902" fmla="*/ 9776 h 10000"/>
                <a:gd name="connsiteX903" fmla="*/ 1172 w 10000"/>
                <a:gd name="connsiteY903" fmla="*/ 9787 h 10000"/>
                <a:gd name="connsiteX904" fmla="*/ 1182 w 10000"/>
                <a:gd name="connsiteY904" fmla="*/ 9804 h 10000"/>
                <a:gd name="connsiteX905" fmla="*/ 1194 w 10000"/>
                <a:gd name="connsiteY905" fmla="*/ 9818 h 10000"/>
                <a:gd name="connsiteX906" fmla="*/ 1202 w 10000"/>
                <a:gd name="connsiteY906" fmla="*/ 9834 h 10000"/>
                <a:gd name="connsiteX907" fmla="*/ 1212 w 10000"/>
                <a:gd name="connsiteY907" fmla="*/ 9869 h 10000"/>
                <a:gd name="connsiteX908" fmla="*/ 1220 w 10000"/>
                <a:gd name="connsiteY908" fmla="*/ 9906 h 10000"/>
                <a:gd name="connsiteX909" fmla="*/ 1230 w 10000"/>
                <a:gd name="connsiteY909" fmla="*/ 9951 h 10000"/>
                <a:gd name="connsiteX910" fmla="*/ 1237 w 10000"/>
                <a:gd name="connsiteY910" fmla="*/ 10000 h 10000"/>
                <a:gd name="connsiteX911" fmla="*/ 1237 w 10000"/>
                <a:gd name="connsiteY91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9 w 10000"/>
                <a:gd name="connsiteY736" fmla="*/ 7623 h 10000"/>
                <a:gd name="connsiteX737" fmla="*/ 2684 w 10000"/>
                <a:gd name="connsiteY737" fmla="*/ 7637 h 10000"/>
                <a:gd name="connsiteX738" fmla="*/ 2664 w 10000"/>
                <a:gd name="connsiteY738" fmla="*/ 7658 h 10000"/>
                <a:gd name="connsiteX739" fmla="*/ 2518 w 10000"/>
                <a:gd name="connsiteY739" fmla="*/ 7693 h 10000"/>
                <a:gd name="connsiteX740" fmla="*/ 2167 w 10000"/>
                <a:gd name="connsiteY740" fmla="*/ 7742 h 10000"/>
                <a:gd name="connsiteX741" fmla="*/ 2159 w 10000"/>
                <a:gd name="connsiteY741" fmla="*/ 7833 h 10000"/>
                <a:gd name="connsiteX742" fmla="*/ 2157 w 10000"/>
                <a:gd name="connsiteY742" fmla="*/ 7882 h 10000"/>
                <a:gd name="connsiteX743" fmla="*/ 2157 w 10000"/>
                <a:gd name="connsiteY743" fmla="*/ 7938 h 10000"/>
                <a:gd name="connsiteX744" fmla="*/ 2159 w 10000"/>
                <a:gd name="connsiteY744" fmla="*/ 8006 h 10000"/>
                <a:gd name="connsiteX745" fmla="*/ 2162 w 10000"/>
                <a:gd name="connsiteY745" fmla="*/ 8079 h 10000"/>
                <a:gd name="connsiteX746" fmla="*/ 2159 w 10000"/>
                <a:gd name="connsiteY746" fmla="*/ 8156 h 10000"/>
                <a:gd name="connsiteX747" fmla="*/ 2157 w 10000"/>
                <a:gd name="connsiteY747" fmla="*/ 8193 h 10000"/>
                <a:gd name="connsiteX748" fmla="*/ 2154 w 10000"/>
                <a:gd name="connsiteY748" fmla="*/ 8228 h 10000"/>
                <a:gd name="connsiteX749" fmla="*/ 2146 w 10000"/>
                <a:gd name="connsiteY749" fmla="*/ 8261 h 10000"/>
                <a:gd name="connsiteX750" fmla="*/ 2136 w 10000"/>
                <a:gd name="connsiteY750" fmla="*/ 8291 h 10000"/>
                <a:gd name="connsiteX751" fmla="*/ 2124 w 10000"/>
                <a:gd name="connsiteY751" fmla="*/ 8319 h 10000"/>
                <a:gd name="connsiteX752" fmla="*/ 2109 w 10000"/>
                <a:gd name="connsiteY752" fmla="*/ 8345 h 10000"/>
                <a:gd name="connsiteX753" fmla="*/ 2098 w 10000"/>
                <a:gd name="connsiteY753" fmla="*/ 8354 h 10000"/>
                <a:gd name="connsiteX754" fmla="*/ 2088 w 10000"/>
                <a:gd name="connsiteY754" fmla="*/ 8364 h 10000"/>
                <a:gd name="connsiteX755" fmla="*/ 2078 w 10000"/>
                <a:gd name="connsiteY755" fmla="*/ 8373 h 10000"/>
                <a:gd name="connsiteX756" fmla="*/ 2063 w 10000"/>
                <a:gd name="connsiteY756" fmla="*/ 8380 h 10000"/>
                <a:gd name="connsiteX757" fmla="*/ 1990 w 10000"/>
                <a:gd name="connsiteY757" fmla="*/ 8422 h 10000"/>
                <a:gd name="connsiteX758" fmla="*/ 1904 w 10000"/>
                <a:gd name="connsiteY758" fmla="*/ 8481 h 10000"/>
                <a:gd name="connsiteX759" fmla="*/ 1856 w 10000"/>
                <a:gd name="connsiteY759" fmla="*/ 8506 h 10000"/>
                <a:gd name="connsiteX760" fmla="*/ 1816 w 10000"/>
                <a:gd name="connsiteY760" fmla="*/ 8527 h 10000"/>
                <a:gd name="connsiteX761" fmla="*/ 1793 w 10000"/>
                <a:gd name="connsiteY761" fmla="*/ 8539 h 10000"/>
                <a:gd name="connsiteX762" fmla="*/ 1775 w 10000"/>
                <a:gd name="connsiteY762" fmla="*/ 8546 h 10000"/>
                <a:gd name="connsiteX763" fmla="*/ 1758 w 10000"/>
                <a:gd name="connsiteY763" fmla="*/ 8548 h 10000"/>
                <a:gd name="connsiteX764" fmla="*/ 1742 w 10000"/>
                <a:gd name="connsiteY764" fmla="*/ 8551 h 10000"/>
                <a:gd name="connsiteX765" fmla="*/ 1727 w 10000"/>
                <a:gd name="connsiteY765" fmla="*/ 8537 h 10000"/>
                <a:gd name="connsiteX766" fmla="*/ 1717 w 10000"/>
                <a:gd name="connsiteY766" fmla="*/ 8518 h 10000"/>
                <a:gd name="connsiteX767" fmla="*/ 1710 w 10000"/>
                <a:gd name="connsiteY767" fmla="*/ 8499 h 10000"/>
                <a:gd name="connsiteX768" fmla="*/ 1702 w 10000"/>
                <a:gd name="connsiteY768" fmla="*/ 8476 h 10000"/>
                <a:gd name="connsiteX769" fmla="*/ 1684 w 10000"/>
                <a:gd name="connsiteY769" fmla="*/ 8429 h 10000"/>
                <a:gd name="connsiteX770" fmla="*/ 1674 w 10000"/>
                <a:gd name="connsiteY770" fmla="*/ 8380 h 10000"/>
                <a:gd name="connsiteX771" fmla="*/ 1667 w 10000"/>
                <a:gd name="connsiteY771" fmla="*/ 8329 h 10000"/>
                <a:gd name="connsiteX772" fmla="*/ 1659 w 10000"/>
                <a:gd name="connsiteY772" fmla="*/ 8282 h 10000"/>
                <a:gd name="connsiteX773" fmla="*/ 1657 w 10000"/>
                <a:gd name="connsiteY773" fmla="*/ 8235 h 10000"/>
                <a:gd name="connsiteX774" fmla="*/ 1657 w 10000"/>
                <a:gd name="connsiteY774" fmla="*/ 8195 h 10000"/>
                <a:gd name="connsiteX775" fmla="*/ 1652 w 10000"/>
                <a:gd name="connsiteY775" fmla="*/ 8191 h 10000"/>
                <a:gd name="connsiteX776" fmla="*/ 1586 w 10000"/>
                <a:gd name="connsiteY776" fmla="*/ 8188 h 10000"/>
                <a:gd name="connsiteX777" fmla="*/ 1525 w 10000"/>
                <a:gd name="connsiteY777" fmla="*/ 8186 h 10000"/>
                <a:gd name="connsiteX778" fmla="*/ 1500 w 10000"/>
                <a:gd name="connsiteY778" fmla="*/ 8191 h 10000"/>
                <a:gd name="connsiteX779" fmla="*/ 1472 w 10000"/>
                <a:gd name="connsiteY779" fmla="*/ 8198 h 10000"/>
                <a:gd name="connsiteX780" fmla="*/ 1457 w 10000"/>
                <a:gd name="connsiteY780" fmla="*/ 8205 h 10000"/>
                <a:gd name="connsiteX781" fmla="*/ 1444 w 10000"/>
                <a:gd name="connsiteY781" fmla="*/ 8212 h 10000"/>
                <a:gd name="connsiteX782" fmla="*/ 1434 w 10000"/>
                <a:gd name="connsiteY782" fmla="*/ 8223 h 10000"/>
                <a:gd name="connsiteX783" fmla="*/ 1419 w 10000"/>
                <a:gd name="connsiteY783" fmla="*/ 8233 h 10000"/>
                <a:gd name="connsiteX784" fmla="*/ 1412 w 10000"/>
                <a:gd name="connsiteY784" fmla="*/ 8247 h 10000"/>
                <a:gd name="connsiteX785" fmla="*/ 1402 w 10000"/>
                <a:gd name="connsiteY785" fmla="*/ 8261 h 10000"/>
                <a:gd name="connsiteX786" fmla="*/ 1394 w 10000"/>
                <a:gd name="connsiteY786" fmla="*/ 8275 h 10000"/>
                <a:gd name="connsiteX787" fmla="*/ 1386 w 10000"/>
                <a:gd name="connsiteY787" fmla="*/ 8294 h 10000"/>
                <a:gd name="connsiteX788" fmla="*/ 1374 w 10000"/>
                <a:gd name="connsiteY788" fmla="*/ 8331 h 10000"/>
                <a:gd name="connsiteX789" fmla="*/ 1361 w 10000"/>
                <a:gd name="connsiteY789" fmla="*/ 8368 h 10000"/>
                <a:gd name="connsiteX790" fmla="*/ 1354 w 10000"/>
                <a:gd name="connsiteY790" fmla="*/ 8387 h 10000"/>
                <a:gd name="connsiteX791" fmla="*/ 1346 w 10000"/>
                <a:gd name="connsiteY791" fmla="*/ 8406 h 10000"/>
                <a:gd name="connsiteX792" fmla="*/ 1338 w 10000"/>
                <a:gd name="connsiteY792" fmla="*/ 8420 h 10000"/>
                <a:gd name="connsiteX793" fmla="*/ 1328 w 10000"/>
                <a:gd name="connsiteY793" fmla="*/ 8436 h 10000"/>
                <a:gd name="connsiteX794" fmla="*/ 1316 w 10000"/>
                <a:gd name="connsiteY794" fmla="*/ 8446 h 10000"/>
                <a:gd name="connsiteX795" fmla="*/ 1306 w 10000"/>
                <a:gd name="connsiteY795" fmla="*/ 8453 h 10000"/>
                <a:gd name="connsiteX796" fmla="*/ 1293 w 10000"/>
                <a:gd name="connsiteY796" fmla="*/ 8460 h 10000"/>
                <a:gd name="connsiteX797" fmla="*/ 1275 w 10000"/>
                <a:gd name="connsiteY797" fmla="*/ 8460 h 10000"/>
                <a:gd name="connsiteX798" fmla="*/ 1265 w 10000"/>
                <a:gd name="connsiteY798" fmla="*/ 8450 h 10000"/>
                <a:gd name="connsiteX799" fmla="*/ 1258 w 10000"/>
                <a:gd name="connsiteY799" fmla="*/ 8441 h 10000"/>
                <a:gd name="connsiteX800" fmla="*/ 1245 w 10000"/>
                <a:gd name="connsiteY800" fmla="*/ 8424 h 10000"/>
                <a:gd name="connsiteX801" fmla="*/ 1237 w 10000"/>
                <a:gd name="connsiteY801" fmla="*/ 8408 h 10000"/>
                <a:gd name="connsiteX802" fmla="*/ 1217 w 10000"/>
                <a:gd name="connsiteY802" fmla="*/ 8373 h 10000"/>
                <a:gd name="connsiteX803" fmla="*/ 1202 w 10000"/>
                <a:gd name="connsiteY803" fmla="*/ 8333 h 10000"/>
                <a:gd name="connsiteX804" fmla="*/ 1182 w 10000"/>
                <a:gd name="connsiteY804" fmla="*/ 8296 h 10000"/>
                <a:gd name="connsiteX805" fmla="*/ 1162 w 10000"/>
                <a:gd name="connsiteY805" fmla="*/ 8268 h 10000"/>
                <a:gd name="connsiteX806" fmla="*/ 1149 w 10000"/>
                <a:gd name="connsiteY806" fmla="*/ 8256 h 10000"/>
                <a:gd name="connsiteX807" fmla="*/ 1139 w 10000"/>
                <a:gd name="connsiteY807" fmla="*/ 8249 h 10000"/>
                <a:gd name="connsiteX808" fmla="*/ 1126 w 10000"/>
                <a:gd name="connsiteY808" fmla="*/ 8240 h 10000"/>
                <a:gd name="connsiteX809" fmla="*/ 1114 w 10000"/>
                <a:gd name="connsiteY809" fmla="*/ 8240 h 10000"/>
                <a:gd name="connsiteX810" fmla="*/ 1091 w 10000"/>
                <a:gd name="connsiteY810" fmla="*/ 8242 h 10000"/>
                <a:gd name="connsiteX811" fmla="*/ 1071 w 10000"/>
                <a:gd name="connsiteY811" fmla="*/ 8252 h 10000"/>
                <a:gd name="connsiteX812" fmla="*/ 1048 w 10000"/>
                <a:gd name="connsiteY812" fmla="*/ 8261 h 10000"/>
                <a:gd name="connsiteX813" fmla="*/ 1030 w 10000"/>
                <a:gd name="connsiteY813" fmla="*/ 8273 h 10000"/>
                <a:gd name="connsiteX814" fmla="*/ 1010 w 10000"/>
                <a:gd name="connsiteY814" fmla="*/ 8287 h 10000"/>
                <a:gd name="connsiteX815" fmla="*/ 995 w 10000"/>
                <a:gd name="connsiteY815" fmla="*/ 8303 h 10000"/>
                <a:gd name="connsiteX816" fmla="*/ 975 w 10000"/>
                <a:gd name="connsiteY816" fmla="*/ 8322 h 10000"/>
                <a:gd name="connsiteX817" fmla="*/ 960 w 10000"/>
                <a:gd name="connsiteY817" fmla="*/ 8343 h 10000"/>
                <a:gd name="connsiteX818" fmla="*/ 927 w 10000"/>
                <a:gd name="connsiteY818" fmla="*/ 8380 h 10000"/>
                <a:gd name="connsiteX819" fmla="*/ 891 w 10000"/>
                <a:gd name="connsiteY819" fmla="*/ 8417 h 10000"/>
                <a:gd name="connsiteX820" fmla="*/ 874 w 10000"/>
                <a:gd name="connsiteY820" fmla="*/ 8436 h 10000"/>
                <a:gd name="connsiteX821" fmla="*/ 859 w 10000"/>
                <a:gd name="connsiteY821" fmla="*/ 8450 h 10000"/>
                <a:gd name="connsiteX822" fmla="*/ 838 w 10000"/>
                <a:gd name="connsiteY822" fmla="*/ 8462 h 10000"/>
                <a:gd name="connsiteX823" fmla="*/ 821 w 10000"/>
                <a:gd name="connsiteY823" fmla="*/ 8476 h 10000"/>
                <a:gd name="connsiteX824" fmla="*/ 742 w 10000"/>
                <a:gd name="connsiteY824" fmla="*/ 8562 h 10000"/>
                <a:gd name="connsiteX825" fmla="*/ 672 w 10000"/>
                <a:gd name="connsiteY825" fmla="*/ 8644 h 10000"/>
                <a:gd name="connsiteX826" fmla="*/ 639 w 10000"/>
                <a:gd name="connsiteY826" fmla="*/ 8684 h 10000"/>
                <a:gd name="connsiteX827" fmla="*/ 609 w 10000"/>
                <a:gd name="connsiteY827" fmla="*/ 8731 h 10000"/>
                <a:gd name="connsiteX828" fmla="*/ 583 w 10000"/>
                <a:gd name="connsiteY828" fmla="*/ 8777 h 10000"/>
                <a:gd name="connsiteX829" fmla="*/ 556 w 10000"/>
                <a:gd name="connsiteY829" fmla="*/ 8831 h 10000"/>
                <a:gd name="connsiteX830" fmla="*/ 545 w 10000"/>
                <a:gd name="connsiteY830" fmla="*/ 8852 h 10000"/>
                <a:gd name="connsiteX831" fmla="*/ 525 w 10000"/>
                <a:gd name="connsiteY831" fmla="*/ 8885 h 10000"/>
                <a:gd name="connsiteX832" fmla="*/ 503 w 10000"/>
                <a:gd name="connsiteY832" fmla="*/ 8925 h 10000"/>
                <a:gd name="connsiteX833" fmla="*/ 480 w 10000"/>
                <a:gd name="connsiteY833" fmla="*/ 8962 h 10000"/>
                <a:gd name="connsiteX834" fmla="*/ 465 w 10000"/>
                <a:gd name="connsiteY834" fmla="*/ 8981 h 10000"/>
                <a:gd name="connsiteX835" fmla="*/ 455 w 10000"/>
                <a:gd name="connsiteY835" fmla="*/ 8993 h 10000"/>
                <a:gd name="connsiteX836" fmla="*/ 444 w 10000"/>
                <a:gd name="connsiteY836" fmla="*/ 9000 h 10000"/>
                <a:gd name="connsiteX837" fmla="*/ 434 w 10000"/>
                <a:gd name="connsiteY837" fmla="*/ 9007 h 10000"/>
                <a:gd name="connsiteX838" fmla="*/ 432 w 10000"/>
                <a:gd name="connsiteY838" fmla="*/ 9007 h 10000"/>
                <a:gd name="connsiteX839" fmla="*/ 429 w 10000"/>
                <a:gd name="connsiteY839" fmla="*/ 9004 h 10000"/>
                <a:gd name="connsiteX840" fmla="*/ 427 w 10000"/>
                <a:gd name="connsiteY840" fmla="*/ 8997 h 10000"/>
                <a:gd name="connsiteX841" fmla="*/ 427 w 10000"/>
                <a:gd name="connsiteY841" fmla="*/ 8993 h 10000"/>
                <a:gd name="connsiteX842" fmla="*/ 424 w 10000"/>
                <a:gd name="connsiteY842" fmla="*/ 8976 h 10000"/>
                <a:gd name="connsiteX843" fmla="*/ 427 w 10000"/>
                <a:gd name="connsiteY843" fmla="*/ 8948 h 10000"/>
                <a:gd name="connsiteX844" fmla="*/ 437 w 10000"/>
                <a:gd name="connsiteY844" fmla="*/ 8913 h 10000"/>
                <a:gd name="connsiteX845" fmla="*/ 455 w 10000"/>
                <a:gd name="connsiteY845" fmla="*/ 8859 h 10000"/>
                <a:gd name="connsiteX846" fmla="*/ 462 w 10000"/>
                <a:gd name="connsiteY846" fmla="*/ 8834 h 10000"/>
                <a:gd name="connsiteX847" fmla="*/ 470 w 10000"/>
                <a:gd name="connsiteY847" fmla="*/ 8810 h 10000"/>
                <a:gd name="connsiteX848" fmla="*/ 472 w 10000"/>
                <a:gd name="connsiteY848" fmla="*/ 8794 h 10000"/>
                <a:gd name="connsiteX849" fmla="*/ 472 w 10000"/>
                <a:gd name="connsiteY849" fmla="*/ 8780 h 10000"/>
                <a:gd name="connsiteX850" fmla="*/ 462 w 10000"/>
                <a:gd name="connsiteY850" fmla="*/ 8784 h 10000"/>
                <a:gd name="connsiteX851" fmla="*/ 452 w 10000"/>
                <a:gd name="connsiteY851" fmla="*/ 8787 h 10000"/>
                <a:gd name="connsiteX852" fmla="*/ 437 w 10000"/>
                <a:gd name="connsiteY852" fmla="*/ 8794 h 10000"/>
                <a:gd name="connsiteX853" fmla="*/ 424 w 10000"/>
                <a:gd name="connsiteY853" fmla="*/ 8803 h 10000"/>
                <a:gd name="connsiteX854" fmla="*/ 394 w 10000"/>
                <a:gd name="connsiteY854" fmla="*/ 8829 h 10000"/>
                <a:gd name="connsiteX855" fmla="*/ 364 w 10000"/>
                <a:gd name="connsiteY855" fmla="*/ 8859 h 10000"/>
                <a:gd name="connsiteX856" fmla="*/ 311 w 10000"/>
                <a:gd name="connsiteY856" fmla="*/ 8922 h 10000"/>
                <a:gd name="connsiteX857" fmla="*/ 268 w 10000"/>
                <a:gd name="connsiteY857" fmla="*/ 8964 h 10000"/>
                <a:gd name="connsiteX858" fmla="*/ 205 w 10000"/>
                <a:gd name="connsiteY858" fmla="*/ 9016 h 10000"/>
                <a:gd name="connsiteX859" fmla="*/ 146 w 10000"/>
                <a:gd name="connsiteY859" fmla="*/ 9053 h 10000"/>
                <a:gd name="connsiteX860" fmla="*/ 139 w 10000"/>
                <a:gd name="connsiteY860" fmla="*/ 9063 h 10000"/>
                <a:gd name="connsiteX861" fmla="*/ 129 w 10000"/>
                <a:gd name="connsiteY861" fmla="*/ 9077 h 10000"/>
                <a:gd name="connsiteX862" fmla="*/ 126 w 10000"/>
                <a:gd name="connsiteY862" fmla="*/ 9086 h 10000"/>
                <a:gd name="connsiteX863" fmla="*/ 126 w 10000"/>
                <a:gd name="connsiteY863" fmla="*/ 9102 h 10000"/>
                <a:gd name="connsiteX864" fmla="*/ 129 w 10000"/>
                <a:gd name="connsiteY864" fmla="*/ 9116 h 10000"/>
                <a:gd name="connsiteX865" fmla="*/ 139 w 10000"/>
                <a:gd name="connsiteY865" fmla="*/ 9135 h 10000"/>
                <a:gd name="connsiteX866" fmla="*/ 149 w 10000"/>
                <a:gd name="connsiteY866" fmla="*/ 9151 h 10000"/>
                <a:gd name="connsiteX867" fmla="*/ 164 w 10000"/>
                <a:gd name="connsiteY867" fmla="*/ 9175 h 10000"/>
                <a:gd name="connsiteX868" fmla="*/ 184 w 10000"/>
                <a:gd name="connsiteY868" fmla="*/ 9196 h 10000"/>
                <a:gd name="connsiteX869" fmla="*/ 207 w 10000"/>
                <a:gd name="connsiteY869" fmla="*/ 9215 h 10000"/>
                <a:gd name="connsiteX870" fmla="*/ 227 w 10000"/>
                <a:gd name="connsiteY870" fmla="*/ 9233 h 10000"/>
                <a:gd name="connsiteX871" fmla="*/ 253 w 10000"/>
                <a:gd name="connsiteY871" fmla="*/ 9250 h 10000"/>
                <a:gd name="connsiteX872" fmla="*/ 303 w 10000"/>
                <a:gd name="connsiteY872" fmla="*/ 9282 h 10000"/>
                <a:gd name="connsiteX873" fmla="*/ 351 w 10000"/>
                <a:gd name="connsiteY873" fmla="*/ 9315 h 10000"/>
                <a:gd name="connsiteX874" fmla="*/ 414 w 10000"/>
                <a:gd name="connsiteY874" fmla="*/ 9364 h 10000"/>
                <a:gd name="connsiteX875" fmla="*/ 480 w 10000"/>
                <a:gd name="connsiteY875" fmla="*/ 9416 h 10000"/>
                <a:gd name="connsiteX876" fmla="*/ 513 w 10000"/>
                <a:gd name="connsiteY876" fmla="*/ 9437 h 10000"/>
                <a:gd name="connsiteX877" fmla="*/ 548 w 10000"/>
                <a:gd name="connsiteY877" fmla="*/ 9462 h 10000"/>
                <a:gd name="connsiteX878" fmla="*/ 581 w 10000"/>
                <a:gd name="connsiteY878" fmla="*/ 9483 h 10000"/>
                <a:gd name="connsiteX879" fmla="*/ 614 w 10000"/>
                <a:gd name="connsiteY879" fmla="*/ 9502 h 10000"/>
                <a:gd name="connsiteX880" fmla="*/ 641 w 10000"/>
                <a:gd name="connsiteY880" fmla="*/ 9525 h 10000"/>
                <a:gd name="connsiteX881" fmla="*/ 672 w 10000"/>
                <a:gd name="connsiteY881" fmla="*/ 9549 h 10000"/>
                <a:gd name="connsiteX882" fmla="*/ 702 w 10000"/>
                <a:gd name="connsiteY882" fmla="*/ 9568 h 10000"/>
                <a:gd name="connsiteX883" fmla="*/ 737 w 10000"/>
                <a:gd name="connsiteY883" fmla="*/ 9589 h 10000"/>
                <a:gd name="connsiteX884" fmla="*/ 770 w 10000"/>
                <a:gd name="connsiteY884" fmla="*/ 9605 h 10000"/>
                <a:gd name="connsiteX885" fmla="*/ 808 w 10000"/>
                <a:gd name="connsiteY885" fmla="*/ 9617 h 10000"/>
                <a:gd name="connsiteX886" fmla="*/ 843 w 10000"/>
                <a:gd name="connsiteY886" fmla="*/ 9624 h 10000"/>
                <a:gd name="connsiteX887" fmla="*/ 884 w 10000"/>
                <a:gd name="connsiteY887" fmla="*/ 9628 h 10000"/>
                <a:gd name="connsiteX888" fmla="*/ 902 w 10000"/>
                <a:gd name="connsiteY888" fmla="*/ 9628 h 10000"/>
                <a:gd name="connsiteX889" fmla="*/ 914 w 10000"/>
                <a:gd name="connsiteY889" fmla="*/ 9631 h 10000"/>
                <a:gd name="connsiteX890" fmla="*/ 932 w 10000"/>
                <a:gd name="connsiteY890" fmla="*/ 9638 h 10000"/>
                <a:gd name="connsiteX891" fmla="*/ 942 w 10000"/>
                <a:gd name="connsiteY891" fmla="*/ 9642 h 10000"/>
                <a:gd name="connsiteX892" fmla="*/ 967 w 10000"/>
                <a:gd name="connsiteY892" fmla="*/ 9652 h 10000"/>
                <a:gd name="connsiteX893" fmla="*/ 987 w 10000"/>
                <a:gd name="connsiteY893" fmla="*/ 9668 h 10000"/>
                <a:gd name="connsiteX894" fmla="*/ 1005 w 10000"/>
                <a:gd name="connsiteY894" fmla="*/ 9682 h 10000"/>
                <a:gd name="connsiteX895" fmla="*/ 1025 w 10000"/>
                <a:gd name="connsiteY895" fmla="*/ 9698 h 10000"/>
                <a:gd name="connsiteX896" fmla="*/ 1045 w 10000"/>
                <a:gd name="connsiteY896" fmla="*/ 9712 h 10000"/>
                <a:gd name="connsiteX897" fmla="*/ 1073 w 10000"/>
                <a:gd name="connsiteY897" fmla="*/ 9724 h 10000"/>
                <a:gd name="connsiteX898" fmla="*/ 1098 w 10000"/>
                <a:gd name="connsiteY898" fmla="*/ 9738 h 10000"/>
                <a:gd name="connsiteX899" fmla="*/ 1121 w 10000"/>
                <a:gd name="connsiteY899" fmla="*/ 9750 h 10000"/>
                <a:gd name="connsiteX900" fmla="*/ 1141 w 10000"/>
                <a:gd name="connsiteY900" fmla="*/ 9762 h 10000"/>
                <a:gd name="connsiteX901" fmla="*/ 1159 w 10000"/>
                <a:gd name="connsiteY901" fmla="*/ 9776 h 10000"/>
                <a:gd name="connsiteX902" fmla="*/ 1172 w 10000"/>
                <a:gd name="connsiteY902" fmla="*/ 9787 h 10000"/>
                <a:gd name="connsiteX903" fmla="*/ 1182 w 10000"/>
                <a:gd name="connsiteY903" fmla="*/ 9804 h 10000"/>
                <a:gd name="connsiteX904" fmla="*/ 1194 w 10000"/>
                <a:gd name="connsiteY904" fmla="*/ 9818 h 10000"/>
                <a:gd name="connsiteX905" fmla="*/ 1202 w 10000"/>
                <a:gd name="connsiteY905" fmla="*/ 9834 h 10000"/>
                <a:gd name="connsiteX906" fmla="*/ 1212 w 10000"/>
                <a:gd name="connsiteY906" fmla="*/ 9869 h 10000"/>
                <a:gd name="connsiteX907" fmla="*/ 1220 w 10000"/>
                <a:gd name="connsiteY907" fmla="*/ 9906 h 10000"/>
                <a:gd name="connsiteX908" fmla="*/ 1230 w 10000"/>
                <a:gd name="connsiteY908" fmla="*/ 9951 h 10000"/>
                <a:gd name="connsiteX909" fmla="*/ 1237 w 10000"/>
                <a:gd name="connsiteY909" fmla="*/ 10000 h 10000"/>
                <a:gd name="connsiteX910" fmla="*/ 1237 w 10000"/>
                <a:gd name="connsiteY91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9 w 10000"/>
                <a:gd name="connsiteY736" fmla="*/ 7623 h 10000"/>
                <a:gd name="connsiteX737" fmla="*/ 2684 w 10000"/>
                <a:gd name="connsiteY737" fmla="*/ 7637 h 10000"/>
                <a:gd name="connsiteX738" fmla="*/ 2518 w 10000"/>
                <a:gd name="connsiteY738" fmla="*/ 7693 h 10000"/>
                <a:gd name="connsiteX739" fmla="*/ 2167 w 10000"/>
                <a:gd name="connsiteY739" fmla="*/ 7742 h 10000"/>
                <a:gd name="connsiteX740" fmla="*/ 2159 w 10000"/>
                <a:gd name="connsiteY740" fmla="*/ 7833 h 10000"/>
                <a:gd name="connsiteX741" fmla="*/ 2157 w 10000"/>
                <a:gd name="connsiteY741" fmla="*/ 7882 h 10000"/>
                <a:gd name="connsiteX742" fmla="*/ 2157 w 10000"/>
                <a:gd name="connsiteY742" fmla="*/ 7938 h 10000"/>
                <a:gd name="connsiteX743" fmla="*/ 2159 w 10000"/>
                <a:gd name="connsiteY743" fmla="*/ 8006 h 10000"/>
                <a:gd name="connsiteX744" fmla="*/ 2162 w 10000"/>
                <a:gd name="connsiteY744" fmla="*/ 8079 h 10000"/>
                <a:gd name="connsiteX745" fmla="*/ 2159 w 10000"/>
                <a:gd name="connsiteY745" fmla="*/ 8156 h 10000"/>
                <a:gd name="connsiteX746" fmla="*/ 2157 w 10000"/>
                <a:gd name="connsiteY746" fmla="*/ 8193 h 10000"/>
                <a:gd name="connsiteX747" fmla="*/ 2154 w 10000"/>
                <a:gd name="connsiteY747" fmla="*/ 8228 h 10000"/>
                <a:gd name="connsiteX748" fmla="*/ 2146 w 10000"/>
                <a:gd name="connsiteY748" fmla="*/ 8261 h 10000"/>
                <a:gd name="connsiteX749" fmla="*/ 2136 w 10000"/>
                <a:gd name="connsiteY749" fmla="*/ 8291 h 10000"/>
                <a:gd name="connsiteX750" fmla="*/ 2124 w 10000"/>
                <a:gd name="connsiteY750" fmla="*/ 8319 h 10000"/>
                <a:gd name="connsiteX751" fmla="*/ 2109 w 10000"/>
                <a:gd name="connsiteY751" fmla="*/ 8345 h 10000"/>
                <a:gd name="connsiteX752" fmla="*/ 2098 w 10000"/>
                <a:gd name="connsiteY752" fmla="*/ 8354 h 10000"/>
                <a:gd name="connsiteX753" fmla="*/ 2088 w 10000"/>
                <a:gd name="connsiteY753" fmla="*/ 8364 h 10000"/>
                <a:gd name="connsiteX754" fmla="*/ 2078 w 10000"/>
                <a:gd name="connsiteY754" fmla="*/ 8373 h 10000"/>
                <a:gd name="connsiteX755" fmla="*/ 2063 w 10000"/>
                <a:gd name="connsiteY755" fmla="*/ 8380 h 10000"/>
                <a:gd name="connsiteX756" fmla="*/ 1990 w 10000"/>
                <a:gd name="connsiteY756" fmla="*/ 8422 h 10000"/>
                <a:gd name="connsiteX757" fmla="*/ 1904 w 10000"/>
                <a:gd name="connsiteY757" fmla="*/ 8481 h 10000"/>
                <a:gd name="connsiteX758" fmla="*/ 1856 w 10000"/>
                <a:gd name="connsiteY758" fmla="*/ 8506 h 10000"/>
                <a:gd name="connsiteX759" fmla="*/ 1816 w 10000"/>
                <a:gd name="connsiteY759" fmla="*/ 8527 h 10000"/>
                <a:gd name="connsiteX760" fmla="*/ 1793 w 10000"/>
                <a:gd name="connsiteY760" fmla="*/ 8539 h 10000"/>
                <a:gd name="connsiteX761" fmla="*/ 1775 w 10000"/>
                <a:gd name="connsiteY761" fmla="*/ 8546 h 10000"/>
                <a:gd name="connsiteX762" fmla="*/ 1758 w 10000"/>
                <a:gd name="connsiteY762" fmla="*/ 8548 h 10000"/>
                <a:gd name="connsiteX763" fmla="*/ 1742 w 10000"/>
                <a:gd name="connsiteY763" fmla="*/ 8551 h 10000"/>
                <a:gd name="connsiteX764" fmla="*/ 1727 w 10000"/>
                <a:gd name="connsiteY764" fmla="*/ 8537 h 10000"/>
                <a:gd name="connsiteX765" fmla="*/ 1717 w 10000"/>
                <a:gd name="connsiteY765" fmla="*/ 8518 h 10000"/>
                <a:gd name="connsiteX766" fmla="*/ 1710 w 10000"/>
                <a:gd name="connsiteY766" fmla="*/ 8499 h 10000"/>
                <a:gd name="connsiteX767" fmla="*/ 1702 w 10000"/>
                <a:gd name="connsiteY767" fmla="*/ 8476 h 10000"/>
                <a:gd name="connsiteX768" fmla="*/ 1684 w 10000"/>
                <a:gd name="connsiteY768" fmla="*/ 8429 h 10000"/>
                <a:gd name="connsiteX769" fmla="*/ 1674 w 10000"/>
                <a:gd name="connsiteY769" fmla="*/ 8380 h 10000"/>
                <a:gd name="connsiteX770" fmla="*/ 1667 w 10000"/>
                <a:gd name="connsiteY770" fmla="*/ 8329 h 10000"/>
                <a:gd name="connsiteX771" fmla="*/ 1659 w 10000"/>
                <a:gd name="connsiteY771" fmla="*/ 8282 h 10000"/>
                <a:gd name="connsiteX772" fmla="*/ 1657 w 10000"/>
                <a:gd name="connsiteY772" fmla="*/ 8235 h 10000"/>
                <a:gd name="connsiteX773" fmla="*/ 1657 w 10000"/>
                <a:gd name="connsiteY773" fmla="*/ 8195 h 10000"/>
                <a:gd name="connsiteX774" fmla="*/ 1652 w 10000"/>
                <a:gd name="connsiteY774" fmla="*/ 8191 h 10000"/>
                <a:gd name="connsiteX775" fmla="*/ 1586 w 10000"/>
                <a:gd name="connsiteY775" fmla="*/ 8188 h 10000"/>
                <a:gd name="connsiteX776" fmla="*/ 1525 w 10000"/>
                <a:gd name="connsiteY776" fmla="*/ 8186 h 10000"/>
                <a:gd name="connsiteX777" fmla="*/ 1500 w 10000"/>
                <a:gd name="connsiteY777" fmla="*/ 8191 h 10000"/>
                <a:gd name="connsiteX778" fmla="*/ 1472 w 10000"/>
                <a:gd name="connsiteY778" fmla="*/ 8198 h 10000"/>
                <a:gd name="connsiteX779" fmla="*/ 1457 w 10000"/>
                <a:gd name="connsiteY779" fmla="*/ 8205 h 10000"/>
                <a:gd name="connsiteX780" fmla="*/ 1444 w 10000"/>
                <a:gd name="connsiteY780" fmla="*/ 8212 h 10000"/>
                <a:gd name="connsiteX781" fmla="*/ 1434 w 10000"/>
                <a:gd name="connsiteY781" fmla="*/ 8223 h 10000"/>
                <a:gd name="connsiteX782" fmla="*/ 1419 w 10000"/>
                <a:gd name="connsiteY782" fmla="*/ 8233 h 10000"/>
                <a:gd name="connsiteX783" fmla="*/ 1412 w 10000"/>
                <a:gd name="connsiteY783" fmla="*/ 8247 h 10000"/>
                <a:gd name="connsiteX784" fmla="*/ 1402 w 10000"/>
                <a:gd name="connsiteY784" fmla="*/ 8261 h 10000"/>
                <a:gd name="connsiteX785" fmla="*/ 1394 w 10000"/>
                <a:gd name="connsiteY785" fmla="*/ 8275 h 10000"/>
                <a:gd name="connsiteX786" fmla="*/ 1386 w 10000"/>
                <a:gd name="connsiteY786" fmla="*/ 8294 h 10000"/>
                <a:gd name="connsiteX787" fmla="*/ 1374 w 10000"/>
                <a:gd name="connsiteY787" fmla="*/ 8331 h 10000"/>
                <a:gd name="connsiteX788" fmla="*/ 1361 w 10000"/>
                <a:gd name="connsiteY788" fmla="*/ 8368 h 10000"/>
                <a:gd name="connsiteX789" fmla="*/ 1354 w 10000"/>
                <a:gd name="connsiteY789" fmla="*/ 8387 h 10000"/>
                <a:gd name="connsiteX790" fmla="*/ 1346 w 10000"/>
                <a:gd name="connsiteY790" fmla="*/ 8406 h 10000"/>
                <a:gd name="connsiteX791" fmla="*/ 1338 w 10000"/>
                <a:gd name="connsiteY791" fmla="*/ 8420 h 10000"/>
                <a:gd name="connsiteX792" fmla="*/ 1328 w 10000"/>
                <a:gd name="connsiteY792" fmla="*/ 8436 h 10000"/>
                <a:gd name="connsiteX793" fmla="*/ 1316 w 10000"/>
                <a:gd name="connsiteY793" fmla="*/ 8446 h 10000"/>
                <a:gd name="connsiteX794" fmla="*/ 1306 w 10000"/>
                <a:gd name="connsiteY794" fmla="*/ 8453 h 10000"/>
                <a:gd name="connsiteX795" fmla="*/ 1293 w 10000"/>
                <a:gd name="connsiteY795" fmla="*/ 8460 h 10000"/>
                <a:gd name="connsiteX796" fmla="*/ 1275 w 10000"/>
                <a:gd name="connsiteY796" fmla="*/ 8460 h 10000"/>
                <a:gd name="connsiteX797" fmla="*/ 1265 w 10000"/>
                <a:gd name="connsiteY797" fmla="*/ 8450 h 10000"/>
                <a:gd name="connsiteX798" fmla="*/ 1258 w 10000"/>
                <a:gd name="connsiteY798" fmla="*/ 8441 h 10000"/>
                <a:gd name="connsiteX799" fmla="*/ 1245 w 10000"/>
                <a:gd name="connsiteY799" fmla="*/ 8424 h 10000"/>
                <a:gd name="connsiteX800" fmla="*/ 1237 w 10000"/>
                <a:gd name="connsiteY800" fmla="*/ 8408 h 10000"/>
                <a:gd name="connsiteX801" fmla="*/ 1217 w 10000"/>
                <a:gd name="connsiteY801" fmla="*/ 8373 h 10000"/>
                <a:gd name="connsiteX802" fmla="*/ 1202 w 10000"/>
                <a:gd name="connsiteY802" fmla="*/ 8333 h 10000"/>
                <a:gd name="connsiteX803" fmla="*/ 1182 w 10000"/>
                <a:gd name="connsiteY803" fmla="*/ 8296 h 10000"/>
                <a:gd name="connsiteX804" fmla="*/ 1162 w 10000"/>
                <a:gd name="connsiteY804" fmla="*/ 8268 h 10000"/>
                <a:gd name="connsiteX805" fmla="*/ 1149 w 10000"/>
                <a:gd name="connsiteY805" fmla="*/ 8256 h 10000"/>
                <a:gd name="connsiteX806" fmla="*/ 1139 w 10000"/>
                <a:gd name="connsiteY806" fmla="*/ 8249 h 10000"/>
                <a:gd name="connsiteX807" fmla="*/ 1126 w 10000"/>
                <a:gd name="connsiteY807" fmla="*/ 8240 h 10000"/>
                <a:gd name="connsiteX808" fmla="*/ 1114 w 10000"/>
                <a:gd name="connsiteY808" fmla="*/ 8240 h 10000"/>
                <a:gd name="connsiteX809" fmla="*/ 1091 w 10000"/>
                <a:gd name="connsiteY809" fmla="*/ 8242 h 10000"/>
                <a:gd name="connsiteX810" fmla="*/ 1071 w 10000"/>
                <a:gd name="connsiteY810" fmla="*/ 8252 h 10000"/>
                <a:gd name="connsiteX811" fmla="*/ 1048 w 10000"/>
                <a:gd name="connsiteY811" fmla="*/ 8261 h 10000"/>
                <a:gd name="connsiteX812" fmla="*/ 1030 w 10000"/>
                <a:gd name="connsiteY812" fmla="*/ 8273 h 10000"/>
                <a:gd name="connsiteX813" fmla="*/ 1010 w 10000"/>
                <a:gd name="connsiteY813" fmla="*/ 8287 h 10000"/>
                <a:gd name="connsiteX814" fmla="*/ 995 w 10000"/>
                <a:gd name="connsiteY814" fmla="*/ 8303 h 10000"/>
                <a:gd name="connsiteX815" fmla="*/ 975 w 10000"/>
                <a:gd name="connsiteY815" fmla="*/ 8322 h 10000"/>
                <a:gd name="connsiteX816" fmla="*/ 960 w 10000"/>
                <a:gd name="connsiteY816" fmla="*/ 8343 h 10000"/>
                <a:gd name="connsiteX817" fmla="*/ 927 w 10000"/>
                <a:gd name="connsiteY817" fmla="*/ 8380 h 10000"/>
                <a:gd name="connsiteX818" fmla="*/ 891 w 10000"/>
                <a:gd name="connsiteY818" fmla="*/ 8417 h 10000"/>
                <a:gd name="connsiteX819" fmla="*/ 874 w 10000"/>
                <a:gd name="connsiteY819" fmla="*/ 8436 h 10000"/>
                <a:gd name="connsiteX820" fmla="*/ 859 w 10000"/>
                <a:gd name="connsiteY820" fmla="*/ 8450 h 10000"/>
                <a:gd name="connsiteX821" fmla="*/ 838 w 10000"/>
                <a:gd name="connsiteY821" fmla="*/ 8462 h 10000"/>
                <a:gd name="connsiteX822" fmla="*/ 821 w 10000"/>
                <a:gd name="connsiteY822" fmla="*/ 8476 h 10000"/>
                <a:gd name="connsiteX823" fmla="*/ 742 w 10000"/>
                <a:gd name="connsiteY823" fmla="*/ 8562 h 10000"/>
                <a:gd name="connsiteX824" fmla="*/ 672 w 10000"/>
                <a:gd name="connsiteY824" fmla="*/ 8644 h 10000"/>
                <a:gd name="connsiteX825" fmla="*/ 639 w 10000"/>
                <a:gd name="connsiteY825" fmla="*/ 8684 h 10000"/>
                <a:gd name="connsiteX826" fmla="*/ 609 w 10000"/>
                <a:gd name="connsiteY826" fmla="*/ 8731 h 10000"/>
                <a:gd name="connsiteX827" fmla="*/ 583 w 10000"/>
                <a:gd name="connsiteY827" fmla="*/ 8777 h 10000"/>
                <a:gd name="connsiteX828" fmla="*/ 556 w 10000"/>
                <a:gd name="connsiteY828" fmla="*/ 8831 h 10000"/>
                <a:gd name="connsiteX829" fmla="*/ 545 w 10000"/>
                <a:gd name="connsiteY829" fmla="*/ 8852 h 10000"/>
                <a:gd name="connsiteX830" fmla="*/ 525 w 10000"/>
                <a:gd name="connsiteY830" fmla="*/ 8885 h 10000"/>
                <a:gd name="connsiteX831" fmla="*/ 503 w 10000"/>
                <a:gd name="connsiteY831" fmla="*/ 8925 h 10000"/>
                <a:gd name="connsiteX832" fmla="*/ 480 w 10000"/>
                <a:gd name="connsiteY832" fmla="*/ 8962 h 10000"/>
                <a:gd name="connsiteX833" fmla="*/ 465 w 10000"/>
                <a:gd name="connsiteY833" fmla="*/ 8981 h 10000"/>
                <a:gd name="connsiteX834" fmla="*/ 455 w 10000"/>
                <a:gd name="connsiteY834" fmla="*/ 8993 h 10000"/>
                <a:gd name="connsiteX835" fmla="*/ 444 w 10000"/>
                <a:gd name="connsiteY835" fmla="*/ 9000 h 10000"/>
                <a:gd name="connsiteX836" fmla="*/ 434 w 10000"/>
                <a:gd name="connsiteY836" fmla="*/ 9007 h 10000"/>
                <a:gd name="connsiteX837" fmla="*/ 432 w 10000"/>
                <a:gd name="connsiteY837" fmla="*/ 9007 h 10000"/>
                <a:gd name="connsiteX838" fmla="*/ 429 w 10000"/>
                <a:gd name="connsiteY838" fmla="*/ 9004 h 10000"/>
                <a:gd name="connsiteX839" fmla="*/ 427 w 10000"/>
                <a:gd name="connsiteY839" fmla="*/ 8997 h 10000"/>
                <a:gd name="connsiteX840" fmla="*/ 427 w 10000"/>
                <a:gd name="connsiteY840" fmla="*/ 8993 h 10000"/>
                <a:gd name="connsiteX841" fmla="*/ 424 w 10000"/>
                <a:gd name="connsiteY841" fmla="*/ 8976 h 10000"/>
                <a:gd name="connsiteX842" fmla="*/ 427 w 10000"/>
                <a:gd name="connsiteY842" fmla="*/ 8948 h 10000"/>
                <a:gd name="connsiteX843" fmla="*/ 437 w 10000"/>
                <a:gd name="connsiteY843" fmla="*/ 8913 h 10000"/>
                <a:gd name="connsiteX844" fmla="*/ 455 w 10000"/>
                <a:gd name="connsiteY844" fmla="*/ 8859 h 10000"/>
                <a:gd name="connsiteX845" fmla="*/ 462 w 10000"/>
                <a:gd name="connsiteY845" fmla="*/ 8834 h 10000"/>
                <a:gd name="connsiteX846" fmla="*/ 470 w 10000"/>
                <a:gd name="connsiteY846" fmla="*/ 8810 h 10000"/>
                <a:gd name="connsiteX847" fmla="*/ 472 w 10000"/>
                <a:gd name="connsiteY847" fmla="*/ 8794 h 10000"/>
                <a:gd name="connsiteX848" fmla="*/ 472 w 10000"/>
                <a:gd name="connsiteY848" fmla="*/ 8780 h 10000"/>
                <a:gd name="connsiteX849" fmla="*/ 462 w 10000"/>
                <a:gd name="connsiteY849" fmla="*/ 8784 h 10000"/>
                <a:gd name="connsiteX850" fmla="*/ 452 w 10000"/>
                <a:gd name="connsiteY850" fmla="*/ 8787 h 10000"/>
                <a:gd name="connsiteX851" fmla="*/ 437 w 10000"/>
                <a:gd name="connsiteY851" fmla="*/ 8794 h 10000"/>
                <a:gd name="connsiteX852" fmla="*/ 424 w 10000"/>
                <a:gd name="connsiteY852" fmla="*/ 8803 h 10000"/>
                <a:gd name="connsiteX853" fmla="*/ 394 w 10000"/>
                <a:gd name="connsiteY853" fmla="*/ 8829 h 10000"/>
                <a:gd name="connsiteX854" fmla="*/ 364 w 10000"/>
                <a:gd name="connsiteY854" fmla="*/ 8859 h 10000"/>
                <a:gd name="connsiteX855" fmla="*/ 311 w 10000"/>
                <a:gd name="connsiteY855" fmla="*/ 8922 h 10000"/>
                <a:gd name="connsiteX856" fmla="*/ 268 w 10000"/>
                <a:gd name="connsiteY856" fmla="*/ 8964 h 10000"/>
                <a:gd name="connsiteX857" fmla="*/ 205 w 10000"/>
                <a:gd name="connsiteY857" fmla="*/ 9016 h 10000"/>
                <a:gd name="connsiteX858" fmla="*/ 146 w 10000"/>
                <a:gd name="connsiteY858" fmla="*/ 9053 h 10000"/>
                <a:gd name="connsiteX859" fmla="*/ 139 w 10000"/>
                <a:gd name="connsiteY859" fmla="*/ 9063 h 10000"/>
                <a:gd name="connsiteX860" fmla="*/ 129 w 10000"/>
                <a:gd name="connsiteY860" fmla="*/ 9077 h 10000"/>
                <a:gd name="connsiteX861" fmla="*/ 126 w 10000"/>
                <a:gd name="connsiteY861" fmla="*/ 9086 h 10000"/>
                <a:gd name="connsiteX862" fmla="*/ 126 w 10000"/>
                <a:gd name="connsiteY862" fmla="*/ 9102 h 10000"/>
                <a:gd name="connsiteX863" fmla="*/ 129 w 10000"/>
                <a:gd name="connsiteY863" fmla="*/ 9116 h 10000"/>
                <a:gd name="connsiteX864" fmla="*/ 139 w 10000"/>
                <a:gd name="connsiteY864" fmla="*/ 9135 h 10000"/>
                <a:gd name="connsiteX865" fmla="*/ 149 w 10000"/>
                <a:gd name="connsiteY865" fmla="*/ 9151 h 10000"/>
                <a:gd name="connsiteX866" fmla="*/ 164 w 10000"/>
                <a:gd name="connsiteY866" fmla="*/ 9175 h 10000"/>
                <a:gd name="connsiteX867" fmla="*/ 184 w 10000"/>
                <a:gd name="connsiteY867" fmla="*/ 9196 h 10000"/>
                <a:gd name="connsiteX868" fmla="*/ 207 w 10000"/>
                <a:gd name="connsiteY868" fmla="*/ 9215 h 10000"/>
                <a:gd name="connsiteX869" fmla="*/ 227 w 10000"/>
                <a:gd name="connsiteY869" fmla="*/ 9233 h 10000"/>
                <a:gd name="connsiteX870" fmla="*/ 253 w 10000"/>
                <a:gd name="connsiteY870" fmla="*/ 9250 h 10000"/>
                <a:gd name="connsiteX871" fmla="*/ 303 w 10000"/>
                <a:gd name="connsiteY871" fmla="*/ 9282 h 10000"/>
                <a:gd name="connsiteX872" fmla="*/ 351 w 10000"/>
                <a:gd name="connsiteY872" fmla="*/ 9315 h 10000"/>
                <a:gd name="connsiteX873" fmla="*/ 414 w 10000"/>
                <a:gd name="connsiteY873" fmla="*/ 9364 h 10000"/>
                <a:gd name="connsiteX874" fmla="*/ 480 w 10000"/>
                <a:gd name="connsiteY874" fmla="*/ 9416 h 10000"/>
                <a:gd name="connsiteX875" fmla="*/ 513 w 10000"/>
                <a:gd name="connsiteY875" fmla="*/ 9437 h 10000"/>
                <a:gd name="connsiteX876" fmla="*/ 548 w 10000"/>
                <a:gd name="connsiteY876" fmla="*/ 9462 h 10000"/>
                <a:gd name="connsiteX877" fmla="*/ 581 w 10000"/>
                <a:gd name="connsiteY877" fmla="*/ 9483 h 10000"/>
                <a:gd name="connsiteX878" fmla="*/ 614 w 10000"/>
                <a:gd name="connsiteY878" fmla="*/ 9502 h 10000"/>
                <a:gd name="connsiteX879" fmla="*/ 641 w 10000"/>
                <a:gd name="connsiteY879" fmla="*/ 9525 h 10000"/>
                <a:gd name="connsiteX880" fmla="*/ 672 w 10000"/>
                <a:gd name="connsiteY880" fmla="*/ 9549 h 10000"/>
                <a:gd name="connsiteX881" fmla="*/ 702 w 10000"/>
                <a:gd name="connsiteY881" fmla="*/ 9568 h 10000"/>
                <a:gd name="connsiteX882" fmla="*/ 737 w 10000"/>
                <a:gd name="connsiteY882" fmla="*/ 9589 h 10000"/>
                <a:gd name="connsiteX883" fmla="*/ 770 w 10000"/>
                <a:gd name="connsiteY883" fmla="*/ 9605 h 10000"/>
                <a:gd name="connsiteX884" fmla="*/ 808 w 10000"/>
                <a:gd name="connsiteY884" fmla="*/ 9617 h 10000"/>
                <a:gd name="connsiteX885" fmla="*/ 843 w 10000"/>
                <a:gd name="connsiteY885" fmla="*/ 9624 h 10000"/>
                <a:gd name="connsiteX886" fmla="*/ 884 w 10000"/>
                <a:gd name="connsiteY886" fmla="*/ 9628 h 10000"/>
                <a:gd name="connsiteX887" fmla="*/ 902 w 10000"/>
                <a:gd name="connsiteY887" fmla="*/ 9628 h 10000"/>
                <a:gd name="connsiteX888" fmla="*/ 914 w 10000"/>
                <a:gd name="connsiteY888" fmla="*/ 9631 h 10000"/>
                <a:gd name="connsiteX889" fmla="*/ 932 w 10000"/>
                <a:gd name="connsiteY889" fmla="*/ 9638 h 10000"/>
                <a:gd name="connsiteX890" fmla="*/ 942 w 10000"/>
                <a:gd name="connsiteY890" fmla="*/ 9642 h 10000"/>
                <a:gd name="connsiteX891" fmla="*/ 967 w 10000"/>
                <a:gd name="connsiteY891" fmla="*/ 9652 h 10000"/>
                <a:gd name="connsiteX892" fmla="*/ 987 w 10000"/>
                <a:gd name="connsiteY892" fmla="*/ 9668 h 10000"/>
                <a:gd name="connsiteX893" fmla="*/ 1005 w 10000"/>
                <a:gd name="connsiteY893" fmla="*/ 9682 h 10000"/>
                <a:gd name="connsiteX894" fmla="*/ 1025 w 10000"/>
                <a:gd name="connsiteY894" fmla="*/ 9698 h 10000"/>
                <a:gd name="connsiteX895" fmla="*/ 1045 w 10000"/>
                <a:gd name="connsiteY895" fmla="*/ 9712 h 10000"/>
                <a:gd name="connsiteX896" fmla="*/ 1073 w 10000"/>
                <a:gd name="connsiteY896" fmla="*/ 9724 h 10000"/>
                <a:gd name="connsiteX897" fmla="*/ 1098 w 10000"/>
                <a:gd name="connsiteY897" fmla="*/ 9738 h 10000"/>
                <a:gd name="connsiteX898" fmla="*/ 1121 w 10000"/>
                <a:gd name="connsiteY898" fmla="*/ 9750 h 10000"/>
                <a:gd name="connsiteX899" fmla="*/ 1141 w 10000"/>
                <a:gd name="connsiteY899" fmla="*/ 9762 h 10000"/>
                <a:gd name="connsiteX900" fmla="*/ 1159 w 10000"/>
                <a:gd name="connsiteY900" fmla="*/ 9776 h 10000"/>
                <a:gd name="connsiteX901" fmla="*/ 1172 w 10000"/>
                <a:gd name="connsiteY901" fmla="*/ 9787 h 10000"/>
                <a:gd name="connsiteX902" fmla="*/ 1182 w 10000"/>
                <a:gd name="connsiteY902" fmla="*/ 9804 h 10000"/>
                <a:gd name="connsiteX903" fmla="*/ 1194 w 10000"/>
                <a:gd name="connsiteY903" fmla="*/ 9818 h 10000"/>
                <a:gd name="connsiteX904" fmla="*/ 1202 w 10000"/>
                <a:gd name="connsiteY904" fmla="*/ 9834 h 10000"/>
                <a:gd name="connsiteX905" fmla="*/ 1212 w 10000"/>
                <a:gd name="connsiteY905" fmla="*/ 9869 h 10000"/>
                <a:gd name="connsiteX906" fmla="*/ 1220 w 10000"/>
                <a:gd name="connsiteY906" fmla="*/ 9906 h 10000"/>
                <a:gd name="connsiteX907" fmla="*/ 1230 w 10000"/>
                <a:gd name="connsiteY907" fmla="*/ 9951 h 10000"/>
                <a:gd name="connsiteX908" fmla="*/ 1237 w 10000"/>
                <a:gd name="connsiteY908" fmla="*/ 10000 h 10000"/>
                <a:gd name="connsiteX909" fmla="*/ 1237 w 10000"/>
                <a:gd name="connsiteY90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402 w 10000"/>
                <a:gd name="connsiteY783" fmla="*/ 8261 h 10000"/>
                <a:gd name="connsiteX784" fmla="*/ 1394 w 10000"/>
                <a:gd name="connsiteY784" fmla="*/ 8275 h 10000"/>
                <a:gd name="connsiteX785" fmla="*/ 1386 w 10000"/>
                <a:gd name="connsiteY785" fmla="*/ 8294 h 10000"/>
                <a:gd name="connsiteX786" fmla="*/ 1374 w 10000"/>
                <a:gd name="connsiteY786" fmla="*/ 8331 h 10000"/>
                <a:gd name="connsiteX787" fmla="*/ 1361 w 10000"/>
                <a:gd name="connsiteY787" fmla="*/ 8368 h 10000"/>
                <a:gd name="connsiteX788" fmla="*/ 1354 w 10000"/>
                <a:gd name="connsiteY788" fmla="*/ 8387 h 10000"/>
                <a:gd name="connsiteX789" fmla="*/ 1346 w 10000"/>
                <a:gd name="connsiteY789" fmla="*/ 8406 h 10000"/>
                <a:gd name="connsiteX790" fmla="*/ 1338 w 10000"/>
                <a:gd name="connsiteY790" fmla="*/ 8420 h 10000"/>
                <a:gd name="connsiteX791" fmla="*/ 1328 w 10000"/>
                <a:gd name="connsiteY791" fmla="*/ 8436 h 10000"/>
                <a:gd name="connsiteX792" fmla="*/ 1316 w 10000"/>
                <a:gd name="connsiteY792" fmla="*/ 8446 h 10000"/>
                <a:gd name="connsiteX793" fmla="*/ 1306 w 10000"/>
                <a:gd name="connsiteY793" fmla="*/ 8453 h 10000"/>
                <a:gd name="connsiteX794" fmla="*/ 1293 w 10000"/>
                <a:gd name="connsiteY794" fmla="*/ 8460 h 10000"/>
                <a:gd name="connsiteX795" fmla="*/ 1275 w 10000"/>
                <a:gd name="connsiteY795" fmla="*/ 8460 h 10000"/>
                <a:gd name="connsiteX796" fmla="*/ 1265 w 10000"/>
                <a:gd name="connsiteY796" fmla="*/ 8450 h 10000"/>
                <a:gd name="connsiteX797" fmla="*/ 1258 w 10000"/>
                <a:gd name="connsiteY797" fmla="*/ 8441 h 10000"/>
                <a:gd name="connsiteX798" fmla="*/ 1245 w 10000"/>
                <a:gd name="connsiteY798" fmla="*/ 8424 h 10000"/>
                <a:gd name="connsiteX799" fmla="*/ 1237 w 10000"/>
                <a:gd name="connsiteY799" fmla="*/ 8408 h 10000"/>
                <a:gd name="connsiteX800" fmla="*/ 1217 w 10000"/>
                <a:gd name="connsiteY800" fmla="*/ 8373 h 10000"/>
                <a:gd name="connsiteX801" fmla="*/ 1202 w 10000"/>
                <a:gd name="connsiteY801" fmla="*/ 8333 h 10000"/>
                <a:gd name="connsiteX802" fmla="*/ 1182 w 10000"/>
                <a:gd name="connsiteY802" fmla="*/ 8296 h 10000"/>
                <a:gd name="connsiteX803" fmla="*/ 1162 w 10000"/>
                <a:gd name="connsiteY803" fmla="*/ 8268 h 10000"/>
                <a:gd name="connsiteX804" fmla="*/ 1149 w 10000"/>
                <a:gd name="connsiteY804" fmla="*/ 8256 h 10000"/>
                <a:gd name="connsiteX805" fmla="*/ 1139 w 10000"/>
                <a:gd name="connsiteY805" fmla="*/ 8249 h 10000"/>
                <a:gd name="connsiteX806" fmla="*/ 1126 w 10000"/>
                <a:gd name="connsiteY806" fmla="*/ 8240 h 10000"/>
                <a:gd name="connsiteX807" fmla="*/ 1114 w 10000"/>
                <a:gd name="connsiteY807" fmla="*/ 8240 h 10000"/>
                <a:gd name="connsiteX808" fmla="*/ 1091 w 10000"/>
                <a:gd name="connsiteY808" fmla="*/ 8242 h 10000"/>
                <a:gd name="connsiteX809" fmla="*/ 1071 w 10000"/>
                <a:gd name="connsiteY809" fmla="*/ 8252 h 10000"/>
                <a:gd name="connsiteX810" fmla="*/ 1048 w 10000"/>
                <a:gd name="connsiteY810" fmla="*/ 8261 h 10000"/>
                <a:gd name="connsiteX811" fmla="*/ 1030 w 10000"/>
                <a:gd name="connsiteY811" fmla="*/ 8273 h 10000"/>
                <a:gd name="connsiteX812" fmla="*/ 1010 w 10000"/>
                <a:gd name="connsiteY812" fmla="*/ 8287 h 10000"/>
                <a:gd name="connsiteX813" fmla="*/ 995 w 10000"/>
                <a:gd name="connsiteY813" fmla="*/ 8303 h 10000"/>
                <a:gd name="connsiteX814" fmla="*/ 975 w 10000"/>
                <a:gd name="connsiteY814" fmla="*/ 8322 h 10000"/>
                <a:gd name="connsiteX815" fmla="*/ 960 w 10000"/>
                <a:gd name="connsiteY815" fmla="*/ 8343 h 10000"/>
                <a:gd name="connsiteX816" fmla="*/ 927 w 10000"/>
                <a:gd name="connsiteY816" fmla="*/ 8380 h 10000"/>
                <a:gd name="connsiteX817" fmla="*/ 891 w 10000"/>
                <a:gd name="connsiteY817" fmla="*/ 8417 h 10000"/>
                <a:gd name="connsiteX818" fmla="*/ 874 w 10000"/>
                <a:gd name="connsiteY818" fmla="*/ 8436 h 10000"/>
                <a:gd name="connsiteX819" fmla="*/ 859 w 10000"/>
                <a:gd name="connsiteY819" fmla="*/ 8450 h 10000"/>
                <a:gd name="connsiteX820" fmla="*/ 838 w 10000"/>
                <a:gd name="connsiteY820" fmla="*/ 8462 h 10000"/>
                <a:gd name="connsiteX821" fmla="*/ 821 w 10000"/>
                <a:gd name="connsiteY821" fmla="*/ 8476 h 10000"/>
                <a:gd name="connsiteX822" fmla="*/ 742 w 10000"/>
                <a:gd name="connsiteY822" fmla="*/ 8562 h 10000"/>
                <a:gd name="connsiteX823" fmla="*/ 672 w 10000"/>
                <a:gd name="connsiteY823" fmla="*/ 8644 h 10000"/>
                <a:gd name="connsiteX824" fmla="*/ 639 w 10000"/>
                <a:gd name="connsiteY824" fmla="*/ 8684 h 10000"/>
                <a:gd name="connsiteX825" fmla="*/ 609 w 10000"/>
                <a:gd name="connsiteY825" fmla="*/ 8731 h 10000"/>
                <a:gd name="connsiteX826" fmla="*/ 583 w 10000"/>
                <a:gd name="connsiteY826" fmla="*/ 8777 h 10000"/>
                <a:gd name="connsiteX827" fmla="*/ 556 w 10000"/>
                <a:gd name="connsiteY827" fmla="*/ 8831 h 10000"/>
                <a:gd name="connsiteX828" fmla="*/ 545 w 10000"/>
                <a:gd name="connsiteY828" fmla="*/ 8852 h 10000"/>
                <a:gd name="connsiteX829" fmla="*/ 525 w 10000"/>
                <a:gd name="connsiteY829" fmla="*/ 8885 h 10000"/>
                <a:gd name="connsiteX830" fmla="*/ 503 w 10000"/>
                <a:gd name="connsiteY830" fmla="*/ 8925 h 10000"/>
                <a:gd name="connsiteX831" fmla="*/ 480 w 10000"/>
                <a:gd name="connsiteY831" fmla="*/ 8962 h 10000"/>
                <a:gd name="connsiteX832" fmla="*/ 465 w 10000"/>
                <a:gd name="connsiteY832" fmla="*/ 8981 h 10000"/>
                <a:gd name="connsiteX833" fmla="*/ 455 w 10000"/>
                <a:gd name="connsiteY833" fmla="*/ 8993 h 10000"/>
                <a:gd name="connsiteX834" fmla="*/ 444 w 10000"/>
                <a:gd name="connsiteY834" fmla="*/ 9000 h 10000"/>
                <a:gd name="connsiteX835" fmla="*/ 434 w 10000"/>
                <a:gd name="connsiteY835" fmla="*/ 9007 h 10000"/>
                <a:gd name="connsiteX836" fmla="*/ 432 w 10000"/>
                <a:gd name="connsiteY836" fmla="*/ 9007 h 10000"/>
                <a:gd name="connsiteX837" fmla="*/ 429 w 10000"/>
                <a:gd name="connsiteY837" fmla="*/ 9004 h 10000"/>
                <a:gd name="connsiteX838" fmla="*/ 427 w 10000"/>
                <a:gd name="connsiteY838" fmla="*/ 8997 h 10000"/>
                <a:gd name="connsiteX839" fmla="*/ 427 w 10000"/>
                <a:gd name="connsiteY839" fmla="*/ 8993 h 10000"/>
                <a:gd name="connsiteX840" fmla="*/ 424 w 10000"/>
                <a:gd name="connsiteY840" fmla="*/ 8976 h 10000"/>
                <a:gd name="connsiteX841" fmla="*/ 427 w 10000"/>
                <a:gd name="connsiteY841" fmla="*/ 8948 h 10000"/>
                <a:gd name="connsiteX842" fmla="*/ 437 w 10000"/>
                <a:gd name="connsiteY842" fmla="*/ 8913 h 10000"/>
                <a:gd name="connsiteX843" fmla="*/ 455 w 10000"/>
                <a:gd name="connsiteY843" fmla="*/ 8859 h 10000"/>
                <a:gd name="connsiteX844" fmla="*/ 462 w 10000"/>
                <a:gd name="connsiteY844" fmla="*/ 8834 h 10000"/>
                <a:gd name="connsiteX845" fmla="*/ 470 w 10000"/>
                <a:gd name="connsiteY845" fmla="*/ 8810 h 10000"/>
                <a:gd name="connsiteX846" fmla="*/ 472 w 10000"/>
                <a:gd name="connsiteY846" fmla="*/ 8794 h 10000"/>
                <a:gd name="connsiteX847" fmla="*/ 472 w 10000"/>
                <a:gd name="connsiteY847" fmla="*/ 8780 h 10000"/>
                <a:gd name="connsiteX848" fmla="*/ 462 w 10000"/>
                <a:gd name="connsiteY848" fmla="*/ 8784 h 10000"/>
                <a:gd name="connsiteX849" fmla="*/ 452 w 10000"/>
                <a:gd name="connsiteY849" fmla="*/ 8787 h 10000"/>
                <a:gd name="connsiteX850" fmla="*/ 437 w 10000"/>
                <a:gd name="connsiteY850" fmla="*/ 8794 h 10000"/>
                <a:gd name="connsiteX851" fmla="*/ 424 w 10000"/>
                <a:gd name="connsiteY851" fmla="*/ 8803 h 10000"/>
                <a:gd name="connsiteX852" fmla="*/ 394 w 10000"/>
                <a:gd name="connsiteY852" fmla="*/ 8829 h 10000"/>
                <a:gd name="connsiteX853" fmla="*/ 364 w 10000"/>
                <a:gd name="connsiteY853" fmla="*/ 8859 h 10000"/>
                <a:gd name="connsiteX854" fmla="*/ 311 w 10000"/>
                <a:gd name="connsiteY854" fmla="*/ 8922 h 10000"/>
                <a:gd name="connsiteX855" fmla="*/ 268 w 10000"/>
                <a:gd name="connsiteY855" fmla="*/ 8964 h 10000"/>
                <a:gd name="connsiteX856" fmla="*/ 205 w 10000"/>
                <a:gd name="connsiteY856" fmla="*/ 9016 h 10000"/>
                <a:gd name="connsiteX857" fmla="*/ 146 w 10000"/>
                <a:gd name="connsiteY857" fmla="*/ 9053 h 10000"/>
                <a:gd name="connsiteX858" fmla="*/ 139 w 10000"/>
                <a:gd name="connsiteY858" fmla="*/ 9063 h 10000"/>
                <a:gd name="connsiteX859" fmla="*/ 129 w 10000"/>
                <a:gd name="connsiteY859" fmla="*/ 9077 h 10000"/>
                <a:gd name="connsiteX860" fmla="*/ 126 w 10000"/>
                <a:gd name="connsiteY860" fmla="*/ 9086 h 10000"/>
                <a:gd name="connsiteX861" fmla="*/ 126 w 10000"/>
                <a:gd name="connsiteY861" fmla="*/ 9102 h 10000"/>
                <a:gd name="connsiteX862" fmla="*/ 129 w 10000"/>
                <a:gd name="connsiteY862" fmla="*/ 9116 h 10000"/>
                <a:gd name="connsiteX863" fmla="*/ 139 w 10000"/>
                <a:gd name="connsiteY863" fmla="*/ 9135 h 10000"/>
                <a:gd name="connsiteX864" fmla="*/ 149 w 10000"/>
                <a:gd name="connsiteY864" fmla="*/ 9151 h 10000"/>
                <a:gd name="connsiteX865" fmla="*/ 164 w 10000"/>
                <a:gd name="connsiteY865" fmla="*/ 9175 h 10000"/>
                <a:gd name="connsiteX866" fmla="*/ 184 w 10000"/>
                <a:gd name="connsiteY866" fmla="*/ 9196 h 10000"/>
                <a:gd name="connsiteX867" fmla="*/ 207 w 10000"/>
                <a:gd name="connsiteY867" fmla="*/ 9215 h 10000"/>
                <a:gd name="connsiteX868" fmla="*/ 227 w 10000"/>
                <a:gd name="connsiteY868" fmla="*/ 9233 h 10000"/>
                <a:gd name="connsiteX869" fmla="*/ 253 w 10000"/>
                <a:gd name="connsiteY869" fmla="*/ 9250 h 10000"/>
                <a:gd name="connsiteX870" fmla="*/ 303 w 10000"/>
                <a:gd name="connsiteY870" fmla="*/ 9282 h 10000"/>
                <a:gd name="connsiteX871" fmla="*/ 351 w 10000"/>
                <a:gd name="connsiteY871" fmla="*/ 9315 h 10000"/>
                <a:gd name="connsiteX872" fmla="*/ 414 w 10000"/>
                <a:gd name="connsiteY872" fmla="*/ 9364 h 10000"/>
                <a:gd name="connsiteX873" fmla="*/ 480 w 10000"/>
                <a:gd name="connsiteY873" fmla="*/ 9416 h 10000"/>
                <a:gd name="connsiteX874" fmla="*/ 513 w 10000"/>
                <a:gd name="connsiteY874" fmla="*/ 9437 h 10000"/>
                <a:gd name="connsiteX875" fmla="*/ 548 w 10000"/>
                <a:gd name="connsiteY875" fmla="*/ 9462 h 10000"/>
                <a:gd name="connsiteX876" fmla="*/ 581 w 10000"/>
                <a:gd name="connsiteY876" fmla="*/ 9483 h 10000"/>
                <a:gd name="connsiteX877" fmla="*/ 614 w 10000"/>
                <a:gd name="connsiteY877" fmla="*/ 9502 h 10000"/>
                <a:gd name="connsiteX878" fmla="*/ 641 w 10000"/>
                <a:gd name="connsiteY878" fmla="*/ 9525 h 10000"/>
                <a:gd name="connsiteX879" fmla="*/ 672 w 10000"/>
                <a:gd name="connsiteY879" fmla="*/ 9549 h 10000"/>
                <a:gd name="connsiteX880" fmla="*/ 702 w 10000"/>
                <a:gd name="connsiteY880" fmla="*/ 9568 h 10000"/>
                <a:gd name="connsiteX881" fmla="*/ 737 w 10000"/>
                <a:gd name="connsiteY881" fmla="*/ 9589 h 10000"/>
                <a:gd name="connsiteX882" fmla="*/ 770 w 10000"/>
                <a:gd name="connsiteY882" fmla="*/ 9605 h 10000"/>
                <a:gd name="connsiteX883" fmla="*/ 808 w 10000"/>
                <a:gd name="connsiteY883" fmla="*/ 9617 h 10000"/>
                <a:gd name="connsiteX884" fmla="*/ 843 w 10000"/>
                <a:gd name="connsiteY884" fmla="*/ 9624 h 10000"/>
                <a:gd name="connsiteX885" fmla="*/ 884 w 10000"/>
                <a:gd name="connsiteY885" fmla="*/ 9628 h 10000"/>
                <a:gd name="connsiteX886" fmla="*/ 902 w 10000"/>
                <a:gd name="connsiteY886" fmla="*/ 9628 h 10000"/>
                <a:gd name="connsiteX887" fmla="*/ 914 w 10000"/>
                <a:gd name="connsiteY887" fmla="*/ 9631 h 10000"/>
                <a:gd name="connsiteX888" fmla="*/ 932 w 10000"/>
                <a:gd name="connsiteY888" fmla="*/ 9638 h 10000"/>
                <a:gd name="connsiteX889" fmla="*/ 942 w 10000"/>
                <a:gd name="connsiteY889" fmla="*/ 9642 h 10000"/>
                <a:gd name="connsiteX890" fmla="*/ 967 w 10000"/>
                <a:gd name="connsiteY890" fmla="*/ 9652 h 10000"/>
                <a:gd name="connsiteX891" fmla="*/ 987 w 10000"/>
                <a:gd name="connsiteY891" fmla="*/ 9668 h 10000"/>
                <a:gd name="connsiteX892" fmla="*/ 1005 w 10000"/>
                <a:gd name="connsiteY892" fmla="*/ 9682 h 10000"/>
                <a:gd name="connsiteX893" fmla="*/ 1025 w 10000"/>
                <a:gd name="connsiteY893" fmla="*/ 9698 h 10000"/>
                <a:gd name="connsiteX894" fmla="*/ 1045 w 10000"/>
                <a:gd name="connsiteY894" fmla="*/ 9712 h 10000"/>
                <a:gd name="connsiteX895" fmla="*/ 1073 w 10000"/>
                <a:gd name="connsiteY895" fmla="*/ 9724 h 10000"/>
                <a:gd name="connsiteX896" fmla="*/ 1098 w 10000"/>
                <a:gd name="connsiteY896" fmla="*/ 9738 h 10000"/>
                <a:gd name="connsiteX897" fmla="*/ 1121 w 10000"/>
                <a:gd name="connsiteY897" fmla="*/ 9750 h 10000"/>
                <a:gd name="connsiteX898" fmla="*/ 1141 w 10000"/>
                <a:gd name="connsiteY898" fmla="*/ 9762 h 10000"/>
                <a:gd name="connsiteX899" fmla="*/ 1159 w 10000"/>
                <a:gd name="connsiteY899" fmla="*/ 9776 h 10000"/>
                <a:gd name="connsiteX900" fmla="*/ 1172 w 10000"/>
                <a:gd name="connsiteY900" fmla="*/ 9787 h 10000"/>
                <a:gd name="connsiteX901" fmla="*/ 1182 w 10000"/>
                <a:gd name="connsiteY901" fmla="*/ 9804 h 10000"/>
                <a:gd name="connsiteX902" fmla="*/ 1194 w 10000"/>
                <a:gd name="connsiteY902" fmla="*/ 9818 h 10000"/>
                <a:gd name="connsiteX903" fmla="*/ 1202 w 10000"/>
                <a:gd name="connsiteY903" fmla="*/ 9834 h 10000"/>
                <a:gd name="connsiteX904" fmla="*/ 1212 w 10000"/>
                <a:gd name="connsiteY904" fmla="*/ 9869 h 10000"/>
                <a:gd name="connsiteX905" fmla="*/ 1220 w 10000"/>
                <a:gd name="connsiteY905" fmla="*/ 9906 h 10000"/>
                <a:gd name="connsiteX906" fmla="*/ 1230 w 10000"/>
                <a:gd name="connsiteY906" fmla="*/ 9951 h 10000"/>
                <a:gd name="connsiteX907" fmla="*/ 1237 w 10000"/>
                <a:gd name="connsiteY907" fmla="*/ 10000 h 10000"/>
                <a:gd name="connsiteX908" fmla="*/ 1237 w 10000"/>
                <a:gd name="connsiteY90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402 w 10000"/>
                <a:gd name="connsiteY783" fmla="*/ 8261 h 10000"/>
                <a:gd name="connsiteX784" fmla="*/ 1394 w 10000"/>
                <a:gd name="connsiteY784" fmla="*/ 8275 h 10000"/>
                <a:gd name="connsiteX785" fmla="*/ 1386 w 10000"/>
                <a:gd name="connsiteY785" fmla="*/ 8294 h 10000"/>
                <a:gd name="connsiteX786" fmla="*/ 1374 w 10000"/>
                <a:gd name="connsiteY786" fmla="*/ 8331 h 10000"/>
                <a:gd name="connsiteX787" fmla="*/ 1361 w 10000"/>
                <a:gd name="connsiteY787" fmla="*/ 8368 h 10000"/>
                <a:gd name="connsiteX788" fmla="*/ 1354 w 10000"/>
                <a:gd name="connsiteY788" fmla="*/ 8387 h 10000"/>
                <a:gd name="connsiteX789" fmla="*/ 1346 w 10000"/>
                <a:gd name="connsiteY789" fmla="*/ 8406 h 10000"/>
                <a:gd name="connsiteX790" fmla="*/ 1338 w 10000"/>
                <a:gd name="connsiteY790" fmla="*/ 8420 h 10000"/>
                <a:gd name="connsiteX791" fmla="*/ 1328 w 10000"/>
                <a:gd name="connsiteY791" fmla="*/ 8436 h 10000"/>
                <a:gd name="connsiteX792" fmla="*/ 1316 w 10000"/>
                <a:gd name="connsiteY792" fmla="*/ 8446 h 10000"/>
                <a:gd name="connsiteX793" fmla="*/ 1306 w 10000"/>
                <a:gd name="connsiteY793" fmla="*/ 8453 h 10000"/>
                <a:gd name="connsiteX794" fmla="*/ 1293 w 10000"/>
                <a:gd name="connsiteY794" fmla="*/ 8460 h 10000"/>
                <a:gd name="connsiteX795" fmla="*/ 1275 w 10000"/>
                <a:gd name="connsiteY795" fmla="*/ 8460 h 10000"/>
                <a:gd name="connsiteX796" fmla="*/ 1265 w 10000"/>
                <a:gd name="connsiteY796" fmla="*/ 8450 h 10000"/>
                <a:gd name="connsiteX797" fmla="*/ 1245 w 10000"/>
                <a:gd name="connsiteY797" fmla="*/ 8424 h 10000"/>
                <a:gd name="connsiteX798" fmla="*/ 1237 w 10000"/>
                <a:gd name="connsiteY798" fmla="*/ 8408 h 10000"/>
                <a:gd name="connsiteX799" fmla="*/ 1217 w 10000"/>
                <a:gd name="connsiteY799" fmla="*/ 8373 h 10000"/>
                <a:gd name="connsiteX800" fmla="*/ 1202 w 10000"/>
                <a:gd name="connsiteY800" fmla="*/ 8333 h 10000"/>
                <a:gd name="connsiteX801" fmla="*/ 1182 w 10000"/>
                <a:gd name="connsiteY801" fmla="*/ 8296 h 10000"/>
                <a:gd name="connsiteX802" fmla="*/ 1162 w 10000"/>
                <a:gd name="connsiteY802" fmla="*/ 8268 h 10000"/>
                <a:gd name="connsiteX803" fmla="*/ 1149 w 10000"/>
                <a:gd name="connsiteY803" fmla="*/ 8256 h 10000"/>
                <a:gd name="connsiteX804" fmla="*/ 1139 w 10000"/>
                <a:gd name="connsiteY804" fmla="*/ 8249 h 10000"/>
                <a:gd name="connsiteX805" fmla="*/ 1126 w 10000"/>
                <a:gd name="connsiteY805" fmla="*/ 8240 h 10000"/>
                <a:gd name="connsiteX806" fmla="*/ 1114 w 10000"/>
                <a:gd name="connsiteY806" fmla="*/ 8240 h 10000"/>
                <a:gd name="connsiteX807" fmla="*/ 1091 w 10000"/>
                <a:gd name="connsiteY807" fmla="*/ 8242 h 10000"/>
                <a:gd name="connsiteX808" fmla="*/ 1071 w 10000"/>
                <a:gd name="connsiteY808" fmla="*/ 8252 h 10000"/>
                <a:gd name="connsiteX809" fmla="*/ 1048 w 10000"/>
                <a:gd name="connsiteY809" fmla="*/ 8261 h 10000"/>
                <a:gd name="connsiteX810" fmla="*/ 1030 w 10000"/>
                <a:gd name="connsiteY810" fmla="*/ 8273 h 10000"/>
                <a:gd name="connsiteX811" fmla="*/ 1010 w 10000"/>
                <a:gd name="connsiteY811" fmla="*/ 8287 h 10000"/>
                <a:gd name="connsiteX812" fmla="*/ 995 w 10000"/>
                <a:gd name="connsiteY812" fmla="*/ 8303 h 10000"/>
                <a:gd name="connsiteX813" fmla="*/ 975 w 10000"/>
                <a:gd name="connsiteY813" fmla="*/ 8322 h 10000"/>
                <a:gd name="connsiteX814" fmla="*/ 960 w 10000"/>
                <a:gd name="connsiteY814" fmla="*/ 8343 h 10000"/>
                <a:gd name="connsiteX815" fmla="*/ 927 w 10000"/>
                <a:gd name="connsiteY815" fmla="*/ 8380 h 10000"/>
                <a:gd name="connsiteX816" fmla="*/ 891 w 10000"/>
                <a:gd name="connsiteY816" fmla="*/ 8417 h 10000"/>
                <a:gd name="connsiteX817" fmla="*/ 874 w 10000"/>
                <a:gd name="connsiteY817" fmla="*/ 8436 h 10000"/>
                <a:gd name="connsiteX818" fmla="*/ 859 w 10000"/>
                <a:gd name="connsiteY818" fmla="*/ 8450 h 10000"/>
                <a:gd name="connsiteX819" fmla="*/ 838 w 10000"/>
                <a:gd name="connsiteY819" fmla="*/ 8462 h 10000"/>
                <a:gd name="connsiteX820" fmla="*/ 821 w 10000"/>
                <a:gd name="connsiteY820" fmla="*/ 8476 h 10000"/>
                <a:gd name="connsiteX821" fmla="*/ 742 w 10000"/>
                <a:gd name="connsiteY821" fmla="*/ 8562 h 10000"/>
                <a:gd name="connsiteX822" fmla="*/ 672 w 10000"/>
                <a:gd name="connsiteY822" fmla="*/ 8644 h 10000"/>
                <a:gd name="connsiteX823" fmla="*/ 639 w 10000"/>
                <a:gd name="connsiteY823" fmla="*/ 8684 h 10000"/>
                <a:gd name="connsiteX824" fmla="*/ 609 w 10000"/>
                <a:gd name="connsiteY824" fmla="*/ 8731 h 10000"/>
                <a:gd name="connsiteX825" fmla="*/ 583 w 10000"/>
                <a:gd name="connsiteY825" fmla="*/ 8777 h 10000"/>
                <a:gd name="connsiteX826" fmla="*/ 556 w 10000"/>
                <a:gd name="connsiteY826" fmla="*/ 8831 h 10000"/>
                <a:gd name="connsiteX827" fmla="*/ 545 w 10000"/>
                <a:gd name="connsiteY827" fmla="*/ 8852 h 10000"/>
                <a:gd name="connsiteX828" fmla="*/ 525 w 10000"/>
                <a:gd name="connsiteY828" fmla="*/ 8885 h 10000"/>
                <a:gd name="connsiteX829" fmla="*/ 503 w 10000"/>
                <a:gd name="connsiteY829" fmla="*/ 8925 h 10000"/>
                <a:gd name="connsiteX830" fmla="*/ 480 w 10000"/>
                <a:gd name="connsiteY830" fmla="*/ 8962 h 10000"/>
                <a:gd name="connsiteX831" fmla="*/ 465 w 10000"/>
                <a:gd name="connsiteY831" fmla="*/ 8981 h 10000"/>
                <a:gd name="connsiteX832" fmla="*/ 455 w 10000"/>
                <a:gd name="connsiteY832" fmla="*/ 8993 h 10000"/>
                <a:gd name="connsiteX833" fmla="*/ 444 w 10000"/>
                <a:gd name="connsiteY833" fmla="*/ 9000 h 10000"/>
                <a:gd name="connsiteX834" fmla="*/ 434 w 10000"/>
                <a:gd name="connsiteY834" fmla="*/ 9007 h 10000"/>
                <a:gd name="connsiteX835" fmla="*/ 432 w 10000"/>
                <a:gd name="connsiteY835" fmla="*/ 9007 h 10000"/>
                <a:gd name="connsiteX836" fmla="*/ 429 w 10000"/>
                <a:gd name="connsiteY836" fmla="*/ 9004 h 10000"/>
                <a:gd name="connsiteX837" fmla="*/ 427 w 10000"/>
                <a:gd name="connsiteY837" fmla="*/ 8997 h 10000"/>
                <a:gd name="connsiteX838" fmla="*/ 427 w 10000"/>
                <a:gd name="connsiteY838" fmla="*/ 8993 h 10000"/>
                <a:gd name="connsiteX839" fmla="*/ 424 w 10000"/>
                <a:gd name="connsiteY839" fmla="*/ 8976 h 10000"/>
                <a:gd name="connsiteX840" fmla="*/ 427 w 10000"/>
                <a:gd name="connsiteY840" fmla="*/ 8948 h 10000"/>
                <a:gd name="connsiteX841" fmla="*/ 437 w 10000"/>
                <a:gd name="connsiteY841" fmla="*/ 8913 h 10000"/>
                <a:gd name="connsiteX842" fmla="*/ 455 w 10000"/>
                <a:gd name="connsiteY842" fmla="*/ 8859 h 10000"/>
                <a:gd name="connsiteX843" fmla="*/ 462 w 10000"/>
                <a:gd name="connsiteY843" fmla="*/ 8834 h 10000"/>
                <a:gd name="connsiteX844" fmla="*/ 470 w 10000"/>
                <a:gd name="connsiteY844" fmla="*/ 8810 h 10000"/>
                <a:gd name="connsiteX845" fmla="*/ 472 w 10000"/>
                <a:gd name="connsiteY845" fmla="*/ 8794 h 10000"/>
                <a:gd name="connsiteX846" fmla="*/ 472 w 10000"/>
                <a:gd name="connsiteY846" fmla="*/ 8780 h 10000"/>
                <a:gd name="connsiteX847" fmla="*/ 462 w 10000"/>
                <a:gd name="connsiteY847" fmla="*/ 8784 h 10000"/>
                <a:gd name="connsiteX848" fmla="*/ 452 w 10000"/>
                <a:gd name="connsiteY848" fmla="*/ 8787 h 10000"/>
                <a:gd name="connsiteX849" fmla="*/ 437 w 10000"/>
                <a:gd name="connsiteY849" fmla="*/ 8794 h 10000"/>
                <a:gd name="connsiteX850" fmla="*/ 424 w 10000"/>
                <a:gd name="connsiteY850" fmla="*/ 8803 h 10000"/>
                <a:gd name="connsiteX851" fmla="*/ 394 w 10000"/>
                <a:gd name="connsiteY851" fmla="*/ 8829 h 10000"/>
                <a:gd name="connsiteX852" fmla="*/ 364 w 10000"/>
                <a:gd name="connsiteY852" fmla="*/ 8859 h 10000"/>
                <a:gd name="connsiteX853" fmla="*/ 311 w 10000"/>
                <a:gd name="connsiteY853" fmla="*/ 8922 h 10000"/>
                <a:gd name="connsiteX854" fmla="*/ 268 w 10000"/>
                <a:gd name="connsiteY854" fmla="*/ 8964 h 10000"/>
                <a:gd name="connsiteX855" fmla="*/ 205 w 10000"/>
                <a:gd name="connsiteY855" fmla="*/ 9016 h 10000"/>
                <a:gd name="connsiteX856" fmla="*/ 146 w 10000"/>
                <a:gd name="connsiteY856" fmla="*/ 9053 h 10000"/>
                <a:gd name="connsiteX857" fmla="*/ 139 w 10000"/>
                <a:gd name="connsiteY857" fmla="*/ 9063 h 10000"/>
                <a:gd name="connsiteX858" fmla="*/ 129 w 10000"/>
                <a:gd name="connsiteY858" fmla="*/ 9077 h 10000"/>
                <a:gd name="connsiteX859" fmla="*/ 126 w 10000"/>
                <a:gd name="connsiteY859" fmla="*/ 9086 h 10000"/>
                <a:gd name="connsiteX860" fmla="*/ 126 w 10000"/>
                <a:gd name="connsiteY860" fmla="*/ 9102 h 10000"/>
                <a:gd name="connsiteX861" fmla="*/ 129 w 10000"/>
                <a:gd name="connsiteY861" fmla="*/ 9116 h 10000"/>
                <a:gd name="connsiteX862" fmla="*/ 139 w 10000"/>
                <a:gd name="connsiteY862" fmla="*/ 9135 h 10000"/>
                <a:gd name="connsiteX863" fmla="*/ 149 w 10000"/>
                <a:gd name="connsiteY863" fmla="*/ 9151 h 10000"/>
                <a:gd name="connsiteX864" fmla="*/ 164 w 10000"/>
                <a:gd name="connsiteY864" fmla="*/ 9175 h 10000"/>
                <a:gd name="connsiteX865" fmla="*/ 184 w 10000"/>
                <a:gd name="connsiteY865" fmla="*/ 9196 h 10000"/>
                <a:gd name="connsiteX866" fmla="*/ 207 w 10000"/>
                <a:gd name="connsiteY866" fmla="*/ 9215 h 10000"/>
                <a:gd name="connsiteX867" fmla="*/ 227 w 10000"/>
                <a:gd name="connsiteY867" fmla="*/ 9233 h 10000"/>
                <a:gd name="connsiteX868" fmla="*/ 253 w 10000"/>
                <a:gd name="connsiteY868" fmla="*/ 9250 h 10000"/>
                <a:gd name="connsiteX869" fmla="*/ 303 w 10000"/>
                <a:gd name="connsiteY869" fmla="*/ 9282 h 10000"/>
                <a:gd name="connsiteX870" fmla="*/ 351 w 10000"/>
                <a:gd name="connsiteY870" fmla="*/ 9315 h 10000"/>
                <a:gd name="connsiteX871" fmla="*/ 414 w 10000"/>
                <a:gd name="connsiteY871" fmla="*/ 9364 h 10000"/>
                <a:gd name="connsiteX872" fmla="*/ 480 w 10000"/>
                <a:gd name="connsiteY872" fmla="*/ 9416 h 10000"/>
                <a:gd name="connsiteX873" fmla="*/ 513 w 10000"/>
                <a:gd name="connsiteY873" fmla="*/ 9437 h 10000"/>
                <a:gd name="connsiteX874" fmla="*/ 548 w 10000"/>
                <a:gd name="connsiteY874" fmla="*/ 9462 h 10000"/>
                <a:gd name="connsiteX875" fmla="*/ 581 w 10000"/>
                <a:gd name="connsiteY875" fmla="*/ 9483 h 10000"/>
                <a:gd name="connsiteX876" fmla="*/ 614 w 10000"/>
                <a:gd name="connsiteY876" fmla="*/ 9502 h 10000"/>
                <a:gd name="connsiteX877" fmla="*/ 641 w 10000"/>
                <a:gd name="connsiteY877" fmla="*/ 9525 h 10000"/>
                <a:gd name="connsiteX878" fmla="*/ 672 w 10000"/>
                <a:gd name="connsiteY878" fmla="*/ 9549 h 10000"/>
                <a:gd name="connsiteX879" fmla="*/ 702 w 10000"/>
                <a:gd name="connsiteY879" fmla="*/ 9568 h 10000"/>
                <a:gd name="connsiteX880" fmla="*/ 737 w 10000"/>
                <a:gd name="connsiteY880" fmla="*/ 9589 h 10000"/>
                <a:gd name="connsiteX881" fmla="*/ 770 w 10000"/>
                <a:gd name="connsiteY881" fmla="*/ 9605 h 10000"/>
                <a:gd name="connsiteX882" fmla="*/ 808 w 10000"/>
                <a:gd name="connsiteY882" fmla="*/ 9617 h 10000"/>
                <a:gd name="connsiteX883" fmla="*/ 843 w 10000"/>
                <a:gd name="connsiteY883" fmla="*/ 9624 h 10000"/>
                <a:gd name="connsiteX884" fmla="*/ 884 w 10000"/>
                <a:gd name="connsiteY884" fmla="*/ 9628 h 10000"/>
                <a:gd name="connsiteX885" fmla="*/ 902 w 10000"/>
                <a:gd name="connsiteY885" fmla="*/ 9628 h 10000"/>
                <a:gd name="connsiteX886" fmla="*/ 914 w 10000"/>
                <a:gd name="connsiteY886" fmla="*/ 9631 h 10000"/>
                <a:gd name="connsiteX887" fmla="*/ 932 w 10000"/>
                <a:gd name="connsiteY887" fmla="*/ 9638 h 10000"/>
                <a:gd name="connsiteX888" fmla="*/ 942 w 10000"/>
                <a:gd name="connsiteY888" fmla="*/ 9642 h 10000"/>
                <a:gd name="connsiteX889" fmla="*/ 967 w 10000"/>
                <a:gd name="connsiteY889" fmla="*/ 9652 h 10000"/>
                <a:gd name="connsiteX890" fmla="*/ 987 w 10000"/>
                <a:gd name="connsiteY890" fmla="*/ 9668 h 10000"/>
                <a:gd name="connsiteX891" fmla="*/ 1005 w 10000"/>
                <a:gd name="connsiteY891" fmla="*/ 9682 h 10000"/>
                <a:gd name="connsiteX892" fmla="*/ 1025 w 10000"/>
                <a:gd name="connsiteY892" fmla="*/ 9698 h 10000"/>
                <a:gd name="connsiteX893" fmla="*/ 1045 w 10000"/>
                <a:gd name="connsiteY893" fmla="*/ 9712 h 10000"/>
                <a:gd name="connsiteX894" fmla="*/ 1073 w 10000"/>
                <a:gd name="connsiteY894" fmla="*/ 9724 h 10000"/>
                <a:gd name="connsiteX895" fmla="*/ 1098 w 10000"/>
                <a:gd name="connsiteY895" fmla="*/ 9738 h 10000"/>
                <a:gd name="connsiteX896" fmla="*/ 1121 w 10000"/>
                <a:gd name="connsiteY896" fmla="*/ 9750 h 10000"/>
                <a:gd name="connsiteX897" fmla="*/ 1141 w 10000"/>
                <a:gd name="connsiteY897" fmla="*/ 9762 h 10000"/>
                <a:gd name="connsiteX898" fmla="*/ 1159 w 10000"/>
                <a:gd name="connsiteY898" fmla="*/ 9776 h 10000"/>
                <a:gd name="connsiteX899" fmla="*/ 1172 w 10000"/>
                <a:gd name="connsiteY899" fmla="*/ 9787 h 10000"/>
                <a:gd name="connsiteX900" fmla="*/ 1182 w 10000"/>
                <a:gd name="connsiteY900" fmla="*/ 9804 h 10000"/>
                <a:gd name="connsiteX901" fmla="*/ 1194 w 10000"/>
                <a:gd name="connsiteY901" fmla="*/ 9818 h 10000"/>
                <a:gd name="connsiteX902" fmla="*/ 1202 w 10000"/>
                <a:gd name="connsiteY902" fmla="*/ 9834 h 10000"/>
                <a:gd name="connsiteX903" fmla="*/ 1212 w 10000"/>
                <a:gd name="connsiteY903" fmla="*/ 9869 h 10000"/>
                <a:gd name="connsiteX904" fmla="*/ 1220 w 10000"/>
                <a:gd name="connsiteY904" fmla="*/ 9906 h 10000"/>
                <a:gd name="connsiteX905" fmla="*/ 1230 w 10000"/>
                <a:gd name="connsiteY905" fmla="*/ 9951 h 10000"/>
                <a:gd name="connsiteX906" fmla="*/ 1237 w 10000"/>
                <a:gd name="connsiteY906" fmla="*/ 10000 h 10000"/>
                <a:gd name="connsiteX907" fmla="*/ 1237 w 10000"/>
                <a:gd name="connsiteY90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402 w 10000"/>
                <a:gd name="connsiteY783" fmla="*/ 8261 h 10000"/>
                <a:gd name="connsiteX784" fmla="*/ 1394 w 10000"/>
                <a:gd name="connsiteY784" fmla="*/ 8275 h 10000"/>
                <a:gd name="connsiteX785" fmla="*/ 1386 w 10000"/>
                <a:gd name="connsiteY785" fmla="*/ 8294 h 10000"/>
                <a:gd name="connsiteX786" fmla="*/ 1374 w 10000"/>
                <a:gd name="connsiteY786" fmla="*/ 8331 h 10000"/>
                <a:gd name="connsiteX787" fmla="*/ 1354 w 10000"/>
                <a:gd name="connsiteY787" fmla="*/ 8387 h 10000"/>
                <a:gd name="connsiteX788" fmla="*/ 1346 w 10000"/>
                <a:gd name="connsiteY788" fmla="*/ 8406 h 10000"/>
                <a:gd name="connsiteX789" fmla="*/ 1338 w 10000"/>
                <a:gd name="connsiteY789" fmla="*/ 8420 h 10000"/>
                <a:gd name="connsiteX790" fmla="*/ 1328 w 10000"/>
                <a:gd name="connsiteY790" fmla="*/ 8436 h 10000"/>
                <a:gd name="connsiteX791" fmla="*/ 1316 w 10000"/>
                <a:gd name="connsiteY791" fmla="*/ 8446 h 10000"/>
                <a:gd name="connsiteX792" fmla="*/ 1306 w 10000"/>
                <a:gd name="connsiteY792" fmla="*/ 8453 h 10000"/>
                <a:gd name="connsiteX793" fmla="*/ 1293 w 10000"/>
                <a:gd name="connsiteY793" fmla="*/ 8460 h 10000"/>
                <a:gd name="connsiteX794" fmla="*/ 1275 w 10000"/>
                <a:gd name="connsiteY794" fmla="*/ 8460 h 10000"/>
                <a:gd name="connsiteX795" fmla="*/ 1265 w 10000"/>
                <a:gd name="connsiteY795" fmla="*/ 8450 h 10000"/>
                <a:gd name="connsiteX796" fmla="*/ 1245 w 10000"/>
                <a:gd name="connsiteY796" fmla="*/ 8424 h 10000"/>
                <a:gd name="connsiteX797" fmla="*/ 1237 w 10000"/>
                <a:gd name="connsiteY797" fmla="*/ 8408 h 10000"/>
                <a:gd name="connsiteX798" fmla="*/ 1217 w 10000"/>
                <a:gd name="connsiteY798" fmla="*/ 8373 h 10000"/>
                <a:gd name="connsiteX799" fmla="*/ 1202 w 10000"/>
                <a:gd name="connsiteY799" fmla="*/ 8333 h 10000"/>
                <a:gd name="connsiteX800" fmla="*/ 1182 w 10000"/>
                <a:gd name="connsiteY800" fmla="*/ 8296 h 10000"/>
                <a:gd name="connsiteX801" fmla="*/ 1162 w 10000"/>
                <a:gd name="connsiteY801" fmla="*/ 8268 h 10000"/>
                <a:gd name="connsiteX802" fmla="*/ 1149 w 10000"/>
                <a:gd name="connsiteY802" fmla="*/ 8256 h 10000"/>
                <a:gd name="connsiteX803" fmla="*/ 1139 w 10000"/>
                <a:gd name="connsiteY803" fmla="*/ 8249 h 10000"/>
                <a:gd name="connsiteX804" fmla="*/ 1126 w 10000"/>
                <a:gd name="connsiteY804" fmla="*/ 8240 h 10000"/>
                <a:gd name="connsiteX805" fmla="*/ 1114 w 10000"/>
                <a:gd name="connsiteY805" fmla="*/ 8240 h 10000"/>
                <a:gd name="connsiteX806" fmla="*/ 1091 w 10000"/>
                <a:gd name="connsiteY806" fmla="*/ 8242 h 10000"/>
                <a:gd name="connsiteX807" fmla="*/ 1071 w 10000"/>
                <a:gd name="connsiteY807" fmla="*/ 8252 h 10000"/>
                <a:gd name="connsiteX808" fmla="*/ 1048 w 10000"/>
                <a:gd name="connsiteY808" fmla="*/ 8261 h 10000"/>
                <a:gd name="connsiteX809" fmla="*/ 1030 w 10000"/>
                <a:gd name="connsiteY809" fmla="*/ 8273 h 10000"/>
                <a:gd name="connsiteX810" fmla="*/ 1010 w 10000"/>
                <a:gd name="connsiteY810" fmla="*/ 8287 h 10000"/>
                <a:gd name="connsiteX811" fmla="*/ 995 w 10000"/>
                <a:gd name="connsiteY811" fmla="*/ 8303 h 10000"/>
                <a:gd name="connsiteX812" fmla="*/ 975 w 10000"/>
                <a:gd name="connsiteY812" fmla="*/ 8322 h 10000"/>
                <a:gd name="connsiteX813" fmla="*/ 960 w 10000"/>
                <a:gd name="connsiteY813" fmla="*/ 8343 h 10000"/>
                <a:gd name="connsiteX814" fmla="*/ 927 w 10000"/>
                <a:gd name="connsiteY814" fmla="*/ 8380 h 10000"/>
                <a:gd name="connsiteX815" fmla="*/ 891 w 10000"/>
                <a:gd name="connsiteY815" fmla="*/ 8417 h 10000"/>
                <a:gd name="connsiteX816" fmla="*/ 874 w 10000"/>
                <a:gd name="connsiteY816" fmla="*/ 8436 h 10000"/>
                <a:gd name="connsiteX817" fmla="*/ 859 w 10000"/>
                <a:gd name="connsiteY817" fmla="*/ 8450 h 10000"/>
                <a:gd name="connsiteX818" fmla="*/ 838 w 10000"/>
                <a:gd name="connsiteY818" fmla="*/ 8462 h 10000"/>
                <a:gd name="connsiteX819" fmla="*/ 821 w 10000"/>
                <a:gd name="connsiteY819" fmla="*/ 8476 h 10000"/>
                <a:gd name="connsiteX820" fmla="*/ 742 w 10000"/>
                <a:gd name="connsiteY820" fmla="*/ 8562 h 10000"/>
                <a:gd name="connsiteX821" fmla="*/ 672 w 10000"/>
                <a:gd name="connsiteY821" fmla="*/ 8644 h 10000"/>
                <a:gd name="connsiteX822" fmla="*/ 639 w 10000"/>
                <a:gd name="connsiteY822" fmla="*/ 8684 h 10000"/>
                <a:gd name="connsiteX823" fmla="*/ 609 w 10000"/>
                <a:gd name="connsiteY823" fmla="*/ 8731 h 10000"/>
                <a:gd name="connsiteX824" fmla="*/ 583 w 10000"/>
                <a:gd name="connsiteY824" fmla="*/ 8777 h 10000"/>
                <a:gd name="connsiteX825" fmla="*/ 556 w 10000"/>
                <a:gd name="connsiteY825" fmla="*/ 8831 h 10000"/>
                <a:gd name="connsiteX826" fmla="*/ 545 w 10000"/>
                <a:gd name="connsiteY826" fmla="*/ 8852 h 10000"/>
                <a:gd name="connsiteX827" fmla="*/ 525 w 10000"/>
                <a:gd name="connsiteY827" fmla="*/ 8885 h 10000"/>
                <a:gd name="connsiteX828" fmla="*/ 503 w 10000"/>
                <a:gd name="connsiteY828" fmla="*/ 8925 h 10000"/>
                <a:gd name="connsiteX829" fmla="*/ 480 w 10000"/>
                <a:gd name="connsiteY829" fmla="*/ 8962 h 10000"/>
                <a:gd name="connsiteX830" fmla="*/ 465 w 10000"/>
                <a:gd name="connsiteY830" fmla="*/ 8981 h 10000"/>
                <a:gd name="connsiteX831" fmla="*/ 455 w 10000"/>
                <a:gd name="connsiteY831" fmla="*/ 8993 h 10000"/>
                <a:gd name="connsiteX832" fmla="*/ 444 w 10000"/>
                <a:gd name="connsiteY832" fmla="*/ 9000 h 10000"/>
                <a:gd name="connsiteX833" fmla="*/ 434 w 10000"/>
                <a:gd name="connsiteY833" fmla="*/ 9007 h 10000"/>
                <a:gd name="connsiteX834" fmla="*/ 432 w 10000"/>
                <a:gd name="connsiteY834" fmla="*/ 9007 h 10000"/>
                <a:gd name="connsiteX835" fmla="*/ 429 w 10000"/>
                <a:gd name="connsiteY835" fmla="*/ 9004 h 10000"/>
                <a:gd name="connsiteX836" fmla="*/ 427 w 10000"/>
                <a:gd name="connsiteY836" fmla="*/ 8997 h 10000"/>
                <a:gd name="connsiteX837" fmla="*/ 427 w 10000"/>
                <a:gd name="connsiteY837" fmla="*/ 8993 h 10000"/>
                <a:gd name="connsiteX838" fmla="*/ 424 w 10000"/>
                <a:gd name="connsiteY838" fmla="*/ 8976 h 10000"/>
                <a:gd name="connsiteX839" fmla="*/ 427 w 10000"/>
                <a:gd name="connsiteY839" fmla="*/ 8948 h 10000"/>
                <a:gd name="connsiteX840" fmla="*/ 437 w 10000"/>
                <a:gd name="connsiteY840" fmla="*/ 8913 h 10000"/>
                <a:gd name="connsiteX841" fmla="*/ 455 w 10000"/>
                <a:gd name="connsiteY841" fmla="*/ 8859 h 10000"/>
                <a:gd name="connsiteX842" fmla="*/ 462 w 10000"/>
                <a:gd name="connsiteY842" fmla="*/ 8834 h 10000"/>
                <a:gd name="connsiteX843" fmla="*/ 470 w 10000"/>
                <a:gd name="connsiteY843" fmla="*/ 8810 h 10000"/>
                <a:gd name="connsiteX844" fmla="*/ 472 w 10000"/>
                <a:gd name="connsiteY844" fmla="*/ 8794 h 10000"/>
                <a:gd name="connsiteX845" fmla="*/ 472 w 10000"/>
                <a:gd name="connsiteY845" fmla="*/ 8780 h 10000"/>
                <a:gd name="connsiteX846" fmla="*/ 462 w 10000"/>
                <a:gd name="connsiteY846" fmla="*/ 8784 h 10000"/>
                <a:gd name="connsiteX847" fmla="*/ 452 w 10000"/>
                <a:gd name="connsiteY847" fmla="*/ 8787 h 10000"/>
                <a:gd name="connsiteX848" fmla="*/ 437 w 10000"/>
                <a:gd name="connsiteY848" fmla="*/ 8794 h 10000"/>
                <a:gd name="connsiteX849" fmla="*/ 424 w 10000"/>
                <a:gd name="connsiteY849" fmla="*/ 8803 h 10000"/>
                <a:gd name="connsiteX850" fmla="*/ 394 w 10000"/>
                <a:gd name="connsiteY850" fmla="*/ 8829 h 10000"/>
                <a:gd name="connsiteX851" fmla="*/ 364 w 10000"/>
                <a:gd name="connsiteY851" fmla="*/ 8859 h 10000"/>
                <a:gd name="connsiteX852" fmla="*/ 311 w 10000"/>
                <a:gd name="connsiteY852" fmla="*/ 8922 h 10000"/>
                <a:gd name="connsiteX853" fmla="*/ 268 w 10000"/>
                <a:gd name="connsiteY853" fmla="*/ 8964 h 10000"/>
                <a:gd name="connsiteX854" fmla="*/ 205 w 10000"/>
                <a:gd name="connsiteY854" fmla="*/ 9016 h 10000"/>
                <a:gd name="connsiteX855" fmla="*/ 146 w 10000"/>
                <a:gd name="connsiteY855" fmla="*/ 9053 h 10000"/>
                <a:gd name="connsiteX856" fmla="*/ 139 w 10000"/>
                <a:gd name="connsiteY856" fmla="*/ 9063 h 10000"/>
                <a:gd name="connsiteX857" fmla="*/ 129 w 10000"/>
                <a:gd name="connsiteY857" fmla="*/ 9077 h 10000"/>
                <a:gd name="connsiteX858" fmla="*/ 126 w 10000"/>
                <a:gd name="connsiteY858" fmla="*/ 9086 h 10000"/>
                <a:gd name="connsiteX859" fmla="*/ 126 w 10000"/>
                <a:gd name="connsiteY859" fmla="*/ 9102 h 10000"/>
                <a:gd name="connsiteX860" fmla="*/ 129 w 10000"/>
                <a:gd name="connsiteY860" fmla="*/ 9116 h 10000"/>
                <a:gd name="connsiteX861" fmla="*/ 139 w 10000"/>
                <a:gd name="connsiteY861" fmla="*/ 9135 h 10000"/>
                <a:gd name="connsiteX862" fmla="*/ 149 w 10000"/>
                <a:gd name="connsiteY862" fmla="*/ 9151 h 10000"/>
                <a:gd name="connsiteX863" fmla="*/ 164 w 10000"/>
                <a:gd name="connsiteY863" fmla="*/ 9175 h 10000"/>
                <a:gd name="connsiteX864" fmla="*/ 184 w 10000"/>
                <a:gd name="connsiteY864" fmla="*/ 9196 h 10000"/>
                <a:gd name="connsiteX865" fmla="*/ 207 w 10000"/>
                <a:gd name="connsiteY865" fmla="*/ 9215 h 10000"/>
                <a:gd name="connsiteX866" fmla="*/ 227 w 10000"/>
                <a:gd name="connsiteY866" fmla="*/ 9233 h 10000"/>
                <a:gd name="connsiteX867" fmla="*/ 253 w 10000"/>
                <a:gd name="connsiteY867" fmla="*/ 9250 h 10000"/>
                <a:gd name="connsiteX868" fmla="*/ 303 w 10000"/>
                <a:gd name="connsiteY868" fmla="*/ 9282 h 10000"/>
                <a:gd name="connsiteX869" fmla="*/ 351 w 10000"/>
                <a:gd name="connsiteY869" fmla="*/ 9315 h 10000"/>
                <a:gd name="connsiteX870" fmla="*/ 414 w 10000"/>
                <a:gd name="connsiteY870" fmla="*/ 9364 h 10000"/>
                <a:gd name="connsiteX871" fmla="*/ 480 w 10000"/>
                <a:gd name="connsiteY871" fmla="*/ 9416 h 10000"/>
                <a:gd name="connsiteX872" fmla="*/ 513 w 10000"/>
                <a:gd name="connsiteY872" fmla="*/ 9437 h 10000"/>
                <a:gd name="connsiteX873" fmla="*/ 548 w 10000"/>
                <a:gd name="connsiteY873" fmla="*/ 9462 h 10000"/>
                <a:gd name="connsiteX874" fmla="*/ 581 w 10000"/>
                <a:gd name="connsiteY874" fmla="*/ 9483 h 10000"/>
                <a:gd name="connsiteX875" fmla="*/ 614 w 10000"/>
                <a:gd name="connsiteY875" fmla="*/ 9502 h 10000"/>
                <a:gd name="connsiteX876" fmla="*/ 641 w 10000"/>
                <a:gd name="connsiteY876" fmla="*/ 9525 h 10000"/>
                <a:gd name="connsiteX877" fmla="*/ 672 w 10000"/>
                <a:gd name="connsiteY877" fmla="*/ 9549 h 10000"/>
                <a:gd name="connsiteX878" fmla="*/ 702 w 10000"/>
                <a:gd name="connsiteY878" fmla="*/ 9568 h 10000"/>
                <a:gd name="connsiteX879" fmla="*/ 737 w 10000"/>
                <a:gd name="connsiteY879" fmla="*/ 9589 h 10000"/>
                <a:gd name="connsiteX880" fmla="*/ 770 w 10000"/>
                <a:gd name="connsiteY880" fmla="*/ 9605 h 10000"/>
                <a:gd name="connsiteX881" fmla="*/ 808 w 10000"/>
                <a:gd name="connsiteY881" fmla="*/ 9617 h 10000"/>
                <a:gd name="connsiteX882" fmla="*/ 843 w 10000"/>
                <a:gd name="connsiteY882" fmla="*/ 9624 h 10000"/>
                <a:gd name="connsiteX883" fmla="*/ 884 w 10000"/>
                <a:gd name="connsiteY883" fmla="*/ 9628 h 10000"/>
                <a:gd name="connsiteX884" fmla="*/ 902 w 10000"/>
                <a:gd name="connsiteY884" fmla="*/ 9628 h 10000"/>
                <a:gd name="connsiteX885" fmla="*/ 914 w 10000"/>
                <a:gd name="connsiteY885" fmla="*/ 9631 h 10000"/>
                <a:gd name="connsiteX886" fmla="*/ 932 w 10000"/>
                <a:gd name="connsiteY886" fmla="*/ 9638 h 10000"/>
                <a:gd name="connsiteX887" fmla="*/ 942 w 10000"/>
                <a:gd name="connsiteY887" fmla="*/ 9642 h 10000"/>
                <a:gd name="connsiteX888" fmla="*/ 967 w 10000"/>
                <a:gd name="connsiteY888" fmla="*/ 9652 h 10000"/>
                <a:gd name="connsiteX889" fmla="*/ 987 w 10000"/>
                <a:gd name="connsiteY889" fmla="*/ 9668 h 10000"/>
                <a:gd name="connsiteX890" fmla="*/ 1005 w 10000"/>
                <a:gd name="connsiteY890" fmla="*/ 9682 h 10000"/>
                <a:gd name="connsiteX891" fmla="*/ 1025 w 10000"/>
                <a:gd name="connsiteY891" fmla="*/ 9698 h 10000"/>
                <a:gd name="connsiteX892" fmla="*/ 1045 w 10000"/>
                <a:gd name="connsiteY892" fmla="*/ 9712 h 10000"/>
                <a:gd name="connsiteX893" fmla="*/ 1073 w 10000"/>
                <a:gd name="connsiteY893" fmla="*/ 9724 h 10000"/>
                <a:gd name="connsiteX894" fmla="*/ 1098 w 10000"/>
                <a:gd name="connsiteY894" fmla="*/ 9738 h 10000"/>
                <a:gd name="connsiteX895" fmla="*/ 1121 w 10000"/>
                <a:gd name="connsiteY895" fmla="*/ 9750 h 10000"/>
                <a:gd name="connsiteX896" fmla="*/ 1141 w 10000"/>
                <a:gd name="connsiteY896" fmla="*/ 9762 h 10000"/>
                <a:gd name="connsiteX897" fmla="*/ 1159 w 10000"/>
                <a:gd name="connsiteY897" fmla="*/ 9776 h 10000"/>
                <a:gd name="connsiteX898" fmla="*/ 1172 w 10000"/>
                <a:gd name="connsiteY898" fmla="*/ 9787 h 10000"/>
                <a:gd name="connsiteX899" fmla="*/ 1182 w 10000"/>
                <a:gd name="connsiteY899" fmla="*/ 9804 h 10000"/>
                <a:gd name="connsiteX900" fmla="*/ 1194 w 10000"/>
                <a:gd name="connsiteY900" fmla="*/ 9818 h 10000"/>
                <a:gd name="connsiteX901" fmla="*/ 1202 w 10000"/>
                <a:gd name="connsiteY901" fmla="*/ 9834 h 10000"/>
                <a:gd name="connsiteX902" fmla="*/ 1212 w 10000"/>
                <a:gd name="connsiteY902" fmla="*/ 9869 h 10000"/>
                <a:gd name="connsiteX903" fmla="*/ 1220 w 10000"/>
                <a:gd name="connsiteY903" fmla="*/ 9906 h 10000"/>
                <a:gd name="connsiteX904" fmla="*/ 1230 w 10000"/>
                <a:gd name="connsiteY904" fmla="*/ 9951 h 10000"/>
                <a:gd name="connsiteX905" fmla="*/ 1237 w 10000"/>
                <a:gd name="connsiteY905" fmla="*/ 10000 h 10000"/>
                <a:gd name="connsiteX906" fmla="*/ 1237 w 10000"/>
                <a:gd name="connsiteY90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402 w 10000"/>
                <a:gd name="connsiteY783" fmla="*/ 8261 h 10000"/>
                <a:gd name="connsiteX784" fmla="*/ 1394 w 10000"/>
                <a:gd name="connsiteY784" fmla="*/ 8275 h 10000"/>
                <a:gd name="connsiteX785" fmla="*/ 1386 w 10000"/>
                <a:gd name="connsiteY785" fmla="*/ 8294 h 10000"/>
                <a:gd name="connsiteX786" fmla="*/ 1354 w 10000"/>
                <a:gd name="connsiteY786" fmla="*/ 8387 h 10000"/>
                <a:gd name="connsiteX787" fmla="*/ 1346 w 10000"/>
                <a:gd name="connsiteY787" fmla="*/ 8406 h 10000"/>
                <a:gd name="connsiteX788" fmla="*/ 1338 w 10000"/>
                <a:gd name="connsiteY788" fmla="*/ 8420 h 10000"/>
                <a:gd name="connsiteX789" fmla="*/ 1328 w 10000"/>
                <a:gd name="connsiteY789" fmla="*/ 8436 h 10000"/>
                <a:gd name="connsiteX790" fmla="*/ 1316 w 10000"/>
                <a:gd name="connsiteY790" fmla="*/ 8446 h 10000"/>
                <a:gd name="connsiteX791" fmla="*/ 1306 w 10000"/>
                <a:gd name="connsiteY791" fmla="*/ 8453 h 10000"/>
                <a:gd name="connsiteX792" fmla="*/ 1293 w 10000"/>
                <a:gd name="connsiteY792" fmla="*/ 8460 h 10000"/>
                <a:gd name="connsiteX793" fmla="*/ 1275 w 10000"/>
                <a:gd name="connsiteY793" fmla="*/ 8460 h 10000"/>
                <a:gd name="connsiteX794" fmla="*/ 1265 w 10000"/>
                <a:gd name="connsiteY794" fmla="*/ 8450 h 10000"/>
                <a:gd name="connsiteX795" fmla="*/ 1245 w 10000"/>
                <a:gd name="connsiteY795" fmla="*/ 8424 h 10000"/>
                <a:gd name="connsiteX796" fmla="*/ 1237 w 10000"/>
                <a:gd name="connsiteY796" fmla="*/ 8408 h 10000"/>
                <a:gd name="connsiteX797" fmla="*/ 1217 w 10000"/>
                <a:gd name="connsiteY797" fmla="*/ 8373 h 10000"/>
                <a:gd name="connsiteX798" fmla="*/ 1202 w 10000"/>
                <a:gd name="connsiteY798" fmla="*/ 8333 h 10000"/>
                <a:gd name="connsiteX799" fmla="*/ 1182 w 10000"/>
                <a:gd name="connsiteY799" fmla="*/ 8296 h 10000"/>
                <a:gd name="connsiteX800" fmla="*/ 1162 w 10000"/>
                <a:gd name="connsiteY800" fmla="*/ 8268 h 10000"/>
                <a:gd name="connsiteX801" fmla="*/ 1149 w 10000"/>
                <a:gd name="connsiteY801" fmla="*/ 8256 h 10000"/>
                <a:gd name="connsiteX802" fmla="*/ 1139 w 10000"/>
                <a:gd name="connsiteY802" fmla="*/ 8249 h 10000"/>
                <a:gd name="connsiteX803" fmla="*/ 1126 w 10000"/>
                <a:gd name="connsiteY803" fmla="*/ 8240 h 10000"/>
                <a:gd name="connsiteX804" fmla="*/ 1114 w 10000"/>
                <a:gd name="connsiteY804" fmla="*/ 8240 h 10000"/>
                <a:gd name="connsiteX805" fmla="*/ 1091 w 10000"/>
                <a:gd name="connsiteY805" fmla="*/ 8242 h 10000"/>
                <a:gd name="connsiteX806" fmla="*/ 1071 w 10000"/>
                <a:gd name="connsiteY806" fmla="*/ 8252 h 10000"/>
                <a:gd name="connsiteX807" fmla="*/ 1048 w 10000"/>
                <a:gd name="connsiteY807" fmla="*/ 8261 h 10000"/>
                <a:gd name="connsiteX808" fmla="*/ 1030 w 10000"/>
                <a:gd name="connsiteY808" fmla="*/ 8273 h 10000"/>
                <a:gd name="connsiteX809" fmla="*/ 1010 w 10000"/>
                <a:gd name="connsiteY809" fmla="*/ 8287 h 10000"/>
                <a:gd name="connsiteX810" fmla="*/ 995 w 10000"/>
                <a:gd name="connsiteY810" fmla="*/ 8303 h 10000"/>
                <a:gd name="connsiteX811" fmla="*/ 975 w 10000"/>
                <a:gd name="connsiteY811" fmla="*/ 8322 h 10000"/>
                <a:gd name="connsiteX812" fmla="*/ 960 w 10000"/>
                <a:gd name="connsiteY812" fmla="*/ 8343 h 10000"/>
                <a:gd name="connsiteX813" fmla="*/ 927 w 10000"/>
                <a:gd name="connsiteY813" fmla="*/ 8380 h 10000"/>
                <a:gd name="connsiteX814" fmla="*/ 891 w 10000"/>
                <a:gd name="connsiteY814" fmla="*/ 8417 h 10000"/>
                <a:gd name="connsiteX815" fmla="*/ 874 w 10000"/>
                <a:gd name="connsiteY815" fmla="*/ 8436 h 10000"/>
                <a:gd name="connsiteX816" fmla="*/ 859 w 10000"/>
                <a:gd name="connsiteY816" fmla="*/ 8450 h 10000"/>
                <a:gd name="connsiteX817" fmla="*/ 838 w 10000"/>
                <a:gd name="connsiteY817" fmla="*/ 8462 h 10000"/>
                <a:gd name="connsiteX818" fmla="*/ 821 w 10000"/>
                <a:gd name="connsiteY818" fmla="*/ 8476 h 10000"/>
                <a:gd name="connsiteX819" fmla="*/ 742 w 10000"/>
                <a:gd name="connsiteY819" fmla="*/ 8562 h 10000"/>
                <a:gd name="connsiteX820" fmla="*/ 672 w 10000"/>
                <a:gd name="connsiteY820" fmla="*/ 8644 h 10000"/>
                <a:gd name="connsiteX821" fmla="*/ 639 w 10000"/>
                <a:gd name="connsiteY821" fmla="*/ 8684 h 10000"/>
                <a:gd name="connsiteX822" fmla="*/ 609 w 10000"/>
                <a:gd name="connsiteY822" fmla="*/ 8731 h 10000"/>
                <a:gd name="connsiteX823" fmla="*/ 583 w 10000"/>
                <a:gd name="connsiteY823" fmla="*/ 8777 h 10000"/>
                <a:gd name="connsiteX824" fmla="*/ 556 w 10000"/>
                <a:gd name="connsiteY824" fmla="*/ 8831 h 10000"/>
                <a:gd name="connsiteX825" fmla="*/ 545 w 10000"/>
                <a:gd name="connsiteY825" fmla="*/ 8852 h 10000"/>
                <a:gd name="connsiteX826" fmla="*/ 525 w 10000"/>
                <a:gd name="connsiteY826" fmla="*/ 8885 h 10000"/>
                <a:gd name="connsiteX827" fmla="*/ 503 w 10000"/>
                <a:gd name="connsiteY827" fmla="*/ 8925 h 10000"/>
                <a:gd name="connsiteX828" fmla="*/ 480 w 10000"/>
                <a:gd name="connsiteY828" fmla="*/ 8962 h 10000"/>
                <a:gd name="connsiteX829" fmla="*/ 465 w 10000"/>
                <a:gd name="connsiteY829" fmla="*/ 8981 h 10000"/>
                <a:gd name="connsiteX830" fmla="*/ 455 w 10000"/>
                <a:gd name="connsiteY830" fmla="*/ 8993 h 10000"/>
                <a:gd name="connsiteX831" fmla="*/ 444 w 10000"/>
                <a:gd name="connsiteY831" fmla="*/ 9000 h 10000"/>
                <a:gd name="connsiteX832" fmla="*/ 434 w 10000"/>
                <a:gd name="connsiteY832" fmla="*/ 9007 h 10000"/>
                <a:gd name="connsiteX833" fmla="*/ 432 w 10000"/>
                <a:gd name="connsiteY833" fmla="*/ 9007 h 10000"/>
                <a:gd name="connsiteX834" fmla="*/ 429 w 10000"/>
                <a:gd name="connsiteY834" fmla="*/ 9004 h 10000"/>
                <a:gd name="connsiteX835" fmla="*/ 427 w 10000"/>
                <a:gd name="connsiteY835" fmla="*/ 8997 h 10000"/>
                <a:gd name="connsiteX836" fmla="*/ 427 w 10000"/>
                <a:gd name="connsiteY836" fmla="*/ 8993 h 10000"/>
                <a:gd name="connsiteX837" fmla="*/ 424 w 10000"/>
                <a:gd name="connsiteY837" fmla="*/ 8976 h 10000"/>
                <a:gd name="connsiteX838" fmla="*/ 427 w 10000"/>
                <a:gd name="connsiteY838" fmla="*/ 8948 h 10000"/>
                <a:gd name="connsiteX839" fmla="*/ 437 w 10000"/>
                <a:gd name="connsiteY839" fmla="*/ 8913 h 10000"/>
                <a:gd name="connsiteX840" fmla="*/ 455 w 10000"/>
                <a:gd name="connsiteY840" fmla="*/ 8859 h 10000"/>
                <a:gd name="connsiteX841" fmla="*/ 462 w 10000"/>
                <a:gd name="connsiteY841" fmla="*/ 8834 h 10000"/>
                <a:gd name="connsiteX842" fmla="*/ 470 w 10000"/>
                <a:gd name="connsiteY842" fmla="*/ 8810 h 10000"/>
                <a:gd name="connsiteX843" fmla="*/ 472 w 10000"/>
                <a:gd name="connsiteY843" fmla="*/ 8794 h 10000"/>
                <a:gd name="connsiteX844" fmla="*/ 472 w 10000"/>
                <a:gd name="connsiteY844" fmla="*/ 8780 h 10000"/>
                <a:gd name="connsiteX845" fmla="*/ 462 w 10000"/>
                <a:gd name="connsiteY845" fmla="*/ 8784 h 10000"/>
                <a:gd name="connsiteX846" fmla="*/ 452 w 10000"/>
                <a:gd name="connsiteY846" fmla="*/ 8787 h 10000"/>
                <a:gd name="connsiteX847" fmla="*/ 437 w 10000"/>
                <a:gd name="connsiteY847" fmla="*/ 8794 h 10000"/>
                <a:gd name="connsiteX848" fmla="*/ 424 w 10000"/>
                <a:gd name="connsiteY848" fmla="*/ 8803 h 10000"/>
                <a:gd name="connsiteX849" fmla="*/ 394 w 10000"/>
                <a:gd name="connsiteY849" fmla="*/ 8829 h 10000"/>
                <a:gd name="connsiteX850" fmla="*/ 364 w 10000"/>
                <a:gd name="connsiteY850" fmla="*/ 8859 h 10000"/>
                <a:gd name="connsiteX851" fmla="*/ 311 w 10000"/>
                <a:gd name="connsiteY851" fmla="*/ 8922 h 10000"/>
                <a:gd name="connsiteX852" fmla="*/ 268 w 10000"/>
                <a:gd name="connsiteY852" fmla="*/ 8964 h 10000"/>
                <a:gd name="connsiteX853" fmla="*/ 205 w 10000"/>
                <a:gd name="connsiteY853" fmla="*/ 9016 h 10000"/>
                <a:gd name="connsiteX854" fmla="*/ 146 w 10000"/>
                <a:gd name="connsiteY854" fmla="*/ 9053 h 10000"/>
                <a:gd name="connsiteX855" fmla="*/ 139 w 10000"/>
                <a:gd name="connsiteY855" fmla="*/ 9063 h 10000"/>
                <a:gd name="connsiteX856" fmla="*/ 129 w 10000"/>
                <a:gd name="connsiteY856" fmla="*/ 9077 h 10000"/>
                <a:gd name="connsiteX857" fmla="*/ 126 w 10000"/>
                <a:gd name="connsiteY857" fmla="*/ 9086 h 10000"/>
                <a:gd name="connsiteX858" fmla="*/ 126 w 10000"/>
                <a:gd name="connsiteY858" fmla="*/ 9102 h 10000"/>
                <a:gd name="connsiteX859" fmla="*/ 129 w 10000"/>
                <a:gd name="connsiteY859" fmla="*/ 9116 h 10000"/>
                <a:gd name="connsiteX860" fmla="*/ 139 w 10000"/>
                <a:gd name="connsiteY860" fmla="*/ 9135 h 10000"/>
                <a:gd name="connsiteX861" fmla="*/ 149 w 10000"/>
                <a:gd name="connsiteY861" fmla="*/ 9151 h 10000"/>
                <a:gd name="connsiteX862" fmla="*/ 164 w 10000"/>
                <a:gd name="connsiteY862" fmla="*/ 9175 h 10000"/>
                <a:gd name="connsiteX863" fmla="*/ 184 w 10000"/>
                <a:gd name="connsiteY863" fmla="*/ 9196 h 10000"/>
                <a:gd name="connsiteX864" fmla="*/ 207 w 10000"/>
                <a:gd name="connsiteY864" fmla="*/ 9215 h 10000"/>
                <a:gd name="connsiteX865" fmla="*/ 227 w 10000"/>
                <a:gd name="connsiteY865" fmla="*/ 9233 h 10000"/>
                <a:gd name="connsiteX866" fmla="*/ 253 w 10000"/>
                <a:gd name="connsiteY866" fmla="*/ 9250 h 10000"/>
                <a:gd name="connsiteX867" fmla="*/ 303 w 10000"/>
                <a:gd name="connsiteY867" fmla="*/ 9282 h 10000"/>
                <a:gd name="connsiteX868" fmla="*/ 351 w 10000"/>
                <a:gd name="connsiteY868" fmla="*/ 9315 h 10000"/>
                <a:gd name="connsiteX869" fmla="*/ 414 w 10000"/>
                <a:gd name="connsiteY869" fmla="*/ 9364 h 10000"/>
                <a:gd name="connsiteX870" fmla="*/ 480 w 10000"/>
                <a:gd name="connsiteY870" fmla="*/ 9416 h 10000"/>
                <a:gd name="connsiteX871" fmla="*/ 513 w 10000"/>
                <a:gd name="connsiteY871" fmla="*/ 9437 h 10000"/>
                <a:gd name="connsiteX872" fmla="*/ 548 w 10000"/>
                <a:gd name="connsiteY872" fmla="*/ 9462 h 10000"/>
                <a:gd name="connsiteX873" fmla="*/ 581 w 10000"/>
                <a:gd name="connsiteY873" fmla="*/ 9483 h 10000"/>
                <a:gd name="connsiteX874" fmla="*/ 614 w 10000"/>
                <a:gd name="connsiteY874" fmla="*/ 9502 h 10000"/>
                <a:gd name="connsiteX875" fmla="*/ 641 w 10000"/>
                <a:gd name="connsiteY875" fmla="*/ 9525 h 10000"/>
                <a:gd name="connsiteX876" fmla="*/ 672 w 10000"/>
                <a:gd name="connsiteY876" fmla="*/ 9549 h 10000"/>
                <a:gd name="connsiteX877" fmla="*/ 702 w 10000"/>
                <a:gd name="connsiteY877" fmla="*/ 9568 h 10000"/>
                <a:gd name="connsiteX878" fmla="*/ 737 w 10000"/>
                <a:gd name="connsiteY878" fmla="*/ 9589 h 10000"/>
                <a:gd name="connsiteX879" fmla="*/ 770 w 10000"/>
                <a:gd name="connsiteY879" fmla="*/ 9605 h 10000"/>
                <a:gd name="connsiteX880" fmla="*/ 808 w 10000"/>
                <a:gd name="connsiteY880" fmla="*/ 9617 h 10000"/>
                <a:gd name="connsiteX881" fmla="*/ 843 w 10000"/>
                <a:gd name="connsiteY881" fmla="*/ 9624 h 10000"/>
                <a:gd name="connsiteX882" fmla="*/ 884 w 10000"/>
                <a:gd name="connsiteY882" fmla="*/ 9628 h 10000"/>
                <a:gd name="connsiteX883" fmla="*/ 902 w 10000"/>
                <a:gd name="connsiteY883" fmla="*/ 9628 h 10000"/>
                <a:gd name="connsiteX884" fmla="*/ 914 w 10000"/>
                <a:gd name="connsiteY884" fmla="*/ 9631 h 10000"/>
                <a:gd name="connsiteX885" fmla="*/ 932 w 10000"/>
                <a:gd name="connsiteY885" fmla="*/ 9638 h 10000"/>
                <a:gd name="connsiteX886" fmla="*/ 942 w 10000"/>
                <a:gd name="connsiteY886" fmla="*/ 9642 h 10000"/>
                <a:gd name="connsiteX887" fmla="*/ 967 w 10000"/>
                <a:gd name="connsiteY887" fmla="*/ 9652 h 10000"/>
                <a:gd name="connsiteX888" fmla="*/ 987 w 10000"/>
                <a:gd name="connsiteY888" fmla="*/ 9668 h 10000"/>
                <a:gd name="connsiteX889" fmla="*/ 1005 w 10000"/>
                <a:gd name="connsiteY889" fmla="*/ 9682 h 10000"/>
                <a:gd name="connsiteX890" fmla="*/ 1025 w 10000"/>
                <a:gd name="connsiteY890" fmla="*/ 9698 h 10000"/>
                <a:gd name="connsiteX891" fmla="*/ 1045 w 10000"/>
                <a:gd name="connsiteY891" fmla="*/ 9712 h 10000"/>
                <a:gd name="connsiteX892" fmla="*/ 1073 w 10000"/>
                <a:gd name="connsiteY892" fmla="*/ 9724 h 10000"/>
                <a:gd name="connsiteX893" fmla="*/ 1098 w 10000"/>
                <a:gd name="connsiteY893" fmla="*/ 9738 h 10000"/>
                <a:gd name="connsiteX894" fmla="*/ 1121 w 10000"/>
                <a:gd name="connsiteY894" fmla="*/ 9750 h 10000"/>
                <a:gd name="connsiteX895" fmla="*/ 1141 w 10000"/>
                <a:gd name="connsiteY895" fmla="*/ 9762 h 10000"/>
                <a:gd name="connsiteX896" fmla="*/ 1159 w 10000"/>
                <a:gd name="connsiteY896" fmla="*/ 9776 h 10000"/>
                <a:gd name="connsiteX897" fmla="*/ 1172 w 10000"/>
                <a:gd name="connsiteY897" fmla="*/ 9787 h 10000"/>
                <a:gd name="connsiteX898" fmla="*/ 1182 w 10000"/>
                <a:gd name="connsiteY898" fmla="*/ 9804 h 10000"/>
                <a:gd name="connsiteX899" fmla="*/ 1194 w 10000"/>
                <a:gd name="connsiteY899" fmla="*/ 9818 h 10000"/>
                <a:gd name="connsiteX900" fmla="*/ 1202 w 10000"/>
                <a:gd name="connsiteY900" fmla="*/ 9834 h 10000"/>
                <a:gd name="connsiteX901" fmla="*/ 1212 w 10000"/>
                <a:gd name="connsiteY901" fmla="*/ 9869 h 10000"/>
                <a:gd name="connsiteX902" fmla="*/ 1220 w 10000"/>
                <a:gd name="connsiteY902" fmla="*/ 9906 h 10000"/>
                <a:gd name="connsiteX903" fmla="*/ 1230 w 10000"/>
                <a:gd name="connsiteY903" fmla="*/ 9951 h 10000"/>
                <a:gd name="connsiteX904" fmla="*/ 1237 w 10000"/>
                <a:gd name="connsiteY904" fmla="*/ 10000 h 10000"/>
                <a:gd name="connsiteX905" fmla="*/ 1237 w 10000"/>
                <a:gd name="connsiteY90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402 w 10000"/>
                <a:gd name="connsiteY783" fmla="*/ 8261 h 10000"/>
                <a:gd name="connsiteX784" fmla="*/ 1394 w 10000"/>
                <a:gd name="connsiteY784" fmla="*/ 8275 h 10000"/>
                <a:gd name="connsiteX785" fmla="*/ 1354 w 10000"/>
                <a:gd name="connsiteY785" fmla="*/ 8387 h 10000"/>
                <a:gd name="connsiteX786" fmla="*/ 1346 w 10000"/>
                <a:gd name="connsiteY786" fmla="*/ 8406 h 10000"/>
                <a:gd name="connsiteX787" fmla="*/ 1338 w 10000"/>
                <a:gd name="connsiteY787" fmla="*/ 8420 h 10000"/>
                <a:gd name="connsiteX788" fmla="*/ 1328 w 10000"/>
                <a:gd name="connsiteY788" fmla="*/ 8436 h 10000"/>
                <a:gd name="connsiteX789" fmla="*/ 1316 w 10000"/>
                <a:gd name="connsiteY789" fmla="*/ 8446 h 10000"/>
                <a:gd name="connsiteX790" fmla="*/ 1306 w 10000"/>
                <a:gd name="connsiteY790" fmla="*/ 8453 h 10000"/>
                <a:gd name="connsiteX791" fmla="*/ 1293 w 10000"/>
                <a:gd name="connsiteY791" fmla="*/ 8460 h 10000"/>
                <a:gd name="connsiteX792" fmla="*/ 1275 w 10000"/>
                <a:gd name="connsiteY792" fmla="*/ 8460 h 10000"/>
                <a:gd name="connsiteX793" fmla="*/ 1265 w 10000"/>
                <a:gd name="connsiteY793" fmla="*/ 8450 h 10000"/>
                <a:gd name="connsiteX794" fmla="*/ 1245 w 10000"/>
                <a:gd name="connsiteY794" fmla="*/ 8424 h 10000"/>
                <a:gd name="connsiteX795" fmla="*/ 1237 w 10000"/>
                <a:gd name="connsiteY795" fmla="*/ 8408 h 10000"/>
                <a:gd name="connsiteX796" fmla="*/ 1217 w 10000"/>
                <a:gd name="connsiteY796" fmla="*/ 8373 h 10000"/>
                <a:gd name="connsiteX797" fmla="*/ 1202 w 10000"/>
                <a:gd name="connsiteY797" fmla="*/ 8333 h 10000"/>
                <a:gd name="connsiteX798" fmla="*/ 1182 w 10000"/>
                <a:gd name="connsiteY798" fmla="*/ 8296 h 10000"/>
                <a:gd name="connsiteX799" fmla="*/ 1162 w 10000"/>
                <a:gd name="connsiteY799" fmla="*/ 8268 h 10000"/>
                <a:gd name="connsiteX800" fmla="*/ 1149 w 10000"/>
                <a:gd name="connsiteY800" fmla="*/ 8256 h 10000"/>
                <a:gd name="connsiteX801" fmla="*/ 1139 w 10000"/>
                <a:gd name="connsiteY801" fmla="*/ 8249 h 10000"/>
                <a:gd name="connsiteX802" fmla="*/ 1126 w 10000"/>
                <a:gd name="connsiteY802" fmla="*/ 8240 h 10000"/>
                <a:gd name="connsiteX803" fmla="*/ 1114 w 10000"/>
                <a:gd name="connsiteY803" fmla="*/ 8240 h 10000"/>
                <a:gd name="connsiteX804" fmla="*/ 1091 w 10000"/>
                <a:gd name="connsiteY804" fmla="*/ 8242 h 10000"/>
                <a:gd name="connsiteX805" fmla="*/ 1071 w 10000"/>
                <a:gd name="connsiteY805" fmla="*/ 8252 h 10000"/>
                <a:gd name="connsiteX806" fmla="*/ 1048 w 10000"/>
                <a:gd name="connsiteY806" fmla="*/ 8261 h 10000"/>
                <a:gd name="connsiteX807" fmla="*/ 1030 w 10000"/>
                <a:gd name="connsiteY807" fmla="*/ 8273 h 10000"/>
                <a:gd name="connsiteX808" fmla="*/ 1010 w 10000"/>
                <a:gd name="connsiteY808" fmla="*/ 8287 h 10000"/>
                <a:gd name="connsiteX809" fmla="*/ 995 w 10000"/>
                <a:gd name="connsiteY809" fmla="*/ 8303 h 10000"/>
                <a:gd name="connsiteX810" fmla="*/ 975 w 10000"/>
                <a:gd name="connsiteY810" fmla="*/ 8322 h 10000"/>
                <a:gd name="connsiteX811" fmla="*/ 960 w 10000"/>
                <a:gd name="connsiteY811" fmla="*/ 8343 h 10000"/>
                <a:gd name="connsiteX812" fmla="*/ 927 w 10000"/>
                <a:gd name="connsiteY812" fmla="*/ 8380 h 10000"/>
                <a:gd name="connsiteX813" fmla="*/ 891 w 10000"/>
                <a:gd name="connsiteY813" fmla="*/ 8417 h 10000"/>
                <a:gd name="connsiteX814" fmla="*/ 874 w 10000"/>
                <a:gd name="connsiteY814" fmla="*/ 8436 h 10000"/>
                <a:gd name="connsiteX815" fmla="*/ 859 w 10000"/>
                <a:gd name="connsiteY815" fmla="*/ 8450 h 10000"/>
                <a:gd name="connsiteX816" fmla="*/ 838 w 10000"/>
                <a:gd name="connsiteY816" fmla="*/ 8462 h 10000"/>
                <a:gd name="connsiteX817" fmla="*/ 821 w 10000"/>
                <a:gd name="connsiteY817" fmla="*/ 8476 h 10000"/>
                <a:gd name="connsiteX818" fmla="*/ 742 w 10000"/>
                <a:gd name="connsiteY818" fmla="*/ 8562 h 10000"/>
                <a:gd name="connsiteX819" fmla="*/ 672 w 10000"/>
                <a:gd name="connsiteY819" fmla="*/ 8644 h 10000"/>
                <a:gd name="connsiteX820" fmla="*/ 639 w 10000"/>
                <a:gd name="connsiteY820" fmla="*/ 8684 h 10000"/>
                <a:gd name="connsiteX821" fmla="*/ 609 w 10000"/>
                <a:gd name="connsiteY821" fmla="*/ 8731 h 10000"/>
                <a:gd name="connsiteX822" fmla="*/ 583 w 10000"/>
                <a:gd name="connsiteY822" fmla="*/ 8777 h 10000"/>
                <a:gd name="connsiteX823" fmla="*/ 556 w 10000"/>
                <a:gd name="connsiteY823" fmla="*/ 8831 h 10000"/>
                <a:gd name="connsiteX824" fmla="*/ 545 w 10000"/>
                <a:gd name="connsiteY824" fmla="*/ 8852 h 10000"/>
                <a:gd name="connsiteX825" fmla="*/ 525 w 10000"/>
                <a:gd name="connsiteY825" fmla="*/ 8885 h 10000"/>
                <a:gd name="connsiteX826" fmla="*/ 503 w 10000"/>
                <a:gd name="connsiteY826" fmla="*/ 8925 h 10000"/>
                <a:gd name="connsiteX827" fmla="*/ 480 w 10000"/>
                <a:gd name="connsiteY827" fmla="*/ 8962 h 10000"/>
                <a:gd name="connsiteX828" fmla="*/ 465 w 10000"/>
                <a:gd name="connsiteY828" fmla="*/ 8981 h 10000"/>
                <a:gd name="connsiteX829" fmla="*/ 455 w 10000"/>
                <a:gd name="connsiteY829" fmla="*/ 8993 h 10000"/>
                <a:gd name="connsiteX830" fmla="*/ 444 w 10000"/>
                <a:gd name="connsiteY830" fmla="*/ 9000 h 10000"/>
                <a:gd name="connsiteX831" fmla="*/ 434 w 10000"/>
                <a:gd name="connsiteY831" fmla="*/ 9007 h 10000"/>
                <a:gd name="connsiteX832" fmla="*/ 432 w 10000"/>
                <a:gd name="connsiteY832" fmla="*/ 9007 h 10000"/>
                <a:gd name="connsiteX833" fmla="*/ 429 w 10000"/>
                <a:gd name="connsiteY833" fmla="*/ 9004 h 10000"/>
                <a:gd name="connsiteX834" fmla="*/ 427 w 10000"/>
                <a:gd name="connsiteY834" fmla="*/ 8997 h 10000"/>
                <a:gd name="connsiteX835" fmla="*/ 427 w 10000"/>
                <a:gd name="connsiteY835" fmla="*/ 8993 h 10000"/>
                <a:gd name="connsiteX836" fmla="*/ 424 w 10000"/>
                <a:gd name="connsiteY836" fmla="*/ 8976 h 10000"/>
                <a:gd name="connsiteX837" fmla="*/ 427 w 10000"/>
                <a:gd name="connsiteY837" fmla="*/ 8948 h 10000"/>
                <a:gd name="connsiteX838" fmla="*/ 437 w 10000"/>
                <a:gd name="connsiteY838" fmla="*/ 8913 h 10000"/>
                <a:gd name="connsiteX839" fmla="*/ 455 w 10000"/>
                <a:gd name="connsiteY839" fmla="*/ 8859 h 10000"/>
                <a:gd name="connsiteX840" fmla="*/ 462 w 10000"/>
                <a:gd name="connsiteY840" fmla="*/ 8834 h 10000"/>
                <a:gd name="connsiteX841" fmla="*/ 470 w 10000"/>
                <a:gd name="connsiteY841" fmla="*/ 8810 h 10000"/>
                <a:gd name="connsiteX842" fmla="*/ 472 w 10000"/>
                <a:gd name="connsiteY842" fmla="*/ 8794 h 10000"/>
                <a:gd name="connsiteX843" fmla="*/ 472 w 10000"/>
                <a:gd name="connsiteY843" fmla="*/ 8780 h 10000"/>
                <a:gd name="connsiteX844" fmla="*/ 462 w 10000"/>
                <a:gd name="connsiteY844" fmla="*/ 8784 h 10000"/>
                <a:gd name="connsiteX845" fmla="*/ 452 w 10000"/>
                <a:gd name="connsiteY845" fmla="*/ 8787 h 10000"/>
                <a:gd name="connsiteX846" fmla="*/ 437 w 10000"/>
                <a:gd name="connsiteY846" fmla="*/ 8794 h 10000"/>
                <a:gd name="connsiteX847" fmla="*/ 424 w 10000"/>
                <a:gd name="connsiteY847" fmla="*/ 8803 h 10000"/>
                <a:gd name="connsiteX848" fmla="*/ 394 w 10000"/>
                <a:gd name="connsiteY848" fmla="*/ 8829 h 10000"/>
                <a:gd name="connsiteX849" fmla="*/ 364 w 10000"/>
                <a:gd name="connsiteY849" fmla="*/ 8859 h 10000"/>
                <a:gd name="connsiteX850" fmla="*/ 311 w 10000"/>
                <a:gd name="connsiteY850" fmla="*/ 8922 h 10000"/>
                <a:gd name="connsiteX851" fmla="*/ 268 w 10000"/>
                <a:gd name="connsiteY851" fmla="*/ 8964 h 10000"/>
                <a:gd name="connsiteX852" fmla="*/ 205 w 10000"/>
                <a:gd name="connsiteY852" fmla="*/ 9016 h 10000"/>
                <a:gd name="connsiteX853" fmla="*/ 146 w 10000"/>
                <a:gd name="connsiteY853" fmla="*/ 9053 h 10000"/>
                <a:gd name="connsiteX854" fmla="*/ 139 w 10000"/>
                <a:gd name="connsiteY854" fmla="*/ 9063 h 10000"/>
                <a:gd name="connsiteX855" fmla="*/ 129 w 10000"/>
                <a:gd name="connsiteY855" fmla="*/ 9077 h 10000"/>
                <a:gd name="connsiteX856" fmla="*/ 126 w 10000"/>
                <a:gd name="connsiteY856" fmla="*/ 9086 h 10000"/>
                <a:gd name="connsiteX857" fmla="*/ 126 w 10000"/>
                <a:gd name="connsiteY857" fmla="*/ 9102 h 10000"/>
                <a:gd name="connsiteX858" fmla="*/ 129 w 10000"/>
                <a:gd name="connsiteY858" fmla="*/ 9116 h 10000"/>
                <a:gd name="connsiteX859" fmla="*/ 139 w 10000"/>
                <a:gd name="connsiteY859" fmla="*/ 9135 h 10000"/>
                <a:gd name="connsiteX860" fmla="*/ 149 w 10000"/>
                <a:gd name="connsiteY860" fmla="*/ 9151 h 10000"/>
                <a:gd name="connsiteX861" fmla="*/ 164 w 10000"/>
                <a:gd name="connsiteY861" fmla="*/ 9175 h 10000"/>
                <a:gd name="connsiteX862" fmla="*/ 184 w 10000"/>
                <a:gd name="connsiteY862" fmla="*/ 9196 h 10000"/>
                <a:gd name="connsiteX863" fmla="*/ 207 w 10000"/>
                <a:gd name="connsiteY863" fmla="*/ 9215 h 10000"/>
                <a:gd name="connsiteX864" fmla="*/ 227 w 10000"/>
                <a:gd name="connsiteY864" fmla="*/ 9233 h 10000"/>
                <a:gd name="connsiteX865" fmla="*/ 253 w 10000"/>
                <a:gd name="connsiteY865" fmla="*/ 9250 h 10000"/>
                <a:gd name="connsiteX866" fmla="*/ 303 w 10000"/>
                <a:gd name="connsiteY866" fmla="*/ 9282 h 10000"/>
                <a:gd name="connsiteX867" fmla="*/ 351 w 10000"/>
                <a:gd name="connsiteY867" fmla="*/ 9315 h 10000"/>
                <a:gd name="connsiteX868" fmla="*/ 414 w 10000"/>
                <a:gd name="connsiteY868" fmla="*/ 9364 h 10000"/>
                <a:gd name="connsiteX869" fmla="*/ 480 w 10000"/>
                <a:gd name="connsiteY869" fmla="*/ 9416 h 10000"/>
                <a:gd name="connsiteX870" fmla="*/ 513 w 10000"/>
                <a:gd name="connsiteY870" fmla="*/ 9437 h 10000"/>
                <a:gd name="connsiteX871" fmla="*/ 548 w 10000"/>
                <a:gd name="connsiteY871" fmla="*/ 9462 h 10000"/>
                <a:gd name="connsiteX872" fmla="*/ 581 w 10000"/>
                <a:gd name="connsiteY872" fmla="*/ 9483 h 10000"/>
                <a:gd name="connsiteX873" fmla="*/ 614 w 10000"/>
                <a:gd name="connsiteY873" fmla="*/ 9502 h 10000"/>
                <a:gd name="connsiteX874" fmla="*/ 641 w 10000"/>
                <a:gd name="connsiteY874" fmla="*/ 9525 h 10000"/>
                <a:gd name="connsiteX875" fmla="*/ 672 w 10000"/>
                <a:gd name="connsiteY875" fmla="*/ 9549 h 10000"/>
                <a:gd name="connsiteX876" fmla="*/ 702 w 10000"/>
                <a:gd name="connsiteY876" fmla="*/ 9568 h 10000"/>
                <a:gd name="connsiteX877" fmla="*/ 737 w 10000"/>
                <a:gd name="connsiteY877" fmla="*/ 9589 h 10000"/>
                <a:gd name="connsiteX878" fmla="*/ 770 w 10000"/>
                <a:gd name="connsiteY878" fmla="*/ 9605 h 10000"/>
                <a:gd name="connsiteX879" fmla="*/ 808 w 10000"/>
                <a:gd name="connsiteY879" fmla="*/ 9617 h 10000"/>
                <a:gd name="connsiteX880" fmla="*/ 843 w 10000"/>
                <a:gd name="connsiteY880" fmla="*/ 9624 h 10000"/>
                <a:gd name="connsiteX881" fmla="*/ 884 w 10000"/>
                <a:gd name="connsiteY881" fmla="*/ 9628 h 10000"/>
                <a:gd name="connsiteX882" fmla="*/ 902 w 10000"/>
                <a:gd name="connsiteY882" fmla="*/ 9628 h 10000"/>
                <a:gd name="connsiteX883" fmla="*/ 914 w 10000"/>
                <a:gd name="connsiteY883" fmla="*/ 9631 h 10000"/>
                <a:gd name="connsiteX884" fmla="*/ 932 w 10000"/>
                <a:gd name="connsiteY884" fmla="*/ 9638 h 10000"/>
                <a:gd name="connsiteX885" fmla="*/ 942 w 10000"/>
                <a:gd name="connsiteY885" fmla="*/ 9642 h 10000"/>
                <a:gd name="connsiteX886" fmla="*/ 967 w 10000"/>
                <a:gd name="connsiteY886" fmla="*/ 9652 h 10000"/>
                <a:gd name="connsiteX887" fmla="*/ 987 w 10000"/>
                <a:gd name="connsiteY887" fmla="*/ 9668 h 10000"/>
                <a:gd name="connsiteX888" fmla="*/ 1005 w 10000"/>
                <a:gd name="connsiteY888" fmla="*/ 9682 h 10000"/>
                <a:gd name="connsiteX889" fmla="*/ 1025 w 10000"/>
                <a:gd name="connsiteY889" fmla="*/ 9698 h 10000"/>
                <a:gd name="connsiteX890" fmla="*/ 1045 w 10000"/>
                <a:gd name="connsiteY890" fmla="*/ 9712 h 10000"/>
                <a:gd name="connsiteX891" fmla="*/ 1073 w 10000"/>
                <a:gd name="connsiteY891" fmla="*/ 9724 h 10000"/>
                <a:gd name="connsiteX892" fmla="*/ 1098 w 10000"/>
                <a:gd name="connsiteY892" fmla="*/ 9738 h 10000"/>
                <a:gd name="connsiteX893" fmla="*/ 1121 w 10000"/>
                <a:gd name="connsiteY893" fmla="*/ 9750 h 10000"/>
                <a:gd name="connsiteX894" fmla="*/ 1141 w 10000"/>
                <a:gd name="connsiteY894" fmla="*/ 9762 h 10000"/>
                <a:gd name="connsiteX895" fmla="*/ 1159 w 10000"/>
                <a:gd name="connsiteY895" fmla="*/ 9776 h 10000"/>
                <a:gd name="connsiteX896" fmla="*/ 1172 w 10000"/>
                <a:gd name="connsiteY896" fmla="*/ 9787 h 10000"/>
                <a:gd name="connsiteX897" fmla="*/ 1182 w 10000"/>
                <a:gd name="connsiteY897" fmla="*/ 9804 h 10000"/>
                <a:gd name="connsiteX898" fmla="*/ 1194 w 10000"/>
                <a:gd name="connsiteY898" fmla="*/ 9818 h 10000"/>
                <a:gd name="connsiteX899" fmla="*/ 1202 w 10000"/>
                <a:gd name="connsiteY899" fmla="*/ 9834 h 10000"/>
                <a:gd name="connsiteX900" fmla="*/ 1212 w 10000"/>
                <a:gd name="connsiteY900" fmla="*/ 9869 h 10000"/>
                <a:gd name="connsiteX901" fmla="*/ 1220 w 10000"/>
                <a:gd name="connsiteY901" fmla="*/ 9906 h 10000"/>
                <a:gd name="connsiteX902" fmla="*/ 1230 w 10000"/>
                <a:gd name="connsiteY902" fmla="*/ 9951 h 10000"/>
                <a:gd name="connsiteX903" fmla="*/ 1237 w 10000"/>
                <a:gd name="connsiteY903" fmla="*/ 10000 h 10000"/>
                <a:gd name="connsiteX904" fmla="*/ 1237 w 10000"/>
                <a:gd name="connsiteY90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44 w 10000"/>
                <a:gd name="connsiteY779" fmla="*/ 8212 h 10000"/>
                <a:gd name="connsiteX780" fmla="*/ 1434 w 10000"/>
                <a:gd name="connsiteY780" fmla="*/ 8223 h 10000"/>
                <a:gd name="connsiteX781" fmla="*/ 1419 w 10000"/>
                <a:gd name="connsiteY781" fmla="*/ 8233 h 10000"/>
                <a:gd name="connsiteX782" fmla="*/ 1412 w 10000"/>
                <a:gd name="connsiteY782" fmla="*/ 8247 h 10000"/>
                <a:gd name="connsiteX783" fmla="*/ 1394 w 10000"/>
                <a:gd name="connsiteY783" fmla="*/ 8275 h 10000"/>
                <a:gd name="connsiteX784" fmla="*/ 1354 w 10000"/>
                <a:gd name="connsiteY784" fmla="*/ 8387 h 10000"/>
                <a:gd name="connsiteX785" fmla="*/ 1346 w 10000"/>
                <a:gd name="connsiteY785" fmla="*/ 8406 h 10000"/>
                <a:gd name="connsiteX786" fmla="*/ 1338 w 10000"/>
                <a:gd name="connsiteY786" fmla="*/ 8420 h 10000"/>
                <a:gd name="connsiteX787" fmla="*/ 1328 w 10000"/>
                <a:gd name="connsiteY787" fmla="*/ 8436 h 10000"/>
                <a:gd name="connsiteX788" fmla="*/ 1316 w 10000"/>
                <a:gd name="connsiteY788" fmla="*/ 8446 h 10000"/>
                <a:gd name="connsiteX789" fmla="*/ 1306 w 10000"/>
                <a:gd name="connsiteY789" fmla="*/ 8453 h 10000"/>
                <a:gd name="connsiteX790" fmla="*/ 1293 w 10000"/>
                <a:gd name="connsiteY790" fmla="*/ 8460 h 10000"/>
                <a:gd name="connsiteX791" fmla="*/ 1275 w 10000"/>
                <a:gd name="connsiteY791" fmla="*/ 8460 h 10000"/>
                <a:gd name="connsiteX792" fmla="*/ 1265 w 10000"/>
                <a:gd name="connsiteY792" fmla="*/ 8450 h 10000"/>
                <a:gd name="connsiteX793" fmla="*/ 1245 w 10000"/>
                <a:gd name="connsiteY793" fmla="*/ 8424 h 10000"/>
                <a:gd name="connsiteX794" fmla="*/ 1237 w 10000"/>
                <a:gd name="connsiteY794" fmla="*/ 8408 h 10000"/>
                <a:gd name="connsiteX795" fmla="*/ 1217 w 10000"/>
                <a:gd name="connsiteY795" fmla="*/ 8373 h 10000"/>
                <a:gd name="connsiteX796" fmla="*/ 1202 w 10000"/>
                <a:gd name="connsiteY796" fmla="*/ 8333 h 10000"/>
                <a:gd name="connsiteX797" fmla="*/ 1182 w 10000"/>
                <a:gd name="connsiteY797" fmla="*/ 8296 h 10000"/>
                <a:gd name="connsiteX798" fmla="*/ 1162 w 10000"/>
                <a:gd name="connsiteY798" fmla="*/ 8268 h 10000"/>
                <a:gd name="connsiteX799" fmla="*/ 1149 w 10000"/>
                <a:gd name="connsiteY799" fmla="*/ 8256 h 10000"/>
                <a:gd name="connsiteX800" fmla="*/ 1139 w 10000"/>
                <a:gd name="connsiteY800" fmla="*/ 8249 h 10000"/>
                <a:gd name="connsiteX801" fmla="*/ 1126 w 10000"/>
                <a:gd name="connsiteY801" fmla="*/ 8240 h 10000"/>
                <a:gd name="connsiteX802" fmla="*/ 1114 w 10000"/>
                <a:gd name="connsiteY802" fmla="*/ 8240 h 10000"/>
                <a:gd name="connsiteX803" fmla="*/ 1091 w 10000"/>
                <a:gd name="connsiteY803" fmla="*/ 8242 h 10000"/>
                <a:gd name="connsiteX804" fmla="*/ 1071 w 10000"/>
                <a:gd name="connsiteY804" fmla="*/ 8252 h 10000"/>
                <a:gd name="connsiteX805" fmla="*/ 1048 w 10000"/>
                <a:gd name="connsiteY805" fmla="*/ 8261 h 10000"/>
                <a:gd name="connsiteX806" fmla="*/ 1030 w 10000"/>
                <a:gd name="connsiteY806" fmla="*/ 8273 h 10000"/>
                <a:gd name="connsiteX807" fmla="*/ 1010 w 10000"/>
                <a:gd name="connsiteY807" fmla="*/ 8287 h 10000"/>
                <a:gd name="connsiteX808" fmla="*/ 995 w 10000"/>
                <a:gd name="connsiteY808" fmla="*/ 8303 h 10000"/>
                <a:gd name="connsiteX809" fmla="*/ 975 w 10000"/>
                <a:gd name="connsiteY809" fmla="*/ 8322 h 10000"/>
                <a:gd name="connsiteX810" fmla="*/ 960 w 10000"/>
                <a:gd name="connsiteY810" fmla="*/ 8343 h 10000"/>
                <a:gd name="connsiteX811" fmla="*/ 927 w 10000"/>
                <a:gd name="connsiteY811" fmla="*/ 8380 h 10000"/>
                <a:gd name="connsiteX812" fmla="*/ 891 w 10000"/>
                <a:gd name="connsiteY812" fmla="*/ 8417 h 10000"/>
                <a:gd name="connsiteX813" fmla="*/ 874 w 10000"/>
                <a:gd name="connsiteY813" fmla="*/ 8436 h 10000"/>
                <a:gd name="connsiteX814" fmla="*/ 859 w 10000"/>
                <a:gd name="connsiteY814" fmla="*/ 8450 h 10000"/>
                <a:gd name="connsiteX815" fmla="*/ 838 w 10000"/>
                <a:gd name="connsiteY815" fmla="*/ 8462 h 10000"/>
                <a:gd name="connsiteX816" fmla="*/ 821 w 10000"/>
                <a:gd name="connsiteY816" fmla="*/ 8476 h 10000"/>
                <a:gd name="connsiteX817" fmla="*/ 742 w 10000"/>
                <a:gd name="connsiteY817" fmla="*/ 8562 h 10000"/>
                <a:gd name="connsiteX818" fmla="*/ 672 w 10000"/>
                <a:gd name="connsiteY818" fmla="*/ 8644 h 10000"/>
                <a:gd name="connsiteX819" fmla="*/ 639 w 10000"/>
                <a:gd name="connsiteY819" fmla="*/ 8684 h 10000"/>
                <a:gd name="connsiteX820" fmla="*/ 609 w 10000"/>
                <a:gd name="connsiteY820" fmla="*/ 8731 h 10000"/>
                <a:gd name="connsiteX821" fmla="*/ 583 w 10000"/>
                <a:gd name="connsiteY821" fmla="*/ 8777 h 10000"/>
                <a:gd name="connsiteX822" fmla="*/ 556 w 10000"/>
                <a:gd name="connsiteY822" fmla="*/ 8831 h 10000"/>
                <a:gd name="connsiteX823" fmla="*/ 545 w 10000"/>
                <a:gd name="connsiteY823" fmla="*/ 8852 h 10000"/>
                <a:gd name="connsiteX824" fmla="*/ 525 w 10000"/>
                <a:gd name="connsiteY824" fmla="*/ 8885 h 10000"/>
                <a:gd name="connsiteX825" fmla="*/ 503 w 10000"/>
                <a:gd name="connsiteY825" fmla="*/ 8925 h 10000"/>
                <a:gd name="connsiteX826" fmla="*/ 480 w 10000"/>
                <a:gd name="connsiteY826" fmla="*/ 8962 h 10000"/>
                <a:gd name="connsiteX827" fmla="*/ 465 w 10000"/>
                <a:gd name="connsiteY827" fmla="*/ 8981 h 10000"/>
                <a:gd name="connsiteX828" fmla="*/ 455 w 10000"/>
                <a:gd name="connsiteY828" fmla="*/ 8993 h 10000"/>
                <a:gd name="connsiteX829" fmla="*/ 444 w 10000"/>
                <a:gd name="connsiteY829" fmla="*/ 9000 h 10000"/>
                <a:gd name="connsiteX830" fmla="*/ 434 w 10000"/>
                <a:gd name="connsiteY830" fmla="*/ 9007 h 10000"/>
                <a:gd name="connsiteX831" fmla="*/ 432 w 10000"/>
                <a:gd name="connsiteY831" fmla="*/ 9007 h 10000"/>
                <a:gd name="connsiteX832" fmla="*/ 429 w 10000"/>
                <a:gd name="connsiteY832" fmla="*/ 9004 h 10000"/>
                <a:gd name="connsiteX833" fmla="*/ 427 w 10000"/>
                <a:gd name="connsiteY833" fmla="*/ 8997 h 10000"/>
                <a:gd name="connsiteX834" fmla="*/ 427 w 10000"/>
                <a:gd name="connsiteY834" fmla="*/ 8993 h 10000"/>
                <a:gd name="connsiteX835" fmla="*/ 424 w 10000"/>
                <a:gd name="connsiteY835" fmla="*/ 8976 h 10000"/>
                <a:gd name="connsiteX836" fmla="*/ 427 w 10000"/>
                <a:gd name="connsiteY836" fmla="*/ 8948 h 10000"/>
                <a:gd name="connsiteX837" fmla="*/ 437 w 10000"/>
                <a:gd name="connsiteY837" fmla="*/ 8913 h 10000"/>
                <a:gd name="connsiteX838" fmla="*/ 455 w 10000"/>
                <a:gd name="connsiteY838" fmla="*/ 8859 h 10000"/>
                <a:gd name="connsiteX839" fmla="*/ 462 w 10000"/>
                <a:gd name="connsiteY839" fmla="*/ 8834 h 10000"/>
                <a:gd name="connsiteX840" fmla="*/ 470 w 10000"/>
                <a:gd name="connsiteY840" fmla="*/ 8810 h 10000"/>
                <a:gd name="connsiteX841" fmla="*/ 472 w 10000"/>
                <a:gd name="connsiteY841" fmla="*/ 8794 h 10000"/>
                <a:gd name="connsiteX842" fmla="*/ 472 w 10000"/>
                <a:gd name="connsiteY842" fmla="*/ 8780 h 10000"/>
                <a:gd name="connsiteX843" fmla="*/ 462 w 10000"/>
                <a:gd name="connsiteY843" fmla="*/ 8784 h 10000"/>
                <a:gd name="connsiteX844" fmla="*/ 452 w 10000"/>
                <a:gd name="connsiteY844" fmla="*/ 8787 h 10000"/>
                <a:gd name="connsiteX845" fmla="*/ 437 w 10000"/>
                <a:gd name="connsiteY845" fmla="*/ 8794 h 10000"/>
                <a:gd name="connsiteX846" fmla="*/ 424 w 10000"/>
                <a:gd name="connsiteY846" fmla="*/ 8803 h 10000"/>
                <a:gd name="connsiteX847" fmla="*/ 394 w 10000"/>
                <a:gd name="connsiteY847" fmla="*/ 8829 h 10000"/>
                <a:gd name="connsiteX848" fmla="*/ 364 w 10000"/>
                <a:gd name="connsiteY848" fmla="*/ 8859 h 10000"/>
                <a:gd name="connsiteX849" fmla="*/ 311 w 10000"/>
                <a:gd name="connsiteY849" fmla="*/ 8922 h 10000"/>
                <a:gd name="connsiteX850" fmla="*/ 268 w 10000"/>
                <a:gd name="connsiteY850" fmla="*/ 8964 h 10000"/>
                <a:gd name="connsiteX851" fmla="*/ 205 w 10000"/>
                <a:gd name="connsiteY851" fmla="*/ 9016 h 10000"/>
                <a:gd name="connsiteX852" fmla="*/ 146 w 10000"/>
                <a:gd name="connsiteY852" fmla="*/ 9053 h 10000"/>
                <a:gd name="connsiteX853" fmla="*/ 139 w 10000"/>
                <a:gd name="connsiteY853" fmla="*/ 9063 h 10000"/>
                <a:gd name="connsiteX854" fmla="*/ 129 w 10000"/>
                <a:gd name="connsiteY854" fmla="*/ 9077 h 10000"/>
                <a:gd name="connsiteX855" fmla="*/ 126 w 10000"/>
                <a:gd name="connsiteY855" fmla="*/ 9086 h 10000"/>
                <a:gd name="connsiteX856" fmla="*/ 126 w 10000"/>
                <a:gd name="connsiteY856" fmla="*/ 9102 h 10000"/>
                <a:gd name="connsiteX857" fmla="*/ 129 w 10000"/>
                <a:gd name="connsiteY857" fmla="*/ 9116 h 10000"/>
                <a:gd name="connsiteX858" fmla="*/ 139 w 10000"/>
                <a:gd name="connsiteY858" fmla="*/ 9135 h 10000"/>
                <a:gd name="connsiteX859" fmla="*/ 149 w 10000"/>
                <a:gd name="connsiteY859" fmla="*/ 9151 h 10000"/>
                <a:gd name="connsiteX860" fmla="*/ 164 w 10000"/>
                <a:gd name="connsiteY860" fmla="*/ 9175 h 10000"/>
                <a:gd name="connsiteX861" fmla="*/ 184 w 10000"/>
                <a:gd name="connsiteY861" fmla="*/ 9196 h 10000"/>
                <a:gd name="connsiteX862" fmla="*/ 207 w 10000"/>
                <a:gd name="connsiteY862" fmla="*/ 9215 h 10000"/>
                <a:gd name="connsiteX863" fmla="*/ 227 w 10000"/>
                <a:gd name="connsiteY863" fmla="*/ 9233 h 10000"/>
                <a:gd name="connsiteX864" fmla="*/ 253 w 10000"/>
                <a:gd name="connsiteY864" fmla="*/ 9250 h 10000"/>
                <a:gd name="connsiteX865" fmla="*/ 303 w 10000"/>
                <a:gd name="connsiteY865" fmla="*/ 9282 h 10000"/>
                <a:gd name="connsiteX866" fmla="*/ 351 w 10000"/>
                <a:gd name="connsiteY866" fmla="*/ 9315 h 10000"/>
                <a:gd name="connsiteX867" fmla="*/ 414 w 10000"/>
                <a:gd name="connsiteY867" fmla="*/ 9364 h 10000"/>
                <a:gd name="connsiteX868" fmla="*/ 480 w 10000"/>
                <a:gd name="connsiteY868" fmla="*/ 9416 h 10000"/>
                <a:gd name="connsiteX869" fmla="*/ 513 w 10000"/>
                <a:gd name="connsiteY869" fmla="*/ 9437 h 10000"/>
                <a:gd name="connsiteX870" fmla="*/ 548 w 10000"/>
                <a:gd name="connsiteY870" fmla="*/ 9462 h 10000"/>
                <a:gd name="connsiteX871" fmla="*/ 581 w 10000"/>
                <a:gd name="connsiteY871" fmla="*/ 9483 h 10000"/>
                <a:gd name="connsiteX872" fmla="*/ 614 w 10000"/>
                <a:gd name="connsiteY872" fmla="*/ 9502 h 10000"/>
                <a:gd name="connsiteX873" fmla="*/ 641 w 10000"/>
                <a:gd name="connsiteY873" fmla="*/ 9525 h 10000"/>
                <a:gd name="connsiteX874" fmla="*/ 672 w 10000"/>
                <a:gd name="connsiteY874" fmla="*/ 9549 h 10000"/>
                <a:gd name="connsiteX875" fmla="*/ 702 w 10000"/>
                <a:gd name="connsiteY875" fmla="*/ 9568 h 10000"/>
                <a:gd name="connsiteX876" fmla="*/ 737 w 10000"/>
                <a:gd name="connsiteY876" fmla="*/ 9589 h 10000"/>
                <a:gd name="connsiteX877" fmla="*/ 770 w 10000"/>
                <a:gd name="connsiteY877" fmla="*/ 9605 h 10000"/>
                <a:gd name="connsiteX878" fmla="*/ 808 w 10000"/>
                <a:gd name="connsiteY878" fmla="*/ 9617 h 10000"/>
                <a:gd name="connsiteX879" fmla="*/ 843 w 10000"/>
                <a:gd name="connsiteY879" fmla="*/ 9624 h 10000"/>
                <a:gd name="connsiteX880" fmla="*/ 884 w 10000"/>
                <a:gd name="connsiteY880" fmla="*/ 9628 h 10000"/>
                <a:gd name="connsiteX881" fmla="*/ 902 w 10000"/>
                <a:gd name="connsiteY881" fmla="*/ 9628 h 10000"/>
                <a:gd name="connsiteX882" fmla="*/ 914 w 10000"/>
                <a:gd name="connsiteY882" fmla="*/ 9631 h 10000"/>
                <a:gd name="connsiteX883" fmla="*/ 932 w 10000"/>
                <a:gd name="connsiteY883" fmla="*/ 9638 h 10000"/>
                <a:gd name="connsiteX884" fmla="*/ 942 w 10000"/>
                <a:gd name="connsiteY884" fmla="*/ 9642 h 10000"/>
                <a:gd name="connsiteX885" fmla="*/ 967 w 10000"/>
                <a:gd name="connsiteY885" fmla="*/ 9652 h 10000"/>
                <a:gd name="connsiteX886" fmla="*/ 987 w 10000"/>
                <a:gd name="connsiteY886" fmla="*/ 9668 h 10000"/>
                <a:gd name="connsiteX887" fmla="*/ 1005 w 10000"/>
                <a:gd name="connsiteY887" fmla="*/ 9682 h 10000"/>
                <a:gd name="connsiteX888" fmla="*/ 1025 w 10000"/>
                <a:gd name="connsiteY888" fmla="*/ 9698 h 10000"/>
                <a:gd name="connsiteX889" fmla="*/ 1045 w 10000"/>
                <a:gd name="connsiteY889" fmla="*/ 9712 h 10000"/>
                <a:gd name="connsiteX890" fmla="*/ 1073 w 10000"/>
                <a:gd name="connsiteY890" fmla="*/ 9724 h 10000"/>
                <a:gd name="connsiteX891" fmla="*/ 1098 w 10000"/>
                <a:gd name="connsiteY891" fmla="*/ 9738 h 10000"/>
                <a:gd name="connsiteX892" fmla="*/ 1121 w 10000"/>
                <a:gd name="connsiteY892" fmla="*/ 9750 h 10000"/>
                <a:gd name="connsiteX893" fmla="*/ 1141 w 10000"/>
                <a:gd name="connsiteY893" fmla="*/ 9762 h 10000"/>
                <a:gd name="connsiteX894" fmla="*/ 1159 w 10000"/>
                <a:gd name="connsiteY894" fmla="*/ 9776 h 10000"/>
                <a:gd name="connsiteX895" fmla="*/ 1172 w 10000"/>
                <a:gd name="connsiteY895" fmla="*/ 9787 h 10000"/>
                <a:gd name="connsiteX896" fmla="*/ 1182 w 10000"/>
                <a:gd name="connsiteY896" fmla="*/ 9804 h 10000"/>
                <a:gd name="connsiteX897" fmla="*/ 1194 w 10000"/>
                <a:gd name="connsiteY897" fmla="*/ 9818 h 10000"/>
                <a:gd name="connsiteX898" fmla="*/ 1202 w 10000"/>
                <a:gd name="connsiteY898" fmla="*/ 9834 h 10000"/>
                <a:gd name="connsiteX899" fmla="*/ 1212 w 10000"/>
                <a:gd name="connsiteY899" fmla="*/ 9869 h 10000"/>
                <a:gd name="connsiteX900" fmla="*/ 1220 w 10000"/>
                <a:gd name="connsiteY900" fmla="*/ 9906 h 10000"/>
                <a:gd name="connsiteX901" fmla="*/ 1230 w 10000"/>
                <a:gd name="connsiteY901" fmla="*/ 9951 h 10000"/>
                <a:gd name="connsiteX902" fmla="*/ 1237 w 10000"/>
                <a:gd name="connsiteY902" fmla="*/ 10000 h 10000"/>
                <a:gd name="connsiteX903" fmla="*/ 1237 w 10000"/>
                <a:gd name="connsiteY90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28 w 10000"/>
                <a:gd name="connsiteY786" fmla="*/ 8436 h 10000"/>
                <a:gd name="connsiteX787" fmla="*/ 1316 w 10000"/>
                <a:gd name="connsiteY787" fmla="*/ 8446 h 10000"/>
                <a:gd name="connsiteX788" fmla="*/ 1306 w 10000"/>
                <a:gd name="connsiteY788" fmla="*/ 8453 h 10000"/>
                <a:gd name="connsiteX789" fmla="*/ 1293 w 10000"/>
                <a:gd name="connsiteY789" fmla="*/ 8460 h 10000"/>
                <a:gd name="connsiteX790" fmla="*/ 1275 w 10000"/>
                <a:gd name="connsiteY790" fmla="*/ 8460 h 10000"/>
                <a:gd name="connsiteX791" fmla="*/ 1265 w 10000"/>
                <a:gd name="connsiteY791" fmla="*/ 8450 h 10000"/>
                <a:gd name="connsiteX792" fmla="*/ 1245 w 10000"/>
                <a:gd name="connsiteY792" fmla="*/ 8424 h 10000"/>
                <a:gd name="connsiteX793" fmla="*/ 1237 w 10000"/>
                <a:gd name="connsiteY793" fmla="*/ 8408 h 10000"/>
                <a:gd name="connsiteX794" fmla="*/ 1217 w 10000"/>
                <a:gd name="connsiteY794" fmla="*/ 8373 h 10000"/>
                <a:gd name="connsiteX795" fmla="*/ 1202 w 10000"/>
                <a:gd name="connsiteY795" fmla="*/ 8333 h 10000"/>
                <a:gd name="connsiteX796" fmla="*/ 1182 w 10000"/>
                <a:gd name="connsiteY796" fmla="*/ 8296 h 10000"/>
                <a:gd name="connsiteX797" fmla="*/ 1162 w 10000"/>
                <a:gd name="connsiteY797" fmla="*/ 8268 h 10000"/>
                <a:gd name="connsiteX798" fmla="*/ 1149 w 10000"/>
                <a:gd name="connsiteY798" fmla="*/ 8256 h 10000"/>
                <a:gd name="connsiteX799" fmla="*/ 1139 w 10000"/>
                <a:gd name="connsiteY799" fmla="*/ 8249 h 10000"/>
                <a:gd name="connsiteX800" fmla="*/ 1126 w 10000"/>
                <a:gd name="connsiteY800" fmla="*/ 8240 h 10000"/>
                <a:gd name="connsiteX801" fmla="*/ 1114 w 10000"/>
                <a:gd name="connsiteY801" fmla="*/ 8240 h 10000"/>
                <a:gd name="connsiteX802" fmla="*/ 1091 w 10000"/>
                <a:gd name="connsiteY802" fmla="*/ 8242 h 10000"/>
                <a:gd name="connsiteX803" fmla="*/ 1071 w 10000"/>
                <a:gd name="connsiteY803" fmla="*/ 8252 h 10000"/>
                <a:gd name="connsiteX804" fmla="*/ 1048 w 10000"/>
                <a:gd name="connsiteY804" fmla="*/ 8261 h 10000"/>
                <a:gd name="connsiteX805" fmla="*/ 1030 w 10000"/>
                <a:gd name="connsiteY805" fmla="*/ 8273 h 10000"/>
                <a:gd name="connsiteX806" fmla="*/ 1010 w 10000"/>
                <a:gd name="connsiteY806" fmla="*/ 8287 h 10000"/>
                <a:gd name="connsiteX807" fmla="*/ 995 w 10000"/>
                <a:gd name="connsiteY807" fmla="*/ 8303 h 10000"/>
                <a:gd name="connsiteX808" fmla="*/ 975 w 10000"/>
                <a:gd name="connsiteY808" fmla="*/ 8322 h 10000"/>
                <a:gd name="connsiteX809" fmla="*/ 960 w 10000"/>
                <a:gd name="connsiteY809" fmla="*/ 8343 h 10000"/>
                <a:gd name="connsiteX810" fmla="*/ 927 w 10000"/>
                <a:gd name="connsiteY810" fmla="*/ 8380 h 10000"/>
                <a:gd name="connsiteX811" fmla="*/ 891 w 10000"/>
                <a:gd name="connsiteY811" fmla="*/ 8417 h 10000"/>
                <a:gd name="connsiteX812" fmla="*/ 874 w 10000"/>
                <a:gd name="connsiteY812" fmla="*/ 8436 h 10000"/>
                <a:gd name="connsiteX813" fmla="*/ 859 w 10000"/>
                <a:gd name="connsiteY813" fmla="*/ 8450 h 10000"/>
                <a:gd name="connsiteX814" fmla="*/ 838 w 10000"/>
                <a:gd name="connsiteY814" fmla="*/ 8462 h 10000"/>
                <a:gd name="connsiteX815" fmla="*/ 821 w 10000"/>
                <a:gd name="connsiteY815" fmla="*/ 8476 h 10000"/>
                <a:gd name="connsiteX816" fmla="*/ 742 w 10000"/>
                <a:gd name="connsiteY816" fmla="*/ 8562 h 10000"/>
                <a:gd name="connsiteX817" fmla="*/ 672 w 10000"/>
                <a:gd name="connsiteY817" fmla="*/ 8644 h 10000"/>
                <a:gd name="connsiteX818" fmla="*/ 639 w 10000"/>
                <a:gd name="connsiteY818" fmla="*/ 8684 h 10000"/>
                <a:gd name="connsiteX819" fmla="*/ 609 w 10000"/>
                <a:gd name="connsiteY819" fmla="*/ 8731 h 10000"/>
                <a:gd name="connsiteX820" fmla="*/ 583 w 10000"/>
                <a:gd name="connsiteY820" fmla="*/ 8777 h 10000"/>
                <a:gd name="connsiteX821" fmla="*/ 556 w 10000"/>
                <a:gd name="connsiteY821" fmla="*/ 8831 h 10000"/>
                <a:gd name="connsiteX822" fmla="*/ 545 w 10000"/>
                <a:gd name="connsiteY822" fmla="*/ 8852 h 10000"/>
                <a:gd name="connsiteX823" fmla="*/ 525 w 10000"/>
                <a:gd name="connsiteY823" fmla="*/ 8885 h 10000"/>
                <a:gd name="connsiteX824" fmla="*/ 503 w 10000"/>
                <a:gd name="connsiteY824" fmla="*/ 8925 h 10000"/>
                <a:gd name="connsiteX825" fmla="*/ 480 w 10000"/>
                <a:gd name="connsiteY825" fmla="*/ 8962 h 10000"/>
                <a:gd name="connsiteX826" fmla="*/ 465 w 10000"/>
                <a:gd name="connsiteY826" fmla="*/ 8981 h 10000"/>
                <a:gd name="connsiteX827" fmla="*/ 455 w 10000"/>
                <a:gd name="connsiteY827" fmla="*/ 8993 h 10000"/>
                <a:gd name="connsiteX828" fmla="*/ 444 w 10000"/>
                <a:gd name="connsiteY828" fmla="*/ 9000 h 10000"/>
                <a:gd name="connsiteX829" fmla="*/ 434 w 10000"/>
                <a:gd name="connsiteY829" fmla="*/ 9007 h 10000"/>
                <a:gd name="connsiteX830" fmla="*/ 432 w 10000"/>
                <a:gd name="connsiteY830" fmla="*/ 9007 h 10000"/>
                <a:gd name="connsiteX831" fmla="*/ 429 w 10000"/>
                <a:gd name="connsiteY831" fmla="*/ 9004 h 10000"/>
                <a:gd name="connsiteX832" fmla="*/ 427 w 10000"/>
                <a:gd name="connsiteY832" fmla="*/ 8997 h 10000"/>
                <a:gd name="connsiteX833" fmla="*/ 427 w 10000"/>
                <a:gd name="connsiteY833" fmla="*/ 8993 h 10000"/>
                <a:gd name="connsiteX834" fmla="*/ 424 w 10000"/>
                <a:gd name="connsiteY834" fmla="*/ 8976 h 10000"/>
                <a:gd name="connsiteX835" fmla="*/ 427 w 10000"/>
                <a:gd name="connsiteY835" fmla="*/ 8948 h 10000"/>
                <a:gd name="connsiteX836" fmla="*/ 437 w 10000"/>
                <a:gd name="connsiteY836" fmla="*/ 8913 h 10000"/>
                <a:gd name="connsiteX837" fmla="*/ 455 w 10000"/>
                <a:gd name="connsiteY837" fmla="*/ 8859 h 10000"/>
                <a:gd name="connsiteX838" fmla="*/ 462 w 10000"/>
                <a:gd name="connsiteY838" fmla="*/ 8834 h 10000"/>
                <a:gd name="connsiteX839" fmla="*/ 470 w 10000"/>
                <a:gd name="connsiteY839" fmla="*/ 8810 h 10000"/>
                <a:gd name="connsiteX840" fmla="*/ 472 w 10000"/>
                <a:gd name="connsiteY840" fmla="*/ 8794 h 10000"/>
                <a:gd name="connsiteX841" fmla="*/ 472 w 10000"/>
                <a:gd name="connsiteY841" fmla="*/ 8780 h 10000"/>
                <a:gd name="connsiteX842" fmla="*/ 462 w 10000"/>
                <a:gd name="connsiteY842" fmla="*/ 8784 h 10000"/>
                <a:gd name="connsiteX843" fmla="*/ 452 w 10000"/>
                <a:gd name="connsiteY843" fmla="*/ 8787 h 10000"/>
                <a:gd name="connsiteX844" fmla="*/ 437 w 10000"/>
                <a:gd name="connsiteY844" fmla="*/ 8794 h 10000"/>
                <a:gd name="connsiteX845" fmla="*/ 424 w 10000"/>
                <a:gd name="connsiteY845" fmla="*/ 8803 h 10000"/>
                <a:gd name="connsiteX846" fmla="*/ 394 w 10000"/>
                <a:gd name="connsiteY846" fmla="*/ 8829 h 10000"/>
                <a:gd name="connsiteX847" fmla="*/ 364 w 10000"/>
                <a:gd name="connsiteY847" fmla="*/ 8859 h 10000"/>
                <a:gd name="connsiteX848" fmla="*/ 311 w 10000"/>
                <a:gd name="connsiteY848" fmla="*/ 8922 h 10000"/>
                <a:gd name="connsiteX849" fmla="*/ 268 w 10000"/>
                <a:gd name="connsiteY849" fmla="*/ 8964 h 10000"/>
                <a:gd name="connsiteX850" fmla="*/ 205 w 10000"/>
                <a:gd name="connsiteY850" fmla="*/ 9016 h 10000"/>
                <a:gd name="connsiteX851" fmla="*/ 146 w 10000"/>
                <a:gd name="connsiteY851" fmla="*/ 9053 h 10000"/>
                <a:gd name="connsiteX852" fmla="*/ 139 w 10000"/>
                <a:gd name="connsiteY852" fmla="*/ 9063 h 10000"/>
                <a:gd name="connsiteX853" fmla="*/ 129 w 10000"/>
                <a:gd name="connsiteY853" fmla="*/ 9077 h 10000"/>
                <a:gd name="connsiteX854" fmla="*/ 126 w 10000"/>
                <a:gd name="connsiteY854" fmla="*/ 9086 h 10000"/>
                <a:gd name="connsiteX855" fmla="*/ 126 w 10000"/>
                <a:gd name="connsiteY855" fmla="*/ 9102 h 10000"/>
                <a:gd name="connsiteX856" fmla="*/ 129 w 10000"/>
                <a:gd name="connsiteY856" fmla="*/ 9116 h 10000"/>
                <a:gd name="connsiteX857" fmla="*/ 139 w 10000"/>
                <a:gd name="connsiteY857" fmla="*/ 9135 h 10000"/>
                <a:gd name="connsiteX858" fmla="*/ 149 w 10000"/>
                <a:gd name="connsiteY858" fmla="*/ 9151 h 10000"/>
                <a:gd name="connsiteX859" fmla="*/ 164 w 10000"/>
                <a:gd name="connsiteY859" fmla="*/ 9175 h 10000"/>
                <a:gd name="connsiteX860" fmla="*/ 184 w 10000"/>
                <a:gd name="connsiteY860" fmla="*/ 9196 h 10000"/>
                <a:gd name="connsiteX861" fmla="*/ 207 w 10000"/>
                <a:gd name="connsiteY861" fmla="*/ 9215 h 10000"/>
                <a:gd name="connsiteX862" fmla="*/ 227 w 10000"/>
                <a:gd name="connsiteY862" fmla="*/ 9233 h 10000"/>
                <a:gd name="connsiteX863" fmla="*/ 253 w 10000"/>
                <a:gd name="connsiteY863" fmla="*/ 9250 h 10000"/>
                <a:gd name="connsiteX864" fmla="*/ 303 w 10000"/>
                <a:gd name="connsiteY864" fmla="*/ 9282 h 10000"/>
                <a:gd name="connsiteX865" fmla="*/ 351 w 10000"/>
                <a:gd name="connsiteY865" fmla="*/ 9315 h 10000"/>
                <a:gd name="connsiteX866" fmla="*/ 414 w 10000"/>
                <a:gd name="connsiteY866" fmla="*/ 9364 h 10000"/>
                <a:gd name="connsiteX867" fmla="*/ 480 w 10000"/>
                <a:gd name="connsiteY867" fmla="*/ 9416 h 10000"/>
                <a:gd name="connsiteX868" fmla="*/ 513 w 10000"/>
                <a:gd name="connsiteY868" fmla="*/ 9437 h 10000"/>
                <a:gd name="connsiteX869" fmla="*/ 548 w 10000"/>
                <a:gd name="connsiteY869" fmla="*/ 9462 h 10000"/>
                <a:gd name="connsiteX870" fmla="*/ 581 w 10000"/>
                <a:gd name="connsiteY870" fmla="*/ 9483 h 10000"/>
                <a:gd name="connsiteX871" fmla="*/ 614 w 10000"/>
                <a:gd name="connsiteY871" fmla="*/ 9502 h 10000"/>
                <a:gd name="connsiteX872" fmla="*/ 641 w 10000"/>
                <a:gd name="connsiteY872" fmla="*/ 9525 h 10000"/>
                <a:gd name="connsiteX873" fmla="*/ 672 w 10000"/>
                <a:gd name="connsiteY873" fmla="*/ 9549 h 10000"/>
                <a:gd name="connsiteX874" fmla="*/ 702 w 10000"/>
                <a:gd name="connsiteY874" fmla="*/ 9568 h 10000"/>
                <a:gd name="connsiteX875" fmla="*/ 737 w 10000"/>
                <a:gd name="connsiteY875" fmla="*/ 9589 h 10000"/>
                <a:gd name="connsiteX876" fmla="*/ 770 w 10000"/>
                <a:gd name="connsiteY876" fmla="*/ 9605 h 10000"/>
                <a:gd name="connsiteX877" fmla="*/ 808 w 10000"/>
                <a:gd name="connsiteY877" fmla="*/ 9617 h 10000"/>
                <a:gd name="connsiteX878" fmla="*/ 843 w 10000"/>
                <a:gd name="connsiteY878" fmla="*/ 9624 h 10000"/>
                <a:gd name="connsiteX879" fmla="*/ 884 w 10000"/>
                <a:gd name="connsiteY879" fmla="*/ 9628 h 10000"/>
                <a:gd name="connsiteX880" fmla="*/ 902 w 10000"/>
                <a:gd name="connsiteY880" fmla="*/ 9628 h 10000"/>
                <a:gd name="connsiteX881" fmla="*/ 914 w 10000"/>
                <a:gd name="connsiteY881" fmla="*/ 9631 h 10000"/>
                <a:gd name="connsiteX882" fmla="*/ 932 w 10000"/>
                <a:gd name="connsiteY882" fmla="*/ 9638 h 10000"/>
                <a:gd name="connsiteX883" fmla="*/ 942 w 10000"/>
                <a:gd name="connsiteY883" fmla="*/ 9642 h 10000"/>
                <a:gd name="connsiteX884" fmla="*/ 967 w 10000"/>
                <a:gd name="connsiteY884" fmla="*/ 9652 h 10000"/>
                <a:gd name="connsiteX885" fmla="*/ 987 w 10000"/>
                <a:gd name="connsiteY885" fmla="*/ 9668 h 10000"/>
                <a:gd name="connsiteX886" fmla="*/ 1005 w 10000"/>
                <a:gd name="connsiteY886" fmla="*/ 9682 h 10000"/>
                <a:gd name="connsiteX887" fmla="*/ 1025 w 10000"/>
                <a:gd name="connsiteY887" fmla="*/ 9698 h 10000"/>
                <a:gd name="connsiteX888" fmla="*/ 1045 w 10000"/>
                <a:gd name="connsiteY888" fmla="*/ 9712 h 10000"/>
                <a:gd name="connsiteX889" fmla="*/ 1073 w 10000"/>
                <a:gd name="connsiteY889" fmla="*/ 9724 h 10000"/>
                <a:gd name="connsiteX890" fmla="*/ 1098 w 10000"/>
                <a:gd name="connsiteY890" fmla="*/ 9738 h 10000"/>
                <a:gd name="connsiteX891" fmla="*/ 1121 w 10000"/>
                <a:gd name="connsiteY891" fmla="*/ 9750 h 10000"/>
                <a:gd name="connsiteX892" fmla="*/ 1141 w 10000"/>
                <a:gd name="connsiteY892" fmla="*/ 9762 h 10000"/>
                <a:gd name="connsiteX893" fmla="*/ 1159 w 10000"/>
                <a:gd name="connsiteY893" fmla="*/ 9776 h 10000"/>
                <a:gd name="connsiteX894" fmla="*/ 1172 w 10000"/>
                <a:gd name="connsiteY894" fmla="*/ 9787 h 10000"/>
                <a:gd name="connsiteX895" fmla="*/ 1182 w 10000"/>
                <a:gd name="connsiteY895" fmla="*/ 9804 h 10000"/>
                <a:gd name="connsiteX896" fmla="*/ 1194 w 10000"/>
                <a:gd name="connsiteY896" fmla="*/ 9818 h 10000"/>
                <a:gd name="connsiteX897" fmla="*/ 1202 w 10000"/>
                <a:gd name="connsiteY897" fmla="*/ 9834 h 10000"/>
                <a:gd name="connsiteX898" fmla="*/ 1212 w 10000"/>
                <a:gd name="connsiteY898" fmla="*/ 9869 h 10000"/>
                <a:gd name="connsiteX899" fmla="*/ 1220 w 10000"/>
                <a:gd name="connsiteY899" fmla="*/ 9906 h 10000"/>
                <a:gd name="connsiteX900" fmla="*/ 1230 w 10000"/>
                <a:gd name="connsiteY900" fmla="*/ 9951 h 10000"/>
                <a:gd name="connsiteX901" fmla="*/ 1237 w 10000"/>
                <a:gd name="connsiteY901" fmla="*/ 10000 h 10000"/>
                <a:gd name="connsiteX902" fmla="*/ 1237 w 10000"/>
                <a:gd name="connsiteY90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75 w 10000"/>
                <a:gd name="connsiteY789" fmla="*/ 8460 h 10000"/>
                <a:gd name="connsiteX790" fmla="*/ 1265 w 10000"/>
                <a:gd name="connsiteY790" fmla="*/ 8450 h 10000"/>
                <a:gd name="connsiteX791" fmla="*/ 1245 w 10000"/>
                <a:gd name="connsiteY791" fmla="*/ 8424 h 10000"/>
                <a:gd name="connsiteX792" fmla="*/ 1237 w 10000"/>
                <a:gd name="connsiteY792" fmla="*/ 8408 h 10000"/>
                <a:gd name="connsiteX793" fmla="*/ 1217 w 10000"/>
                <a:gd name="connsiteY793" fmla="*/ 8373 h 10000"/>
                <a:gd name="connsiteX794" fmla="*/ 1202 w 10000"/>
                <a:gd name="connsiteY794" fmla="*/ 8333 h 10000"/>
                <a:gd name="connsiteX795" fmla="*/ 1182 w 10000"/>
                <a:gd name="connsiteY795" fmla="*/ 8296 h 10000"/>
                <a:gd name="connsiteX796" fmla="*/ 1162 w 10000"/>
                <a:gd name="connsiteY796" fmla="*/ 8268 h 10000"/>
                <a:gd name="connsiteX797" fmla="*/ 1149 w 10000"/>
                <a:gd name="connsiteY797" fmla="*/ 8256 h 10000"/>
                <a:gd name="connsiteX798" fmla="*/ 1139 w 10000"/>
                <a:gd name="connsiteY798" fmla="*/ 8249 h 10000"/>
                <a:gd name="connsiteX799" fmla="*/ 1126 w 10000"/>
                <a:gd name="connsiteY799" fmla="*/ 8240 h 10000"/>
                <a:gd name="connsiteX800" fmla="*/ 1114 w 10000"/>
                <a:gd name="connsiteY800" fmla="*/ 8240 h 10000"/>
                <a:gd name="connsiteX801" fmla="*/ 1091 w 10000"/>
                <a:gd name="connsiteY801" fmla="*/ 8242 h 10000"/>
                <a:gd name="connsiteX802" fmla="*/ 1071 w 10000"/>
                <a:gd name="connsiteY802" fmla="*/ 8252 h 10000"/>
                <a:gd name="connsiteX803" fmla="*/ 1048 w 10000"/>
                <a:gd name="connsiteY803" fmla="*/ 8261 h 10000"/>
                <a:gd name="connsiteX804" fmla="*/ 1030 w 10000"/>
                <a:gd name="connsiteY804" fmla="*/ 8273 h 10000"/>
                <a:gd name="connsiteX805" fmla="*/ 1010 w 10000"/>
                <a:gd name="connsiteY805" fmla="*/ 8287 h 10000"/>
                <a:gd name="connsiteX806" fmla="*/ 995 w 10000"/>
                <a:gd name="connsiteY806" fmla="*/ 8303 h 10000"/>
                <a:gd name="connsiteX807" fmla="*/ 975 w 10000"/>
                <a:gd name="connsiteY807" fmla="*/ 8322 h 10000"/>
                <a:gd name="connsiteX808" fmla="*/ 960 w 10000"/>
                <a:gd name="connsiteY808" fmla="*/ 8343 h 10000"/>
                <a:gd name="connsiteX809" fmla="*/ 927 w 10000"/>
                <a:gd name="connsiteY809" fmla="*/ 8380 h 10000"/>
                <a:gd name="connsiteX810" fmla="*/ 891 w 10000"/>
                <a:gd name="connsiteY810" fmla="*/ 8417 h 10000"/>
                <a:gd name="connsiteX811" fmla="*/ 874 w 10000"/>
                <a:gd name="connsiteY811" fmla="*/ 8436 h 10000"/>
                <a:gd name="connsiteX812" fmla="*/ 859 w 10000"/>
                <a:gd name="connsiteY812" fmla="*/ 8450 h 10000"/>
                <a:gd name="connsiteX813" fmla="*/ 838 w 10000"/>
                <a:gd name="connsiteY813" fmla="*/ 8462 h 10000"/>
                <a:gd name="connsiteX814" fmla="*/ 821 w 10000"/>
                <a:gd name="connsiteY814" fmla="*/ 8476 h 10000"/>
                <a:gd name="connsiteX815" fmla="*/ 742 w 10000"/>
                <a:gd name="connsiteY815" fmla="*/ 8562 h 10000"/>
                <a:gd name="connsiteX816" fmla="*/ 672 w 10000"/>
                <a:gd name="connsiteY816" fmla="*/ 8644 h 10000"/>
                <a:gd name="connsiteX817" fmla="*/ 639 w 10000"/>
                <a:gd name="connsiteY817" fmla="*/ 8684 h 10000"/>
                <a:gd name="connsiteX818" fmla="*/ 609 w 10000"/>
                <a:gd name="connsiteY818" fmla="*/ 8731 h 10000"/>
                <a:gd name="connsiteX819" fmla="*/ 583 w 10000"/>
                <a:gd name="connsiteY819" fmla="*/ 8777 h 10000"/>
                <a:gd name="connsiteX820" fmla="*/ 556 w 10000"/>
                <a:gd name="connsiteY820" fmla="*/ 8831 h 10000"/>
                <a:gd name="connsiteX821" fmla="*/ 545 w 10000"/>
                <a:gd name="connsiteY821" fmla="*/ 8852 h 10000"/>
                <a:gd name="connsiteX822" fmla="*/ 525 w 10000"/>
                <a:gd name="connsiteY822" fmla="*/ 8885 h 10000"/>
                <a:gd name="connsiteX823" fmla="*/ 503 w 10000"/>
                <a:gd name="connsiteY823" fmla="*/ 8925 h 10000"/>
                <a:gd name="connsiteX824" fmla="*/ 480 w 10000"/>
                <a:gd name="connsiteY824" fmla="*/ 8962 h 10000"/>
                <a:gd name="connsiteX825" fmla="*/ 465 w 10000"/>
                <a:gd name="connsiteY825" fmla="*/ 8981 h 10000"/>
                <a:gd name="connsiteX826" fmla="*/ 455 w 10000"/>
                <a:gd name="connsiteY826" fmla="*/ 8993 h 10000"/>
                <a:gd name="connsiteX827" fmla="*/ 444 w 10000"/>
                <a:gd name="connsiteY827" fmla="*/ 9000 h 10000"/>
                <a:gd name="connsiteX828" fmla="*/ 434 w 10000"/>
                <a:gd name="connsiteY828" fmla="*/ 9007 h 10000"/>
                <a:gd name="connsiteX829" fmla="*/ 432 w 10000"/>
                <a:gd name="connsiteY829" fmla="*/ 9007 h 10000"/>
                <a:gd name="connsiteX830" fmla="*/ 429 w 10000"/>
                <a:gd name="connsiteY830" fmla="*/ 9004 h 10000"/>
                <a:gd name="connsiteX831" fmla="*/ 427 w 10000"/>
                <a:gd name="connsiteY831" fmla="*/ 8997 h 10000"/>
                <a:gd name="connsiteX832" fmla="*/ 427 w 10000"/>
                <a:gd name="connsiteY832" fmla="*/ 8993 h 10000"/>
                <a:gd name="connsiteX833" fmla="*/ 424 w 10000"/>
                <a:gd name="connsiteY833" fmla="*/ 8976 h 10000"/>
                <a:gd name="connsiteX834" fmla="*/ 427 w 10000"/>
                <a:gd name="connsiteY834" fmla="*/ 8948 h 10000"/>
                <a:gd name="connsiteX835" fmla="*/ 437 w 10000"/>
                <a:gd name="connsiteY835" fmla="*/ 8913 h 10000"/>
                <a:gd name="connsiteX836" fmla="*/ 455 w 10000"/>
                <a:gd name="connsiteY836" fmla="*/ 8859 h 10000"/>
                <a:gd name="connsiteX837" fmla="*/ 462 w 10000"/>
                <a:gd name="connsiteY837" fmla="*/ 8834 h 10000"/>
                <a:gd name="connsiteX838" fmla="*/ 470 w 10000"/>
                <a:gd name="connsiteY838" fmla="*/ 8810 h 10000"/>
                <a:gd name="connsiteX839" fmla="*/ 472 w 10000"/>
                <a:gd name="connsiteY839" fmla="*/ 8794 h 10000"/>
                <a:gd name="connsiteX840" fmla="*/ 472 w 10000"/>
                <a:gd name="connsiteY840" fmla="*/ 8780 h 10000"/>
                <a:gd name="connsiteX841" fmla="*/ 462 w 10000"/>
                <a:gd name="connsiteY841" fmla="*/ 8784 h 10000"/>
                <a:gd name="connsiteX842" fmla="*/ 452 w 10000"/>
                <a:gd name="connsiteY842" fmla="*/ 8787 h 10000"/>
                <a:gd name="connsiteX843" fmla="*/ 437 w 10000"/>
                <a:gd name="connsiteY843" fmla="*/ 8794 h 10000"/>
                <a:gd name="connsiteX844" fmla="*/ 424 w 10000"/>
                <a:gd name="connsiteY844" fmla="*/ 8803 h 10000"/>
                <a:gd name="connsiteX845" fmla="*/ 394 w 10000"/>
                <a:gd name="connsiteY845" fmla="*/ 8829 h 10000"/>
                <a:gd name="connsiteX846" fmla="*/ 364 w 10000"/>
                <a:gd name="connsiteY846" fmla="*/ 8859 h 10000"/>
                <a:gd name="connsiteX847" fmla="*/ 311 w 10000"/>
                <a:gd name="connsiteY847" fmla="*/ 8922 h 10000"/>
                <a:gd name="connsiteX848" fmla="*/ 268 w 10000"/>
                <a:gd name="connsiteY848" fmla="*/ 8964 h 10000"/>
                <a:gd name="connsiteX849" fmla="*/ 205 w 10000"/>
                <a:gd name="connsiteY849" fmla="*/ 9016 h 10000"/>
                <a:gd name="connsiteX850" fmla="*/ 146 w 10000"/>
                <a:gd name="connsiteY850" fmla="*/ 9053 h 10000"/>
                <a:gd name="connsiteX851" fmla="*/ 139 w 10000"/>
                <a:gd name="connsiteY851" fmla="*/ 9063 h 10000"/>
                <a:gd name="connsiteX852" fmla="*/ 129 w 10000"/>
                <a:gd name="connsiteY852" fmla="*/ 9077 h 10000"/>
                <a:gd name="connsiteX853" fmla="*/ 126 w 10000"/>
                <a:gd name="connsiteY853" fmla="*/ 9086 h 10000"/>
                <a:gd name="connsiteX854" fmla="*/ 126 w 10000"/>
                <a:gd name="connsiteY854" fmla="*/ 9102 h 10000"/>
                <a:gd name="connsiteX855" fmla="*/ 129 w 10000"/>
                <a:gd name="connsiteY855" fmla="*/ 9116 h 10000"/>
                <a:gd name="connsiteX856" fmla="*/ 139 w 10000"/>
                <a:gd name="connsiteY856" fmla="*/ 9135 h 10000"/>
                <a:gd name="connsiteX857" fmla="*/ 149 w 10000"/>
                <a:gd name="connsiteY857" fmla="*/ 9151 h 10000"/>
                <a:gd name="connsiteX858" fmla="*/ 164 w 10000"/>
                <a:gd name="connsiteY858" fmla="*/ 9175 h 10000"/>
                <a:gd name="connsiteX859" fmla="*/ 184 w 10000"/>
                <a:gd name="connsiteY859" fmla="*/ 9196 h 10000"/>
                <a:gd name="connsiteX860" fmla="*/ 207 w 10000"/>
                <a:gd name="connsiteY860" fmla="*/ 9215 h 10000"/>
                <a:gd name="connsiteX861" fmla="*/ 227 w 10000"/>
                <a:gd name="connsiteY861" fmla="*/ 9233 h 10000"/>
                <a:gd name="connsiteX862" fmla="*/ 253 w 10000"/>
                <a:gd name="connsiteY862" fmla="*/ 9250 h 10000"/>
                <a:gd name="connsiteX863" fmla="*/ 303 w 10000"/>
                <a:gd name="connsiteY863" fmla="*/ 9282 h 10000"/>
                <a:gd name="connsiteX864" fmla="*/ 351 w 10000"/>
                <a:gd name="connsiteY864" fmla="*/ 9315 h 10000"/>
                <a:gd name="connsiteX865" fmla="*/ 414 w 10000"/>
                <a:gd name="connsiteY865" fmla="*/ 9364 h 10000"/>
                <a:gd name="connsiteX866" fmla="*/ 480 w 10000"/>
                <a:gd name="connsiteY866" fmla="*/ 9416 h 10000"/>
                <a:gd name="connsiteX867" fmla="*/ 513 w 10000"/>
                <a:gd name="connsiteY867" fmla="*/ 9437 h 10000"/>
                <a:gd name="connsiteX868" fmla="*/ 548 w 10000"/>
                <a:gd name="connsiteY868" fmla="*/ 9462 h 10000"/>
                <a:gd name="connsiteX869" fmla="*/ 581 w 10000"/>
                <a:gd name="connsiteY869" fmla="*/ 9483 h 10000"/>
                <a:gd name="connsiteX870" fmla="*/ 614 w 10000"/>
                <a:gd name="connsiteY870" fmla="*/ 9502 h 10000"/>
                <a:gd name="connsiteX871" fmla="*/ 641 w 10000"/>
                <a:gd name="connsiteY871" fmla="*/ 9525 h 10000"/>
                <a:gd name="connsiteX872" fmla="*/ 672 w 10000"/>
                <a:gd name="connsiteY872" fmla="*/ 9549 h 10000"/>
                <a:gd name="connsiteX873" fmla="*/ 702 w 10000"/>
                <a:gd name="connsiteY873" fmla="*/ 9568 h 10000"/>
                <a:gd name="connsiteX874" fmla="*/ 737 w 10000"/>
                <a:gd name="connsiteY874" fmla="*/ 9589 h 10000"/>
                <a:gd name="connsiteX875" fmla="*/ 770 w 10000"/>
                <a:gd name="connsiteY875" fmla="*/ 9605 h 10000"/>
                <a:gd name="connsiteX876" fmla="*/ 808 w 10000"/>
                <a:gd name="connsiteY876" fmla="*/ 9617 h 10000"/>
                <a:gd name="connsiteX877" fmla="*/ 843 w 10000"/>
                <a:gd name="connsiteY877" fmla="*/ 9624 h 10000"/>
                <a:gd name="connsiteX878" fmla="*/ 884 w 10000"/>
                <a:gd name="connsiteY878" fmla="*/ 9628 h 10000"/>
                <a:gd name="connsiteX879" fmla="*/ 902 w 10000"/>
                <a:gd name="connsiteY879" fmla="*/ 9628 h 10000"/>
                <a:gd name="connsiteX880" fmla="*/ 914 w 10000"/>
                <a:gd name="connsiteY880" fmla="*/ 9631 h 10000"/>
                <a:gd name="connsiteX881" fmla="*/ 932 w 10000"/>
                <a:gd name="connsiteY881" fmla="*/ 9638 h 10000"/>
                <a:gd name="connsiteX882" fmla="*/ 942 w 10000"/>
                <a:gd name="connsiteY882" fmla="*/ 9642 h 10000"/>
                <a:gd name="connsiteX883" fmla="*/ 967 w 10000"/>
                <a:gd name="connsiteY883" fmla="*/ 9652 h 10000"/>
                <a:gd name="connsiteX884" fmla="*/ 987 w 10000"/>
                <a:gd name="connsiteY884" fmla="*/ 9668 h 10000"/>
                <a:gd name="connsiteX885" fmla="*/ 1005 w 10000"/>
                <a:gd name="connsiteY885" fmla="*/ 9682 h 10000"/>
                <a:gd name="connsiteX886" fmla="*/ 1025 w 10000"/>
                <a:gd name="connsiteY886" fmla="*/ 9698 h 10000"/>
                <a:gd name="connsiteX887" fmla="*/ 1045 w 10000"/>
                <a:gd name="connsiteY887" fmla="*/ 9712 h 10000"/>
                <a:gd name="connsiteX888" fmla="*/ 1073 w 10000"/>
                <a:gd name="connsiteY888" fmla="*/ 9724 h 10000"/>
                <a:gd name="connsiteX889" fmla="*/ 1098 w 10000"/>
                <a:gd name="connsiteY889" fmla="*/ 9738 h 10000"/>
                <a:gd name="connsiteX890" fmla="*/ 1121 w 10000"/>
                <a:gd name="connsiteY890" fmla="*/ 9750 h 10000"/>
                <a:gd name="connsiteX891" fmla="*/ 1141 w 10000"/>
                <a:gd name="connsiteY891" fmla="*/ 9762 h 10000"/>
                <a:gd name="connsiteX892" fmla="*/ 1159 w 10000"/>
                <a:gd name="connsiteY892" fmla="*/ 9776 h 10000"/>
                <a:gd name="connsiteX893" fmla="*/ 1172 w 10000"/>
                <a:gd name="connsiteY893" fmla="*/ 9787 h 10000"/>
                <a:gd name="connsiteX894" fmla="*/ 1182 w 10000"/>
                <a:gd name="connsiteY894" fmla="*/ 9804 h 10000"/>
                <a:gd name="connsiteX895" fmla="*/ 1194 w 10000"/>
                <a:gd name="connsiteY895" fmla="*/ 9818 h 10000"/>
                <a:gd name="connsiteX896" fmla="*/ 1202 w 10000"/>
                <a:gd name="connsiteY896" fmla="*/ 9834 h 10000"/>
                <a:gd name="connsiteX897" fmla="*/ 1212 w 10000"/>
                <a:gd name="connsiteY897" fmla="*/ 9869 h 10000"/>
                <a:gd name="connsiteX898" fmla="*/ 1220 w 10000"/>
                <a:gd name="connsiteY898" fmla="*/ 9906 h 10000"/>
                <a:gd name="connsiteX899" fmla="*/ 1230 w 10000"/>
                <a:gd name="connsiteY899" fmla="*/ 9951 h 10000"/>
                <a:gd name="connsiteX900" fmla="*/ 1237 w 10000"/>
                <a:gd name="connsiteY900" fmla="*/ 10000 h 10000"/>
                <a:gd name="connsiteX901" fmla="*/ 1237 w 10000"/>
                <a:gd name="connsiteY90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237 w 10000"/>
                <a:gd name="connsiteY791" fmla="*/ 8408 h 10000"/>
                <a:gd name="connsiteX792" fmla="*/ 1217 w 10000"/>
                <a:gd name="connsiteY792" fmla="*/ 8373 h 10000"/>
                <a:gd name="connsiteX793" fmla="*/ 1202 w 10000"/>
                <a:gd name="connsiteY793" fmla="*/ 8333 h 10000"/>
                <a:gd name="connsiteX794" fmla="*/ 1182 w 10000"/>
                <a:gd name="connsiteY794" fmla="*/ 8296 h 10000"/>
                <a:gd name="connsiteX795" fmla="*/ 1162 w 10000"/>
                <a:gd name="connsiteY795" fmla="*/ 8268 h 10000"/>
                <a:gd name="connsiteX796" fmla="*/ 1149 w 10000"/>
                <a:gd name="connsiteY796" fmla="*/ 8256 h 10000"/>
                <a:gd name="connsiteX797" fmla="*/ 1139 w 10000"/>
                <a:gd name="connsiteY797" fmla="*/ 8249 h 10000"/>
                <a:gd name="connsiteX798" fmla="*/ 1126 w 10000"/>
                <a:gd name="connsiteY798" fmla="*/ 8240 h 10000"/>
                <a:gd name="connsiteX799" fmla="*/ 1114 w 10000"/>
                <a:gd name="connsiteY799" fmla="*/ 8240 h 10000"/>
                <a:gd name="connsiteX800" fmla="*/ 1091 w 10000"/>
                <a:gd name="connsiteY800" fmla="*/ 8242 h 10000"/>
                <a:gd name="connsiteX801" fmla="*/ 1071 w 10000"/>
                <a:gd name="connsiteY801" fmla="*/ 8252 h 10000"/>
                <a:gd name="connsiteX802" fmla="*/ 1048 w 10000"/>
                <a:gd name="connsiteY802" fmla="*/ 8261 h 10000"/>
                <a:gd name="connsiteX803" fmla="*/ 1030 w 10000"/>
                <a:gd name="connsiteY803" fmla="*/ 8273 h 10000"/>
                <a:gd name="connsiteX804" fmla="*/ 1010 w 10000"/>
                <a:gd name="connsiteY804" fmla="*/ 8287 h 10000"/>
                <a:gd name="connsiteX805" fmla="*/ 995 w 10000"/>
                <a:gd name="connsiteY805" fmla="*/ 8303 h 10000"/>
                <a:gd name="connsiteX806" fmla="*/ 975 w 10000"/>
                <a:gd name="connsiteY806" fmla="*/ 8322 h 10000"/>
                <a:gd name="connsiteX807" fmla="*/ 960 w 10000"/>
                <a:gd name="connsiteY807" fmla="*/ 8343 h 10000"/>
                <a:gd name="connsiteX808" fmla="*/ 927 w 10000"/>
                <a:gd name="connsiteY808" fmla="*/ 8380 h 10000"/>
                <a:gd name="connsiteX809" fmla="*/ 891 w 10000"/>
                <a:gd name="connsiteY809" fmla="*/ 8417 h 10000"/>
                <a:gd name="connsiteX810" fmla="*/ 874 w 10000"/>
                <a:gd name="connsiteY810" fmla="*/ 8436 h 10000"/>
                <a:gd name="connsiteX811" fmla="*/ 859 w 10000"/>
                <a:gd name="connsiteY811" fmla="*/ 8450 h 10000"/>
                <a:gd name="connsiteX812" fmla="*/ 838 w 10000"/>
                <a:gd name="connsiteY812" fmla="*/ 8462 h 10000"/>
                <a:gd name="connsiteX813" fmla="*/ 821 w 10000"/>
                <a:gd name="connsiteY813" fmla="*/ 8476 h 10000"/>
                <a:gd name="connsiteX814" fmla="*/ 742 w 10000"/>
                <a:gd name="connsiteY814" fmla="*/ 8562 h 10000"/>
                <a:gd name="connsiteX815" fmla="*/ 672 w 10000"/>
                <a:gd name="connsiteY815" fmla="*/ 8644 h 10000"/>
                <a:gd name="connsiteX816" fmla="*/ 639 w 10000"/>
                <a:gd name="connsiteY816" fmla="*/ 8684 h 10000"/>
                <a:gd name="connsiteX817" fmla="*/ 609 w 10000"/>
                <a:gd name="connsiteY817" fmla="*/ 8731 h 10000"/>
                <a:gd name="connsiteX818" fmla="*/ 583 w 10000"/>
                <a:gd name="connsiteY818" fmla="*/ 8777 h 10000"/>
                <a:gd name="connsiteX819" fmla="*/ 556 w 10000"/>
                <a:gd name="connsiteY819" fmla="*/ 8831 h 10000"/>
                <a:gd name="connsiteX820" fmla="*/ 545 w 10000"/>
                <a:gd name="connsiteY820" fmla="*/ 8852 h 10000"/>
                <a:gd name="connsiteX821" fmla="*/ 525 w 10000"/>
                <a:gd name="connsiteY821" fmla="*/ 8885 h 10000"/>
                <a:gd name="connsiteX822" fmla="*/ 503 w 10000"/>
                <a:gd name="connsiteY822" fmla="*/ 8925 h 10000"/>
                <a:gd name="connsiteX823" fmla="*/ 480 w 10000"/>
                <a:gd name="connsiteY823" fmla="*/ 8962 h 10000"/>
                <a:gd name="connsiteX824" fmla="*/ 465 w 10000"/>
                <a:gd name="connsiteY824" fmla="*/ 8981 h 10000"/>
                <a:gd name="connsiteX825" fmla="*/ 455 w 10000"/>
                <a:gd name="connsiteY825" fmla="*/ 8993 h 10000"/>
                <a:gd name="connsiteX826" fmla="*/ 444 w 10000"/>
                <a:gd name="connsiteY826" fmla="*/ 9000 h 10000"/>
                <a:gd name="connsiteX827" fmla="*/ 434 w 10000"/>
                <a:gd name="connsiteY827" fmla="*/ 9007 h 10000"/>
                <a:gd name="connsiteX828" fmla="*/ 432 w 10000"/>
                <a:gd name="connsiteY828" fmla="*/ 9007 h 10000"/>
                <a:gd name="connsiteX829" fmla="*/ 429 w 10000"/>
                <a:gd name="connsiteY829" fmla="*/ 9004 h 10000"/>
                <a:gd name="connsiteX830" fmla="*/ 427 w 10000"/>
                <a:gd name="connsiteY830" fmla="*/ 8997 h 10000"/>
                <a:gd name="connsiteX831" fmla="*/ 427 w 10000"/>
                <a:gd name="connsiteY831" fmla="*/ 8993 h 10000"/>
                <a:gd name="connsiteX832" fmla="*/ 424 w 10000"/>
                <a:gd name="connsiteY832" fmla="*/ 8976 h 10000"/>
                <a:gd name="connsiteX833" fmla="*/ 427 w 10000"/>
                <a:gd name="connsiteY833" fmla="*/ 8948 h 10000"/>
                <a:gd name="connsiteX834" fmla="*/ 437 w 10000"/>
                <a:gd name="connsiteY834" fmla="*/ 8913 h 10000"/>
                <a:gd name="connsiteX835" fmla="*/ 455 w 10000"/>
                <a:gd name="connsiteY835" fmla="*/ 8859 h 10000"/>
                <a:gd name="connsiteX836" fmla="*/ 462 w 10000"/>
                <a:gd name="connsiteY836" fmla="*/ 8834 h 10000"/>
                <a:gd name="connsiteX837" fmla="*/ 470 w 10000"/>
                <a:gd name="connsiteY837" fmla="*/ 8810 h 10000"/>
                <a:gd name="connsiteX838" fmla="*/ 472 w 10000"/>
                <a:gd name="connsiteY838" fmla="*/ 8794 h 10000"/>
                <a:gd name="connsiteX839" fmla="*/ 472 w 10000"/>
                <a:gd name="connsiteY839" fmla="*/ 8780 h 10000"/>
                <a:gd name="connsiteX840" fmla="*/ 462 w 10000"/>
                <a:gd name="connsiteY840" fmla="*/ 8784 h 10000"/>
                <a:gd name="connsiteX841" fmla="*/ 452 w 10000"/>
                <a:gd name="connsiteY841" fmla="*/ 8787 h 10000"/>
                <a:gd name="connsiteX842" fmla="*/ 437 w 10000"/>
                <a:gd name="connsiteY842" fmla="*/ 8794 h 10000"/>
                <a:gd name="connsiteX843" fmla="*/ 424 w 10000"/>
                <a:gd name="connsiteY843" fmla="*/ 8803 h 10000"/>
                <a:gd name="connsiteX844" fmla="*/ 394 w 10000"/>
                <a:gd name="connsiteY844" fmla="*/ 8829 h 10000"/>
                <a:gd name="connsiteX845" fmla="*/ 364 w 10000"/>
                <a:gd name="connsiteY845" fmla="*/ 8859 h 10000"/>
                <a:gd name="connsiteX846" fmla="*/ 311 w 10000"/>
                <a:gd name="connsiteY846" fmla="*/ 8922 h 10000"/>
                <a:gd name="connsiteX847" fmla="*/ 268 w 10000"/>
                <a:gd name="connsiteY847" fmla="*/ 8964 h 10000"/>
                <a:gd name="connsiteX848" fmla="*/ 205 w 10000"/>
                <a:gd name="connsiteY848" fmla="*/ 9016 h 10000"/>
                <a:gd name="connsiteX849" fmla="*/ 146 w 10000"/>
                <a:gd name="connsiteY849" fmla="*/ 9053 h 10000"/>
                <a:gd name="connsiteX850" fmla="*/ 139 w 10000"/>
                <a:gd name="connsiteY850" fmla="*/ 9063 h 10000"/>
                <a:gd name="connsiteX851" fmla="*/ 129 w 10000"/>
                <a:gd name="connsiteY851" fmla="*/ 9077 h 10000"/>
                <a:gd name="connsiteX852" fmla="*/ 126 w 10000"/>
                <a:gd name="connsiteY852" fmla="*/ 9086 h 10000"/>
                <a:gd name="connsiteX853" fmla="*/ 126 w 10000"/>
                <a:gd name="connsiteY853" fmla="*/ 9102 h 10000"/>
                <a:gd name="connsiteX854" fmla="*/ 129 w 10000"/>
                <a:gd name="connsiteY854" fmla="*/ 9116 h 10000"/>
                <a:gd name="connsiteX855" fmla="*/ 139 w 10000"/>
                <a:gd name="connsiteY855" fmla="*/ 9135 h 10000"/>
                <a:gd name="connsiteX856" fmla="*/ 149 w 10000"/>
                <a:gd name="connsiteY856" fmla="*/ 9151 h 10000"/>
                <a:gd name="connsiteX857" fmla="*/ 164 w 10000"/>
                <a:gd name="connsiteY857" fmla="*/ 9175 h 10000"/>
                <a:gd name="connsiteX858" fmla="*/ 184 w 10000"/>
                <a:gd name="connsiteY858" fmla="*/ 9196 h 10000"/>
                <a:gd name="connsiteX859" fmla="*/ 207 w 10000"/>
                <a:gd name="connsiteY859" fmla="*/ 9215 h 10000"/>
                <a:gd name="connsiteX860" fmla="*/ 227 w 10000"/>
                <a:gd name="connsiteY860" fmla="*/ 9233 h 10000"/>
                <a:gd name="connsiteX861" fmla="*/ 253 w 10000"/>
                <a:gd name="connsiteY861" fmla="*/ 9250 h 10000"/>
                <a:gd name="connsiteX862" fmla="*/ 303 w 10000"/>
                <a:gd name="connsiteY862" fmla="*/ 9282 h 10000"/>
                <a:gd name="connsiteX863" fmla="*/ 351 w 10000"/>
                <a:gd name="connsiteY863" fmla="*/ 9315 h 10000"/>
                <a:gd name="connsiteX864" fmla="*/ 414 w 10000"/>
                <a:gd name="connsiteY864" fmla="*/ 9364 h 10000"/>
                <a:gd name="connsiteX865" fmla="*/ 480 w 10000"/>
                <a:gd name="connsiteY865" fmla="*/ 9416 h 10000"/>
                <a:gd name="connsiteX866" fmla="*/ 513 w 10000"/>
                <a:gd name="connsiteY866" fmla="*/ 9437 h 10000"/>
                <a:gd name="connsiteX867" fmla="*/ 548 w 10000"/>
                <a:gd name="connsiteY867" fmla="*/ 9462 h 10000"/>
                <a:gd name="connsiteX868" fmla="*/ 581 w 10000"/>
                <a:gd name="connsiteY868" fmla="*/ 9483 h 10000"/>
                <a:gd name="connsiteX869" fmla="*/ 614 w 10000"/>
                <a:gd name="connsiteY869" fmla="*/ 9502 h 10000"/>
                <a:gd name="connsiteX870" fmla="*/ 641 w 10000"/>
                <a:gd name="connsiteY870" fmla="*/ 9525 h 10000"/>
                <a:gd name="connsiteX871" fmla="*/ 672 w 10000"/>
                <a:gd name="connsiteY871" fmla="*/ 9549 h 10000"/>
                <a:gd name="connsiteX872" fmla="*/ 702 w 10000"/>
                <a:gd name="connsiteY872" fmla="*/ 9568 h 10000"/>
                <a:gd name="connsiteX873" fmla="*/ 737 w 10000"/>
                <a:gd name="connsiteY873" fmla="*/ 9589 h 10000"/>
                <a:gd name="connsiteX874" fmla="*/ 770 w 10000"/>
                <a:gd name="connsiteY874" fmla="*/ 9605 h 10000"/>
                <a:gd name="connsiteX875" fmla="*/ 808 w 10000"/>
                <a:gd name="connsiteY875" fmla="*/ 9617 h 10000"/>
                <a:gd name="connsiteX876" fmla="*/ 843 w 10000"/>
                <a:gd name="connsiteY876" fmla="*/ 9624 h 10000"/>
                <a:gd name="connsiteX877" fmla="*/ 884 w 10000"/>
                <a:gd name="connsiteY877" fmla="*/ 9628 h 10000"/>
                <a:gd name="connsiteX878" fmla="*/ 902 w 10000"/>
                <a:gd name="connsiteY878" fmla="*/ 9628 h 10000"/>
                <a:gd name="connsiteX879" fmla="*/ 914 w 10000"/>
                <a:gd name="connsiteY879" fmla="*/ 9631 h 10000"/>
                <a:gd name="connsiteX880" fmla="*/ 932 w 10000"/>
                <a:gd name="connsiteY880" fmla="*/ 9638 h 10000"/>
                <a:gd name="connsiteX881" fmla="*/ 942 w 10000"/>
                <a:gd name="connsiteY881" fmla="*/ 9642 h 10000"/>
                <a:gd name="connsiteX882" fmla="*/ 967 w 10000"/>
                <a:gd name="connsiteY882" fmla="*/ 9652 h 10000"/>
                <a:gd name="connsiteX883" fmla="*/ 987 w 10000"/>
                <a:gd name="connsiteY883" fmla="*/ 9668 h 10000"/>
                <a:gd name="connsiteX884" fmla="*/ 1005 w 10000"/>
                <a:gd name="connsiteY884" fmla="*/ 9682 h 10000"/>
                <a:gd name="connsiteX885" fmla="*/ 1025 w 10000"/>
                <a:gd name="connsiteY885" fmla="*/ 9698 h 10000"/>
                <a:gd name="connsiteX886" fmla="*/ 1045 w 10000"/>
                <a:gd name="connsiteY886" fmla="*/ 9712 h 10000"/>
                <a:gd name="connsiteX887" fmla="*/ 1073 w 10000"/>
                <a:gd name="connsiteY887" fmla="*/ 9724 h 10000"/>
                <a:gd name="connsiteX888" fmla="*/ 1098 w 10000"/>
                <a:gd name="connsiteY888" fmla="*/ 9738 h 10000"/>
                <a:gd name="connsiteX889" fmla="*/ 1121 w 10000"/>
                <a:gd name="connsiteY889" fmla="*/ 9750 h 10000"/>
                <a:gd name="connsiteX890" fmla="*/ 1141 w 10000"/>
                <a:gd name="connsiteY890" fmla="*/ 9762 h 10000"/>
                <a:gd name="connsiteX891" fmla="*/ 1159 w 10000"/>
                <a:gd name="connsiteY891" fmla="*/ 9776 h 10000"/>
                <a:gd name="connsiteX892" fmla="*/ 1172 w 10000"/>
                <a:gd name="connsiteY892" fmla="*/ 9787 h 10000"/>
                <a:gd name="connsiteX893" fmla="*/ 1182 w 10000"/>
                <a:gd name="connsiteY893" fmla="*/ 9804 h 10000"/>
                <a:gd name="connsiteX894" fmla="*/ 1194 w 10000"/>
                <a:gd name="connsiteY894" fmla="*/ 9818 h 10000"/>
                <a:gd name="connsiteX895" fmla="*/ 1202 w 10000"/>
                <a:gd name="connsiteY895" fmla="*/ 9834 h 10000"/>
                <a:gd name="connsiteX896" fmla="*/ 1212 w 10000"/>
                <a:gd name="connsiteY896" fmla="*/ 9869 h 10000"/>
                <a:gd name="connsiteX897" fmla="*/ 1220 w 10000"/>
                <a:gd name="connsiteY897" fmla="*/ 9906 h 10000"/>
                <a:gd name="connsiteX898" fmla="*/ 1230 w 10000"/>
                <a:gd name="connsiteY898" fmla="*/ 9951 h 10000"/>
                <a:gd name="connsiteX899" fmla="*/ 1237 w 10000"/>
                <a:gd name="connsiteY899" fmla="*/ 10000 h 10000"/>
                <a:gd name="connsiteX900" fmla="*/ 1237 w 10000"/>
                <a:gd name="connsiteY90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217 w 10000"/>
                <a:gd name="connsiteY791" fmla="*/ 8373 h 10000"/>
                <a:gd name="connsiteX792" fmla="*/ 1202 w 10000"/>
                <a:gd name="connsiteY792" fmla="*/ 8333 h 10000"/>
                <a:gd name="connsiteX793" fmla="*/ 1182 w 10000"/>
                <a:gd name="connsiteY793" fmla="*/ 8296 h 10000"/>
                <a:gd name="connsiteX794" fmla="*/ 1162 w 10000"/>
                <a:gd name="connsiteY794" fmla="*/ 8268 h 10000"/>
                <a:gd name="connsiteX795" fmla="*/ 1149 w 10000"/>
                <a:gd name="connsiteY795" fmla="*/ 8256 h 10000"/>
                <a:gd name="connsiteX796" fmla="*/ 1139 w 10000"/>
                <a:gd name="connsiteY796" fmla="*/ 8249 h 10000"/>
                <a:gd name="connsiteX797" fmla="*/ 1126 w 10000"/>
                <a:gd name="connsiteY797" fmla="*/ 8240 h 10000"/>
                <a:gd name="connsiteX798" fmla="*/ 1114 w 10000"/>
                <a:gd name="connsiteY798" fmla="*/ 8240 h 10000"/>
                <a:gd name="connsiteX799" fmla="*/ 1091 w 10000"/>
                <a:gd name="connsiteY799" fmla="*/ 8242 h 10000"/>
                <a:gd name="connsiteX800" fmla="*/ 1071 w 10000"/>
                <a:gd name="connsiteY800" fmla="*/ 8252 h 10000"/>
                <a:gd name="connsiteX801" fmla="*/ 1048 w 10000"/>
                <a:gd name="connsiteY801" fmla="*/ 8261 h 10000"/>
                <a:gd name="connsiteX802" fmla="*/ 1030 w 10000"/>
                <a:gd name="connsiteY802" fmla="*/ 8273 h 10000"/>
                <a:gd name="connsiteX803" fmla="*/ 1010 w 10000"/>
                <a:gd name="connsiteY803" fmla="*/ 8287 h 10000"/>
                <a:gd name="connsiteX804" fmla="*/ 995 w 10000"/>
                <a:gd name="connsiteY804" fmla="*/ 8303 h 10000"/>
                <a:gd name="connsiteX805" fmla="*/ 975 w 10000"/>
                <a:gd name="connsiteY805" fmla="*/ 8322 h 10000"/>
                <a:gd name="connsiteX806" fmla="*/ 960 w 10000"/>
                <a:gd name="connsiteY806" fmla="*/ 8343 h 10000"/>
                <a:gd name="connsiteX807" fmla="*/ 927 w 10000"/>
                <a:gd name="connsiteY807" fmla="*/ 8380 h 10000"/>
                <a:gd name="connsiteX808" fmla="*/ 891 w 10000"/>
                <a:gd name="connsiteY808" fmla="*/ 8417 h 10000"/>
                <a:gd name="connsiteX809" fmla="*/ 874 w 10000"/>
                <a:gd name="connsiteY809" fmla="*/ 8436 h 10000"/>
                <a:gd name="connsiteX810" fmla="*/ 859 w 10000"/>
                <a:gd name="connsiteY810" fmla="*/ 8450 h 10000"/>
                <a:gd name="connsiteX811" fmla="*/ 838 w 10000"/>
                <a:gd name="connsiteY811" fmla="*/ 8462 h 10000"/>
                <a:gd name="connsiteX812" fmla="*/ 821 w 10000"/>
                <a:gd name="connsiteY812" fmla="*/ 8476 h 10000"/>
                <a:gd name="connsiteX813" fmla="*/ 742 w 10000"/>
                <a:gd name="connsiteY813" fmla="*/ 8562 h 10000"/>
                <a:gd name="connsiteX814" fmla="*/ 672 w 10000"/>
                <a:gd name="connsiteY814" fmla="*/ 8644 h 10000"/>
                <a:gd name="connsiteX815" fmla="*/ 639 w 10000"/>
                <a:gd name="connsiteY815" fmla="*/ 8684 h 10000"/>
                <a:gd name="connsiteX816" fmla="*/ 609 w 10000"/>
                <a:gd name="connsiteY816" fmla="*/ 8731 h 10000"/>
                <a:gd name="connsiteX817" fmla="*/ 583 w 10000"/>
                <a:gd name="connsiteY817" fmla="*/ 8777 h 10000"/>
                <a:gd name="connsiteX818" fmla="*/ 556 w 10000"/>
                <a:gd name="connsiteY818" fmla="*/ 8831 h 10000"/>
                <a:gd name="connsiteX819" fmla="*/ 545 w 10000"/>
                <a:gd name="connsiteY819" fmla="*/ 8852 h 10000"/>
                <a:gd name="connsiteX820" fmla="*/ 525 w 10000"/>
                <a:gd name="connsiteY820" fmla="*/ 8885 h 10000"/>
                <a:gd name="connsiteX821" fmla="*/ 503 w 10000"/>
                <a:gd name="connsiteY821" fmla="*/ 8925 h 10000"/>
                <a:gd name="connsiteX822" fmla="*/ 480 w 10000"/>
                <a:gd name="connsiteY822" fmla="*/ 8962 h 10000"/>
                <a:gd name="connsiteX823" fmla="*/ 465 w 10000"/>
                <a:gd name="connsiteY823" fmla="*/ 8981 h 10000"/>
                <a:gd name="connsiteX824" fmla="*/ 455 w 10000"/>
                <a:gd name="connsiteY824" fmla="*/ 8993 h 10000"/>
                <a:gd name="connsiteX825" fmla="*/ 444 w 10000"/>
                <a:gd name="connsiteY825" fmla="*/ 9000 h 10000"/>
                <a:gd name="connsiteX826" fmla="*/ 434 w 10000"/>
                <a:gd name="connsiteY826" fmla="*/ 9007 h 10000"/>
                <a:gd name="connsiteX827" fmla="*/ 432 w 10000"/>
                <a:gd name="connsiteY827" fmla="*/ 9007 h 10000"/>
                <a:gd name="connsiteX828" fmla="*/ 429 w 10000"/>
                <a:gd name="connsiteY828" fmla="*/ 9004 h 10000"/>
                <a:gd name="connsiteX829" fmla="*/ 427 w 10000"/>
                <a:gd name="connsiteY829" fmla="*/ 8997 h 10000"/>
                <a:gd name="connsiteX830" fmla="*/ 427 w 10000"/>
                <a:gd name="connsiteY830" fmla="*/ 8993 h 10000"/>
                <a:gd name="connsiteX831" fmla="*/ 424 w 10000"/>
                <a:gd name="connsiteY831" fmla="*/ 8976 h 10000"/>
                <a:gd name="connsiteX832" fmla="*/ 427 w 10000"/>
                <a:gd name="connsiteY832" fmla="*/ 8948 h 10000"/>
                <a:gd name="connsiteX833" fmla="*/ 437 w 10000"/>
                <a:gd name="connsiteY833" fmla="*/ 8913 h 10000"/>
                <a:gd name="connsiteX834" fmla="*/ 455 w 10000"/>
                <a:gd name="connsiteY834" fmla="*/ 8859 h 10000"/>
                <a:gd name="connsiteX835" fmla="*/ 462 w 10000"/>
                <a:gd name="connsiteY835" fmla="*/ 8834 h 10000"/>
                <a:gd name="connsiteX836" fmla="*/ 470 w 10000"/>
                <a:gd name="connsiteY836" fmla="*/ 8810 h 10000"/>
                <a:gd name="connsiteX837" fmla="*/ 472 w 10000"/>
                <a:gd name="connsiteY837" fmla="*/ 8794 h 10000"/>
                <a:gd name="connsiteX838" fmla="*/ 472 w 10000"/>
                <a:gd name="connsiteY838" fmla="*/ 8780 h 10000"/>
                <a:gd name="connsiteX839" fmla="*/ 462 w 10000"/>
                <a:gd name="connsiteY839" fmla="*/ 8784 h 10000"/>
                <a:gd name="connsiteX840" fmla="*/ 452 w 10000"/>
                <a:gd name="connsiteY840" fmla="*/ 8787 h 10000"/>
                <a:gd name="connsiteX841" fmla="*/ 437 w 10000"/>
                <a:gd name="connsiteY841" fmla="*/ 8794 h 10000"/>
                <a:gd name="connsiteX842" fmla="*/ 424 w 10000"/>
                <a:gd name="connsiteY842" fmla="*/ 8803 h 10000"/>
                <a:gd name="connsiteX843" fmla="*/ 394 w 10000"/>
                <a:gd name="connsiteY843" fmla="*/ 8829 h 10000"/>
                <a:gd name="connsiteX844" fmla="*/ 364 w 10000"/>
                <a:gd name="connsiteY844" fmla="*/ 8859 h 10000"/>
                <a:gd name="connsiteX845" fmla="*/ 311 w 10000"/>
                <a:gd name="connsiteY845" fmla="*/ 8922 h 10000"/>
                <a:gd name="connsiteX846" fmla="*/ 268 w 10000"/>
                <a:gd name="connsiteY846" fmla="*/ 8964 h 10000"/>
                <a:gd name="connsiteX847" fmla="*/ 205 w 10000"/>
                <a:gd name="connsiteY847" fmla="*/ 9016 h 10000"/>
                <a:gd name="connsiteX848" fmla="*/ 146 w 10000"/>
                <a:gd name="connsiteY848" fmla="*/ 9053 h 10000"/>
                <a:gd name="connsiteX849" fmla="*/ 139 w 10000"/>
                <a:gd name="connsiteY849" fmla="*/ 9063 h 10000"/>
                <a:gd name="connsiteX850" fmla="*/ 129 w 10000"/>
                <a:gd name="connsiteY850" fmla="*/ 9077 h 10000"/>
                <a:gd name="connsiteX851" fmla="*/ 126 w 10000"/>
                <a:gd name="connsiteY851" fmla="*/ 9086 h 10000"/>
                <a:gd name="connsiteX852" fmla="*/ 126 w 10000"/>
                <a:gd name="connsiteY852" fmla="*/ 9102 h 10000"/>
                <a:gd name="connsiteX853" fmla="*/ 129 w 10000"/>
                <a:gd name="connsiteY853" fmla="*/ 9116 h 10000"/>
                <a:gd name="connsiteX854" fmla="*/ 139 w 10000"/>
                <a:gd name="connsiteY854" fmla="*/ 9135 h 10000"/>
                <a:gd name="connsiteX855" fmla="*/ 149 w 10000"/>
                <a:gd name="connsiteY855" fmla="*/ 9151 h 10000"/>
                <a:gd name="connsiteX856" fmla="*/ 164 w 10000"/>
                <a:gd name="connsiteY856" fmla="*/ 9175 h 10000"/>
                <a:gd name="connsiteX857" fmla="*/ 184 w 10000"/>
                <a:gd name="connsiteY857" fmla="*/ 9196 h 10000"/>
                <a:gd name="connsiteX858" fmla="*/ 207 w 10000"/>
                <a:gd name="connsiteY858" fmla="*/ 9215 h 10000"/>
                <a:gd name="connsiteX859" fmla="*/ 227 w 10000"/>
                <a:gd name="connsiteY859" fmla="*/ 9233 h 10000"/>
                <a:gd name="connsiteX860" fmla="*/ 253 w 10000"/>
                <a:gd name="connsiteY860" fmla="*/ 9250 h 10000"/>
                <a:gd name="connsiteX861" fmla="*/ 303 w 10000"/>
                <a:gd name="connsiteY861" fmla="*/ 9282 h 10000"/>
                <a:gd name="connsiteX862" fmla="*/ 351 w 10000"/>
                <a:gd name="connsiteY862" fmla="*/ 9315 h 10000"/>
                <a:gd name="connsiteX863" fmla="*/ 414 w 10000"/>
                <a:gd name="connsiteY863" fmla="*/ 9364 h 10000"/>
                <a:gd name="connsiteX864" fmla="*/ 480 w 10000"/>
                <a:gd name="connsiteY864" fmla="*/ 9416 h 10000"/>
                <a:gd name="connsiteX865" fmla="*/ 513 w 10000"/>
                <a:gd name="connsiteY865" fmla="*/ 9437 h 10000"/>
                <a:gd name="connsiteX866" fmla="*/ 548 w 10000"/>
                <a:gd name="connsiteY866" fmla="*/ 9462 h 10000"/>
                <a:gd name="connsiteX867" fmla="*/ 581 w 10000"/>
                <a:gd name="connsiteY867" fmla="*/ 9483 h 10000"/>
                <a:gd name="connsiteX868" fmla="*/ 614 w 10000"/>
                <a:gd name="connsiteY868" fmla="*/ 9502 h 10000"/>
                <a:gd name="connsiteX869" fmla="*/ 641 w 10000"/>
                <a:gd name="connsiteY869" fmla="*/ 9525 h 10000"/>
                <a:gd name="connsiteX870" fmla="*/ 672 w 10000"/>
                <a:gd name="connsiteY870" fmla="*/ 9549 h 10000"/>
                <a:gd name="connsiteX871" fmla="*/ 702 w 10000"/>
                <a:gd name="connsiteY871" fmla="*/ 9568 h 10000"/>
                <a:gd name="connsiteX872" fmla="*/ 737 w 10000"/>
                <a:gd name="connsiteY872" fmla="*/ 9589 h 10000"/>
                <a:gd name="connsiteX873" fmla="*/ 770 w 10000"/>
                <a:gd name="connsiteY873" fmla="*/ 9605 h 10000"/>
                <a:gd name="connsiteX874" fmla="*/ 808 w 10000"/>
                <a:gd name="connsiteY874" fmla="*/ 9617 h 10000"/>
                <a:gd name="connsiteX875" fmla="*/ 843 w 10000"/>
                <a:gd name="connsiteY875" fmla="*/ 9624 h 10000"/>
                <a:gd name="connsiteX876" fmla="*/ 884 w 10000"/>
                <a:gd name="connsiteY876" fmla="*/ 9628 h 10000"/>
                <a:gd name="connsiteX877" fmla="*/ 902 w 10000"/>
                <a:gd name="connsiteY877" fmla="*/ 9628 h 10000"/>
                <a:gd name="connsiteX878" fmla="*/ 914 w 10000"/>
                <a:gd name="connsiteY878" fmla="*/ 9631 h 10000"/>
                <a:gd name="connsiteX879" fmla="*/ 932 w 10000"/>
                <a:gd name="connsiteY879" fmla="*/ 9638 h 10000"/>
                <a:gd name="connsiteX880" fmla="*/ 942 w 10000"/>
                <a:gd name="connsiteY880" fmla="*/ 9642 h 10000"/>
                <a:gd name="connsiteX881" fmla="*/ 967 w 10000"/>
                <a:gd name="connsiteY881" fmla="*/ 9652 h 10000"/>
                <a:gd name="connsiteX882" fmla="*/ 987 w 10000"/>
                <a:gd name="connsiteY882" fmla="*/ 9668 h 10000"/>
                <a:gd name="connsiteX883" fmla="*/ 1005 w 10000"/>
                <a:gd name="connsiteY883" fmla="*/ 9682 h 10000"/>
                <a:gd name="connsiteX884" fmla="*/ 1025 w 10000"/>
                <a:gd name="connsiteY884" fmla="*/ 9698 h 10000"/>
                <a:gd name="connsiteX885" fmla="*/ 1045 w 10000"/>
                <a:gd name="connsiteY885" fmla="*/ 9712 h 10000"/>
                <a:gd name="connsiteX886" fmla="*/ 1073 w 10000"/>
                <a:gd name="connsiteY886" fmla="*/ 9724 h 10000"/>
                <a:gd name="connsiteX887" fmla="*/ 1098 w 10000"/>
                <a:gd name="connsiteY887" fmla="*/ 9738 h 10000"/>
                <a:gd name="connsiteX888" fmla="*/ 1121 w 10000"/>
                <a:gd name="connsiteY888" fmla="*/ 9750 h 10000"/>
                <a:gd name="connsiteX889" fmla="*/ 1141 w 10000"/>
                <a:gd name="connsiteY889" fmla="*/ 9762 h 10000"/>
                <a:gd name="connsiteX890" fmla="*/ 1159 w 10000"/>
                <a:gd name="connsiteY890" fmla="*/ 9776 h 10000"/>
                <a:gd name="connsiteX891" fmla="*/ 1172 w 10000"/>
                <a:gd name="connsiteY891" fmla="*/ 9787 h 10000"/>
                <a:gd name="connsiteX892" fmla="*/ 1182 w 10000"/>
                <a:gd name="connsiteY892" fmla="*/ 9804 h 10000"/>
                <a:gd name="connsiteX893" fmla="*/ 1194 w 10000"/>
                <a:gd name="connsiteY893" fmla="*/ 9818 h 10000"/>
                <a:gd name="connsiteX894" fmla="*/ 1202 w 10000"/>
                <a:gd name="connsiteY894" fmla="*/ 9834 h 10000"/>
                <a:gd name="connsiteX895" fmla="*/ 1212 w 10000"/>
                <a:gd name="connsiteY895" fmla="*/ 9869 h 10000"/>
                <a:gd name="connsiteX896" fmla="*/ 1220 w 10000"/>
                <a:gd name="connsiteY896" fmla="*/ 9906 h 10000"/>
                <a:gd name="connsiteX897" fmla="*/ 1230 w 10000"/>
                <a:gd name="connsiteY897" fmla="*/ 9951 h 10000"/>
                <a:gd name="connsiteX898" fmla="*/ 1237 w 10000"/>
                <a:gd name="connsiteY898" fmla="*/ 10000 h 10000"/>
                <a:gd name="connsiteX899" fmla="*/ 1237 w 10000"/>
                <a:gd name="connsiteY89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217 w 10000"/>
                <a:gd name="connsiteY791" fmla="*/ 8373 h 10000"/>
                <a:gd name="connsiteX792" fmla="*/ 1202 w 10000"/>
                <a:gd name="connsiteY792" fmla="*/ 8333 h 10000"/>
                <a:gd name="connsiteX793" fmla="*/ 1162 w 10000"/>
                <a:gd name="connsiteY793" fmla="*/ 8268 h 10000"/>
                <a:gd name="connsiteX794" fmla="*/ 1149 w 10000"/>
                <a:gd name="connsiteY794" fmla="*/ 8256 h 10000"/>
                <a:gd name="connsiteX795" fmla="*/ 1139 w 10000"/>
                <a:gd name="connsiteY795" fmla="*/ 8249 h 10000"/>
                <a:gd name="connsiteX796" fmla="*/ 1126 w 10000"/>
                <a:gd name="connsiteY796" fmla="*/ 8240 h 10000"/>
                <a:gd name="connsiteX797" fmla="*/ 1114 w 10000"/>
                <a:gd name="connsiteY797" fmla="*/ 8240 h 10000"/>
                <a:gd name="connsiteX798" fmla="*/ 1091 w 10000"/>
                <a:gd name="connsiteY798" fmla="*/ 8242 h 10000"/>
                <a:gd name="connsiteX799" fmla="*/ 1071 w 10000"/>
                <a:gd name="connsiteY799" fmla="*/ 8252 h 10000"/>
                <a:gd name="connsiteX800" fmla="*/ 1048 w 10000"/>
                <a:gd name="connsiteY800" fmla="*/ 8261 h 10000"/>
                <a:gd name="connsiteX801" fmla="*/ 1030 w 10000"/>
                <a:gd name="connsiteY801" fmla="*/ 8273 h 10000"/>
                <a:gd name="connsiteX802" fmla="*/ 1010 w 10000"/>
                <a:gd name="connsiteY802" fmla="*/ 8287 h 10000"/>
                <a:gd name="connsiteX803" fmla="*/ 995 w 10000"/>
                <a:gd name="connsiteY803" fmla="*/ 8303 h 10000"/>
                <a:gd name="connsiteX804" fmla="*/ 975 w 10000"/>
                <a:gd name="connsiteY804" fmla="*/ 8322 h 10000"/>
                <a:gd name="connsiteX805" fmla="*/ 960 w 10000"/>
                <a:gd name="connsiteY805" fmla="*/ 8343 h 10000"/>
                <a:gd name="connsiteX806" fmla="*/ 927 w 10000"/>
                <a:gd name="connsiteY806" fmla="*/ 8380 h 10000"/>
                <a:gd name="connsiteX807" fmla="*/ 891 w 10000"/>
                <a:gd name="connsiteY807" fmla="*/ 8417 h 10000"/>
                <a:gd name="connsiteX808" fmla="*/ 874 w 10000"/>
                <a:gd name="connsiteY808" fmla="*/ 8436 h 10000"/>
                <a:gd name="connsiteX809" fmla="*/ 859 w 10000"/>
                <a:gd name="connsiteY809" fmla="*/ 8450 h 10000"/>
                <a:gd name="connsiteX810" fmla="*/ 838 w 10000"/>
                <a:gd name="connsiteY810" fmla="*/ 8462 h 10000"/>
                <a:gd name="connsiteX811" fmla="*/ 821 w 10000"/>
                <a:gd name="connsiteY811" fmla="*/ 8476 h 10000"/>
                <a:gd name="connsiteX812" fmla="*/ 742 w 10000"/>
                <a:gd name="connsiteY812" fmla="*/ 8562 h 10000"/>
                <a:gd name="connsiteX813" fmla="*/ 672 w 10000"/>
                <a:gd name="connsiteY813" fmla="*/ 8644 h 10000"/>
                <a:gd name="connsiteX814" fmla="*/ 639 w 10000"/>
                <a:gd name="connsiteY814" fmla="*/ 8684 h 10000"/>
                <a:gd name="connsiteX815" fmla="*/ 609 w 10000"/>
                <a:gd name="connsiteY815" fmla="*/ 8731 h 10000"/>
                <a:gd name="connsiteX816" fmla="*/ 583 w 10000"/>
                <a:gd name="connsiteY816" fmla="*/ 8777 h 10000"/>
                <a:gd name="connsiteX817" fmla="*/ 556 w 10000"/>
                <a:gd name="connsiteY817" fmla="*/ 8831 h 10000"/>
                <a:gd name="connsiteX818" fmla="*/ 545 w 10000"/>
                <a:gd name="connsiteY818" fmla="*/ 8852 h 10000"/>
                <a:gd name="connsiteX819" fmla="*/ 525 w 10000"/>
                <a:gd name="connsiteY819" fmla="*/ 8885 h 10000"/>
                <a:gd name="connsiteX820" fmla="*/ 503 w 10000"/>
                <a:gd name="connsiteY820" fmla="*/ 8925 h 10000"/>
                <a:gd name="connsiteX821" fmla="*/ 480 w 10000"/>
                <a:gd name="connsiteY821" fmla="*/ 8962 h 10000"/>
                <a:gd name="connsiteX822" fmla="*/ 465 w 10000"/>
                <a:gd name="connsiteY822" fmla="*/ 8981 h 10000"/>
                <a:gd name="connsiteX823" fmla="*/ 455 w 10000"/>
                <a:gd name="connsiteY823" fmla="*/ 8993 h 10000"/>
                <a:gd name="connsiteX824" fmla="*/ 444 w 10000"/>
                <a:gd name="connsiteY824" fmla="*/ 9000 h 10000"/>
                <a:gd name="connsiteX825" fmla="*/ 434 w 10000"/>
                <a:gd name="connsiteY825" fmla="*/ 9007 h 10000"/>
                <a:gd name="connsiteX826" fmla="*/ 432 w 10000"/>
                <a:gd name="connsiteY826" fmla="*/ 9007 h 10000"/>
                <a:gd name="connsiteX827" fmla="*/ 429 w 10000"/>
                <a:gd name="connsiteY827" fmla="*/ 9004 h 10000"/>
                <a:gd name="connsiteX828" fmla="*/ 427 w 10000"/>
                <a:gd name="connsiteY828" fmla="*/ 8997 h 10000"/>
                <a:gd name="connsiteX829" fmla="*/ 427 w 10000"/>
                <a:gd name="connsiteY829" fmla="*/ 8993 h 10000"/>
                <a:gd name="connsiteX830" fmla="*/ 424 w 10000"/>
                <a:gd name="connsiteY830" fmla="*/ 8976 h 10000"/>
                <a:gd name="connsiteX831" fmla="*/ 427 w 10000"/>
                <a:gd name="connsiteY831" fmla="*/ 8948 h 10000"/>
                <a:gd name="connsiteX832" fmla="*/ 437 w 10000"/>
                <a:gd name="connsiteY832" fmla="*/ 8913 h 10000"/>
                <a:gd name="connsiteX833" fmla="*/ 455 w 10000"/>
                <a:gd name="connsiteY833" fmla="*/ 8859 h 10000"/>
                <a:gd name="connsiteX834" fmla="*/ 462 w 10000"/>
                <a:gd name="connsiteY834" fmla="*/ 8834 h 10000"/>
                <a:gd name="connsiteX835" fmla="*/ 470 w 10000"/>
                <a:gd name="connsiteY835" fmla="*/ 8810 h 10000"/>
                <a:gd name="connsiteX836" fmla="*/ 472 w 10000"/>
                <a:gd name="connsiteY836" fmla="*/ 8794 h 10000"/>
                <a:gd name="connsiteX837" fmla="*/ 472 w 10000"/>
                <a:gd name="connsiteY837" fmla="*/ 8780 h 10000"/>
                <a:gd name="connsiteX838" fmla="*/ 462 w 10000"/>
                <a:gd name="connsiteY838" fmla="*/ 8784 h 10000"/>
                <a:gd name="connsiteX839" fmla="*/ 452 w 10000"/>
                <a:gd name="connsiteY839" fmla="*/ 8787 h 10000"/>
                <a:gd name="connsiteX840" fmla="*/ 437 w 10000"/>
                <a:gd name="connsiteY840" fmla="*/ 8794 h 10000"/>
                <a:gd name="connsiteX841" fmla="*/ 424 w 10000"/>
                <a:gd name="connsiteY841" fmla="*/ 8803 h 10000"/>
                <a:gd name="connsiteX842" fmla="*/ 394 w 10000"/>
                <a:gd name="connsiteY842" fmla="*/ 8829 h 10000"/>
                <a:gd name="connsiteX843" fmla="*/ 364 w 10000"/>
                <a:gd name="connsiteY843" fmla="*/ 8859 h 10000"/>
                <a:gd name="connsiteX844" fmla="*/ 311 w 10000"/>
                <a:gd name="connsiteY844" fmla="*/ 8922 h 10000"/>
                <a:gd name="connsiteX845" fmla="*/ 268 w 10000"/>
                <a:gd name="connsiteY845" fmla="*/ 8964 h 10000"/>
                <a:gd name="connsiteX846" fmla="*/ 205 w 10000"/>
                <a:gd name="connsiteY846" fmla="*/ 9016 h 10000"/>
                <a:gd name="connsiteX847" fmla="*/ 146 w 10000"/>
                <a:gd name="connsiteY847" fmla="*/ 9053 h 10000"/>
                <a:gd name="connsiteX848" fmla="*/ 139 w 10000"/>
                <a:gd name="connsiteY848" fmla="*/ 9063 h 10000"/>
                <a:gd name="connsiteX849" fmla="*/ 129 w 10000"/>
                <a:gd name="connsiteY849" fmla="*/ 9077 h 10000"/>
                <a:gd name="connsiteX850" fmla="*/ 126 w 10000"/>
                <a:gd name="connsiteY850" fmla="*/ 9086 h 10000"/>
                <a:gd name="connsiteX851" fmla="*/ 126 w 10000"/>
                <a:gd name="connsiteY851" fmla="*/ 9102 h 10000"/>
                <a:gd name="connsiteX852" fmla="*/ 129 w 10000"/>
                <a:gd name="connsiteY852" fmla="*/ 9116 h 10000"/>
                <a:gd name="connsiteX853" fmla="*/ 139 w 10000"/>
                <a:gd name="connsiteY853" fmla="*/ 9135 h 10000"/>
                <a:gd name="connsiteX854" fmla="*/ 149 w 10000"/>
                <a:gd name="connsiteY854" fmla="*/ 9151 h 10000"/>
                <a:gd name="connsiteX855" fmla="*/ 164 w 10000"/>
                <a:gd name="connsiteY855" fmla="*/ 9175 h 10000"/>
                <a:gd name="connsiteX856" fmla="*/ 184 w 10000"/>
                <a:gd name="connsiteY856" fmla="*/ 9196 h 10000"/>
                <a:gd name="connsiteX857" fmla="*/ 207 w 10000"/>
                <a:gd name="connsiteY857" fmla="*/ 9215 h 10000"/>
                <a:gd name="connsiteX858" fmla="*/ 227 w 10000"/>
                <a:gd name="connsiteY858" fmla="*/ 9233 h 10000"/>
                <a:gd name="connsiteX859" fmla="*/ 253 w 10000"/>
                <a:gd name="connsiteY859" fmla="*/ 9250 h 10000"/>
                <a:gd name="connsiteX860" fmla="*/ 303 w 10000"/>
                <a:gd name="connsiteY860" fmla="*/ 9282 h 10000"/>
                <a:gd name="connsiteX861" fmla="*/ 351 w 10000"/>
                <a:gd name="connsiteY861" fmla="*/ 9315 h 10000"/>
                <a:gd name="connsiteX862" fmla="*/ 414 w 10000"/>
                <a:gd name="connsiteY862" fmla="*/ 9364 h 10000"/>
                <a:gd name="connsiteX863" fmla="*/ 480 w 10000"/>
                <a:gd name="connsiteY863" fmla="*/ 9416 h 10000"/>
                <a:gd name="connsiteX864" fmla="*/ 513 w 10000"/>
                <a:gd name="connsiteY864" fmla="*/ 9437 h 10000"/>
                <a:gd name="connsiteX865" fmla="*/ 548 w 10000"/>
                <a:gd name="connsiteY865" fmla="*/ 9462 h 10000"/>
                <a:gd name="connsiteX866" fmla="*/ 581 w 10000"/>
                <a:gd name="connsiteY866" fmla="*/ 9483 h 10000"/>
                <a:gd name="connsiteX867" fmla="*/ 614 w 10000"/>
                <a:gd name="connsiteY867" fmla="*/ 9502 h 10000"/>
                <a:gd name="connsiteX868" fmla="*/ 641 w 10000"/>
                <a:gd name="connsiteY868" fmla="*/ 9525 h 10000"/>
                <a:gd name="connsiteX869" fmla="*/ 672 w 10000"/>
                <a:gd name="connsiteY869" fmla="*/ 9549 h 10000"/>
                <a:gd name="connsiteX870" fmla="*/ 702 w 10000"/>
                <a:gd name="connsiteY870" fmla="*/ 9568 h 10000"/>
                <a:gd name="connsiteX871" fmla="*/ 737 w 10000"/>
                <a:gd name="connsiteY871" fmla="*/ 9589 h 10000"/>
                <a:gd name="connsiteX872" fmla="*/ 770 w 10000"/>
                <a:gd name="connsiteY872" fmla="*/ 9605 h 10000"/>
                <a:gd name="connsiteX873" fmla="*/ 808 w 10000"/>
                <a:gd name="connsiteY873" fmla="*/ 9617 h 10000"/>
                <a:gd name="connsiteX874" fmla="*/ 843 w 10000"/>
                <a:gd name="connsiteY874" fmla="*/ 9624 h 10000"/>
                <a:gd name="connsiteX875" fmla="*/ 884 w 10000"/>
                <a:gd name="connsiteY875" fmla="*/ 9628 h 10000"/>
                <a:gd name="connsiteX876" fmla="*/ 902 w 10000"/>
                <a:gd name="connsiteY876" fmla="*/ 9628 h 10000"/>
                <a:gd name="connsiteX877" fmla="*/ 914 w 10000"/>
                <a:gd name="connsiteY877" fmla="*/ 9631 h 10000"/>
                <a:gd name="connsiteX878" fmla="*/ 932 w 10000"/>
                <a:gd name="connsiteY878" fmla="*/ 9638 h 10000"/>
                <a:gd name="connsiteX879" fmla="*/ 942 w 10000"/>
                <a:gd name="connsiteY879" fmla="*/ 9642 h 10000"/>
                <a:gd name="connsiteX880" fmla="*/ 967 w 10000"/>
                <a:gd name="connsiteY880" fmla="*/ 9652 h 10000"/>
                <a:gd name="connsiteX881" fmla="*/ 987 w 10000"/>
                <a:gd name="connsiteY881" fmla="*/ 9668 h 10000"/>
                <a:gd name="connsiteX882" fmla="*/ 1005 w 10000"/>
                <a:gd name="connsiteY882" fmla="*/ 9682 h 10000"/>
                <a:gd name="connsiteX883" fmla="*/ 1025 w 10000"/>
                <a:gd name="connsiteY883" fmla="*/ 9698 h 10000"/>
                <a:gd name="connsiteX884" fmla="*/ 1045 w 10000"/>
                <a:gd name="connsiteY884" fmla="*/ 9712 h 10000"/>
                <a:gd name="connsiteX885" fmla="*/ 1073 w 10000"/>
                <a:gd name="connsiteY885" fmla="*/ 9724 h 10000"/>
                <a:gd name="connsiteX886" fmla="*/ 1098 w 10000"/>
                <a:gd name="connsiteY886" fmla="*/ 9738 h 10000"/>
                <a:gd name="connsiteX887" fmla="*/ 1121 w 10000"/>
                <a:gd name="connsiteY887" fmla="*/ 9750 h 10000"/>
                <a:gd name="connsiteX888" fmla="*/ 1141 w 10000"/>
                <a:gd name="connsiteY888" fmla="*/ 9762 h 10000"/>
                <a:gd name="connsiteX889" fmla="*/ 1159 w 10000"/>
                <a:gd name="connsiteY889" fmla="*/ 9776 h 10000"/>
                <a:gd name="connsiteX890" fmla="*/ 1172 w 10000"/>
                <a:gd name="connsiteY890" fmla="*/ 9787 h 10000"/>
                <a:gd name="connsiteX891" fmla="*/ 1182 w 10000"/>
                <a:gd name="connsiteY891" fmla="*/ 9804 h 10000"/>
                <a:gd name="connsiteX892" fmla="*/ 1194 w 10000"/>
                <a:gd name="connsiteY892" fmla="*/ 9818 h 10000"/>
                <a:gd name="connsiteX893" fmla="*/ 1202 w 10000"/>
                <a:gd name="connsiteY893" fmla="*/ 9834 h 10000"/>
                <a:gd name="connsiteX894" fmla="*/ 1212 w 10000"/>
                <a:gd name="connsiteY894" fmla="*/ 9869 h 10000"/>
                <a:gd name="connsiteX895" fmla="*/ 1220 w 10000"/>
                <a:gd name="connsiteY895" fmla="*/ 9906 h 10000"/>
                <a:gd name="connsiteX896" fmla="*/ 1230 w 10000"/>
                <a:gd name="connsiteY896" fmla="*/ 9951 h 10000"/>
                <a:gd name="connsiteX897" fmla="*/ 1237 w 10000"/>
                <a:gd name="connsiteY897" fmla="*/ 10000 h 10000"/>
                <a:gd name="connsiteX898" fmla="*/ 1237 w 10000"/>
                <a:gd name="connsiteY89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217 w 10000"/>
                <a:gd name="connsiteY791" fmla="*/ 8373 h 10000"/>
                <a:gd name="connsiteX792" fmla="*/ 1202 w 10000"/>
                <a:gd name="connsiteY792" fmla="*/ 8333 h 10000"/>
                <a:gd name="connsiteX793" fmla="*/ 1149 w 10000"/>
                <a:gd name="connsiteY793" fmla="*/ 8256 h 10000"/>
                <a:gd name="connsiteX794" fmla="*/ 1139 w 10000"/>
                <a:gd name="connsiteY794" fmla="*/ 8249 h 10000"/>
                <a:gd name="connsiteX795" fmla="*/ 1126 w 10000"/>
                <a:gd name="connsiteY795" fmla="*/ 8240 h 10000"/>
                <a:gd name="connsiteX796" fmla="*/ 1114 w 10000"/>
                <a:gd name="connsiteY796" fmla="*/ 8240 h 10000"/>
                <a:gd name="connsiteX797" fmla="*/ 1091 w 10000"/>
                <a:gd name="connsiteY797" fmla="*/ 8242 h 10000"/>
                <a:gd name="connsiteX798" fmla="*/ 1071 w 10000"/>
                <a:gd name="connsiteY798" fmla="*/ 8252 h 10000"/>
                <a:gd name="connsiteX799" fmla="*/ 1048 w 10000"/>
                <a:gd name="connsiteY799" fmla="*/ 8261 h 10000"/>
                <a:gd name="connsiteX800" fmla="*/ 1030 w 10000"/>
                <a:gd name="connsiteY800" fmla="*/ 8273 h 10000"/>
                <a:gd name="connsiteX801" fmla="*/ 1010 w 10000"/>
                <a:gd name="connsiteY801" fmla="*/ 8287 h 10000"/>
                <a:gd name="connsiteX802" fmla="*/ 995 w 10000"/>
                <a:gd name="connsiteY802" fmla="*/ 8303 h 10000"/>
                <a:gd name="connsiteX803" fmla="*/ 975 w 10000"/>
                <a:gd name="connsiteY803" fmla="*/ 8322 h 10000"/>
                <a:gd name="connsiteX804" fmla="*/ 960 w 10000"/>
                <a:gd name="connsiteY804" fmla="*/ 8343 h 10000"/>
                <a:gd name="connsiteX805" fmla="*/ 927 w 10000"/>
                <a:gd name="connsiteY805" fmla="*/ 8380 h 10000"/>
                <a:gd name="connsiteX806" fmla="*/ 891 w 10000"/>
                <a:gd name="connsiteY806" fmla="*/ 8417 h 10000"/>
                <a:gd name="connsiteX807" fmla="*/ 874 w 10000"/>
                <a:gd name="connsiteY807" fmla="*/ 8436 h 10000"/>
                <a:gd name="connsiteX808" fmla="*/ 859 w 10000"/>
                <a:gd name="connsiteY808" fmla="*/ 8450 h 10000"/>
                <a:gd name="connsiteX809" fmla="*/ 838 w 10000"/>
                <a:gd name="connsiteY809" fmla="*/ 8462 h 10000"/>
                <a:gd name="connsiteX810" fmla="*/ 821 w 10000"/>
                <a:gd name="connsiteY810" fmla="*/ 8476 h 10000"/>
                <a:gd name="connsiteX811" fmla="*/ 742 w 10000"/>
                <a:gd name="connsiteY811" fmla="*/ 8562 h 10000"/>
                <a:gd name="connsiteX812" fmla="*/ 672 w 10000"/>
                <a:gd name="connsiteY812" fmla="*/ 8644 h 10000"/>
                <a:gd name="connsiteX813" fmla="*/ 639 w 10000"/>
                <a:gd name="connsiteY813" fmla="*/ 8684 h 10000"/>
                <a:gd name="connsiteX814" fmla="*/ 609 w 10000"/>
                <a:gd name="connsiteY814" fmla="*/ 8731 h 10000"/>
                <a:gd name="connsiteX815" fmla="*/ 583 w 10000"/>
                <a:gd name="connsiteY815" fmla="*/ 8777 h 10000"/>
                <a:gd name="connsiteX816" fmla="*/ 556 w 10000"/>
                <a:gd name="connsiteY816" fmla="*/ 8831 h 10000"/>
                <a:gd name="connsiteX817" fmla="*/ 545 w 10000"/>
                <a:gd name="connsiteY817" fmla="*/ 8852 h 10000"/>
                <a:gd name="connsiteX818" fmla="*/ 525 w 10000"/>
                <a:gd name="connsiteY818" fmla="*/ 8885 h 10000"/>
                <a:gd name="connsiteX819" fmla="*/ 503 w 10000"/>
                <a:gd name="connsiteY819" fmla="*/ 8925 h 10000"/>
                <a:gd name="connsiteX820" fmla="*/ 480 w 10000"/>
                <a:gd name="connsiteY820" fmla="*/ 8962 h 10000"/>
                <a:gd name="connsiteX821" fmla="*/ 465 w 10000"/>
                <a:gd name="connsiteY821" fmla="*/ 8981 h 10000"/>
                <a:gd name="connsiteX822" fmla="*/ 455 w 10000"/>
                <a:gd name="connsiteY822" fmla="*/ 8993 h 10000"/>
                <a:gd name="connsiteX823" fmla="*/ 444 w 10000"/>
                <a:gd name="connsiteY823" fmla="*/ 9000 h 10000"/>
                <a:gd name="connsiteX824" fmla="*/ 434 w 10000"/>
                <a:gd name="connsiteY824" fmla="*/ 9007 h 10000"/>
                <a:gd name="connsiteX825" fmla="*/ 432 w 10000"/>
                <a:gd name="connsiteY825" fmla="*/ 9007 h 10000"/>
                <a:gd name="connsiteX826" fmla="*/ 429 w 10000"/>
                <a:gd name="connsiteY826" fmla="*/ 9004 h 10000"/>
                <a:gd name="connsiteX827" fmla="*/ 427 w 10000"/>
                <a:gd name="connsiteY827" fmla="*/ 8997 h 10000"/>
                <a:gd name="connsiteX828" fmla="*/ 427 w 10000"/>
                <a:gd name="connsiteY828" fmla="*/ 8993 h 10000"/>
                <a:gd name="connsiteX829" fmla="*/ 424 w 10000"/>
                <a:gd name="connsiteY829" fmla="*/ 8976 h 10000"/>
                <a:gd name="connsiteX830" fmla="*/ 427 w 10000"/>
                <a:gd name="connsiteY830" fmla="*/ 8948 h 10000"/>
                <a:gd name="connsiteX831" fmla="*/ 437 w 10000"/>
                <a:gd name="connsiteY831" fmla="*/ 8913 h 10000"/>
                <a:gd name="connsiteX832" fmla="*/ 455 w 10000"/>
                <a:gd name="connsiteY832" fmla="*/ 8859 h 10000"/>
                <a:gd name="connsiteX833" fmla="*/ 462 w 10000"/>
                <a:gd name="connsiteY833" fmla="*/ 8834 h 10000"/>
                <a:gd name="connsiteX834" fmla="*/ 470 w 10000"/>
                <a:gd name="connsiteY834" fmla="*/ 8810 h 10000"/>
                <a:gd name="connsiteX835" fmla="*/ 472 w 10000"/>
                <a:gd name="connsiteY835" fmla="*/ 8794 h 10000"/>
                <a:gd name="connsiteX836" fmla="*/ 472 w 10000"/>
                <a:gd name="connsiteY836" fmla="*/ 8780 h 10000"/>
                <a:gd name="connsiteX837" fmla="*/ 462 w 10000"/>
                <a:gd name="connsiteY837" fmla="*/ 8784 h 10000"/>
                <a:gd name="connsiteX838" fmla="*/ 452 w 10000"/>
                <a:gd name="connsiteY838" fmla="*/ 8787 h 10000"/>
                <a:gd name="connsiteX839" fmla="*/ 437 w 10000"/>
                <a:gd name="connsiteY839" fmla="*/ 8794 h 10000"/>
                <a:gd name="connsiteX840" fmla="*/ 424 w 10000"/>
                <a:gd name="connsiteY840" fmla="*/ 8803 h 10000"/>
                <a:gd name="connsiteX841" fmla="*/ 394 w 10000"/>
                <a:gd name="connsiteY841" fmla="*/ 8829 h 10000"/>
                <a:gd name="connsiteX842" fmla="*/ 364 w 10000"/>
                <a:gd name="connsiteY842" fmla="*/ 8859 h 10000"/>
                <a:gd name="connsiteX843" fmla="*/ 311 w 10000"/>
                <a:gd name="connsiteY843" fmla="*/ 8922 h 10000"/>
                <a:gd name="connsiteX844" fmla="*/ 268 w 10000"/>
                <a:gd name="connsiteY844" fmla="*/ 8964 h 10000"/>
                <a:gd name="connsiteX845" fmla="*/ 205 w 10000"/>
                <a:gd name="connsiteY845" fmla="*/ 9016 h 10000"/>
                <a:gd name="connsiteX846" fmla="*/ 146 w 10000"/>
                <a:gd name="connsiteY846" fmla="*/ 9053 h 10000"/>
                <a:gd name="connsiteX847" fmla="*/ 139 w 10000"/>
                <a:gd name="connsiteY847" fmla="*/ 9063 h 10000"/>
                <a:gd name="connsiteX848" fmla="*/ 129 w 10000"/>
                <a:gd name="connsiteY848" fmla="*/ 9077 h 10000"/>
                <a:gd name="connsiteX849" fmla="*/ 126 w 10000"/>
                <a:gd name="connsiteY849" fmla="*/ 9086 h 10000"/>
                <a:gd name="connsiteX850" fmla="*/ 126 w 10000"/>
                <a:gd name="connsiteY850" fmla="*/ 9102 h 10000"/>
                <a:gd name="connsiteX851" fmla="*/ 129 w 10000"/>
                <a:gd name="connsiteY851" fmla="*/ 9116 h 10000"/>
                <a:gd name="connsiteX852" fmla="*/ 139 w 10000"/>
                <a:gd name="connsiteY852" fmla="*/ 9135 h 10000"/>
                <a:gd name="connsiteX853" fmla="*/ 149 w 10000"/>
                <a:gd name="connsiteY853" fmla="*/ 9151 h 10000"/>
                <a:gd name="connsiteX854" fmla="*/ 164 w 10000"/>
                <a:gd name="connsiteY854" fmla="*/ 9175 h 10000"/>
                <a:gd name="connsiteX855" fmla="*/ 184 w 10000"/>
                <a:gd name="connsiteY855" fmla="*/ 9196 h 10000"/>
                <a:gd name="connsiteX856" fmla="*/ 207 w 10000"/>
                <a:gd name="connsiteY856" fmla="*/ 9215 h 10000"/>
                <a:gd name="connsiteX857" fmla="*/ 227 w 10000"/>
                <a:gd name="connsiteY857" fmla="*/ 9233 h 10000"/>
                <a:gd name="connsiteX858" fmla="*/ 253 w 10000"/>
                <a:gd name="connsiteY858" fmla="*/ 9250 h 10000"/>
                <a:gd name="connsiteX859" fmla="*/ 303 w 10000"/>
                <a:gd name="connsiteY859" fmla="*/ 9282 h 10000"/>
                <a:gd name="connsiteX860" fmla="*/ 351 w 10000"/>
                <a:gd name="connsiteY860" fmla="*/ 9315 h 10000"/>
                <a:gd name="connsiteX861" fmla="*/ 414 w 10000"/>
                <a:gd name="connsiteY861" fmla="*/ 9364 h 10000"/>
                <a:gd name="connsiteX862" fmla="*/ 480 w 10000"/>
                <a:gd name="connsiteY862" fmla="*/ 9416 h 10000"/>
                <a:gd name="connsiteX863" fmla="*/ 513 w 10000"/>
                <a:gd name="connsiteY863" fmla="*/ 9437 h 10000"/>
                <a:gd name="connsiteX864" fmla="*/ 548 w 10000"/>
                <a:gd name="connsiteY864" fmla="*/ 9462 h 10000"/>
                <a:gd name="connsiteX865" fmla="*/ 581 w 10000"/>
                <a:gd name="connsiteY865" fmla="*/ 9483 h 10000"/>
                <a:gd name="connsiteX866" fmla="*/ 614 w 10000"/>
                <a:gd name="connsiteY866" fmla="*/ 9502 h 10000"/>
                <a:gd name="connsiteX867" fmla="*/ 641 w 10000"/>
                <a:gd name="connsiteY867" fmla="*/ 9525 h 10000"/>
                <a:gd name="connsiteX868" fmla="*/ 672 w 10000"/>
                <a:gd name="connsiteY868" fmla="*/ 9549 h 10000"/>
                <a:gd name="connsiteX869" fmla="*/ 702 w 10000"/>
                <a:gd name="connsiteY869" fmla="*/ 9568 h 10000"/>
                <a:gd name="connsiteX870" fmla="*/ 737 w 10000"/>
                <a:gd name="connsiteY870" fmla="*/ 9589 h 10000"/>
                <a:gd name="connsiteX871" fmla="*/ 770 w 10000"/>
                <a:gd name="connsiteY871" fmla="*/ 9605 h 10000"/>
                <a:gd name="connsiteX872" fmla="*/ 808 w 10000"/>
                <a:gd name="connsiteY872" fmla="*/ 9617 h 10000"/>
                <a:gd name="connsiteX873" fmla="*/ 843 w 10000"/>
                <a:gd name="connsiteY873" fmla="*/ 9624 h 10000"/>
                <a:gd name="connsiteX874" fmla="*/ 884 w 10000"/>
                <a:gd name="connsiteY874" fmla="*/ 9628 h 10000"/>
                <a:gd name="connsiteX875" fmla="*/ 902 w 10000"/>
                <a:gd name="connsiteY875" fmla="*/ 9628 h 10000"/>
                <a:gd name="connsiteX876" fmla="*/ 914 w 10000"/>
                <a:gd name="connsiteY876" fmla="*/ 9631 h 10000"/>
                <a:gd name="connsiteX877" fmla="*/ 932 w 10000"/>
                <a:gd name="connsiteY877" fmla="*/ 9638 h 10000"/>
                <a:gd name="connsiteX878" fmla="*/ 942 w 10000"/>
                <a:gd name="connsiteY878" fmla="*/ 9642 h 10000"/>
                <a:gd name="connsiteX879" fmla="*/ 967 w 10000"/>
                <a:gd name="connsiteY879" fmla="*/ 9652 h 10000"/>
                <a:gd name="connsiteX880" fmla="*/ 987 w 10000"/>
                <a:gd name="connsiteY880" fmla="*/ 9668 h 10000"/>
                <a:gd name="connsiteX881" fmla="*/ 1005 w 10000"/>
                <a:gd name="connsiteY881" fmla="*/ 9682 h 10000"/>
                <a:gd name="connsiteX882" fmla="*/ 1025 w 10000"/>
                <a:gd name="connsiteY882" fmla="*/ 9698 h 10000"/>
                <a:gd name="connsiteX883" fmla="*/ 1045 w 10000"/>
                <a:gd name="connsiteY883" fmla="*/ 9712 h 10000"/>
                <a:gd name="connsiteX884" fmla="*/ 1073 w 10000"/>
                <a:gd name="connsiteY884" fmla="*/ 9724 h 10000"/>
                <a:gd name="connsiteX885" fmla="*/ 1098 w 10000"/>
                <a:gd name="connsiteY885" fmla="*/ 9738 h 10000"/>
                <a:gd name="connsiteX886" fmla="*/ 1121 w 10000"/>
                <a:gd name="connsiteY886" fmla="*/ 9750 h 10000"/>
                <a:gd name="connsiteX887" fmla="*/ 1141 w 10000"/>
                <a:gd name="connsiteY887" fmla="*/ 9762 h 10000"/>
                <a:gd name="connsiteX888" fmla="*/ 1159 w 10000"/>
                <a:gd name="connsiteY888" fmla="*/ 9776 h 10000"/>
                <a:gd name="connsiteX889" fmla="*/ 1172 w 10000"/>
                <a:gd name="connsiteY889" fmla="*/ 9787 h 10000"/>
                <a:gd name="connsiteX890" fmla="*/ 1182 w 10000"/>
                <a:gd name="connsiteY890" fmla="*/ 9804 h 10000"/>
                <a:gd name="connsiteX891" fmla="*/ 1194 w 10000"/>
                <a:gd name="connsiteY891" fmla="*/ 9818 h 10000"/>
                <a:gd name="connsiteX892" fmla="*/ 1202 w 10000"/>
                <a:gd name="connsiteY892" fmla="*/ 9834 h 10000"/>
                <a:gd name="connsiteX893" fmla="*/ 1212 w 10000"/>
                <a:gd name="connsiteY893" fmla="*/ 9869 h 10000"/>
                <a:gd name="connsiteX894" fmla="*/ 1220 w 10000"/>
                <a:gd name="connsiteY894" fmla="*/ 9906 h 10000"/>
                <a:gd name="connsiteX895" fmla="*/ 1230 w 10000"/>
                <a:gd name="connsiteY895" fmla="*/ 9951 h 10000"/>
                <a:gd name="connsiteX896" fmla="*/ 1237 w 10000"/>
                <a:gd name="connsiteY896" fmla="*/ 10000 h 10000"/>
                <a:gd name="connsiteX897" fmla="*/ 1237 w 10000"/>
                <a:gd name="connsiteY89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217 w 10000"/>
                <a:gd name="connsiteY791" fmla="*/ 8373 h 10000"/>
                <a:gd name="connsiteX792" fmla="*/ 1149 w 10000"/>
                <a:gd name="connsiteY792" fmla="*/ 8256 h 10000"/>
                <a:gd name="connsiteX793" fmla="*/ 1139 w 10000"/>
                <a:gd name="connsiteY793" fmla="*/ 8249 h 10000"/>
                <a:gd name="connsiteX794" fmla="*/ 1126 w 10000"/>
                <a:gd name="connsiteY794" fmla="*/ 8240 h 10000"/>
                <a:gd name="connsiteX795" fmla="*/ 1114 w 10000"/>
                <a:gd name="connsiteY795" fmla="*/ 8240 h 10000"/>
                <a:gd name="connsiteX796" fmla="*/ 1091 w 10000"/>
                <a:gd name="connsiteY796" fmla="*/ 8242 h 10000"/>
                <a:gd name="connsiteX797" fmla="*/ 1071 w 10000"/>
                <a:gd name="connsiteY797" fmla="*/ 8252 h 10000"/>
                <a:gd name="connsiteX798" fmla="*/ 1048 w 10000"/>
                <a:gd name="connsiteY798" fmla="*/ 8261 h 10000"/>
                <a:gd name="connsiteX799" fmla="*/ 1030 w 10000"/>
                <a:gd name="connsiteY799" fmla="*/ 8273 h 10000"/>
                <a:gd name="connsiteX800" fmla="*/ 1010 w 10000"/>
                <a:gd name="connsiteY800" fmla="*/ 8287 h 10000"/>
                <a:gd name="connsiteX801" fmla="*/ 995 w 10000"/>
                <a:gd name="connsiteY801" fmla="*/ 8303 h 10000"/>
                <a:gd name="connsiteX802" fmla="*/ 975 w 10000"/>
                <a:gd name="connsiteY802" fmla="*/ 8322 h 10000"/>
                <a:gd name="connsiteX803" fmla="*/ 960 w 10000"/>
                <a:gd name="connsiteY803" fmla="*/ 8343 h 10000"/>
                <a:gd name="connsiteX804" fmla="*/ 927 w 10000"/>
                <a:gd name="connsiteY804" fmla="*/ 8380 h 10000"/>
                <a:gd name="connsiteX805" fmla="*/ 891 w 10000"/>
                <a:gd name="connsiteY805" fmla="*/ 8417 h 10000"/>
                <a:gd name="connsiteX806" fmla="*/ 874 w 10000"/>
                <a:gd name="connsiteY806" fmla="*/ 8436 h 10000"/>
                <a:gd name="connsiteX807" fmla="*/ 859 w 10000"/>
                <a:gd name="connsiteY807" fmla="*/ 8450 h 10000"/>
                <a:gd name="connsiteX808" fmla="*/ 838 w 10000"/>
                <a:gd name="connsiteY808" fmla="*/ 8462 h 10000"/>
                <a:gd name="connsiteX809" fmla="*/ 821 w 10000"/>
                <a:gd name="connsiteY809" fmla="*/ 8476 h 10000"/>
                <a:gd name="connsiteX810" fmla="*/ 742 w 10000"/>
                <a:gd name="connsiteY810" fmla="*/ 8562 h 10000"/>
                <a:gd name="connsiteX811" fmla="*/ 672 w 10000"/>
                <a:gd name="connsiteY811" fmla="*/ 8644 h 10000"/>
                <a:gd name="connsiteX812" fmla="*/ 639 w 10000"/>
                <a:gd name="connsiteY812" fmla="*/ 8684 h 10000"/>
                <a:gd name="connsiteX813" fmla="*/ 609 w 10000"/>
                <a:gd name="connsiteY813" fmla="*/ 8731 h 10000"/>
                <a:gd name="connsiteX814" fmla="*/ 583 w 10000"/>
                <a:gd name="connsiteY814" fmla="*/ 8777 h 10000"/>
                <a:gd name="connsiteX815" fmla="*/ 556 w 10000"/>
                <a:gd name="connsiteY815" fmla="*/ 8831 h 10000"/>
                <a:gd name="connsiteX816" fmla="*/ 545 w 10000"/>
                <a:gd name="connsiteY816" fmla="*/ 8852 h 10000"/>
                <a:gd name="connsiteX817" fmla="*/ 525 w 10000"/>
                <a:gd name="connsiteY817" fmla="*/ 8885 h 10000"/>
                <a:gd name="connsiteX818" fmla="*/ 503 w 10000"/>
                <a:gd name="connsiteY818" fmla="*/ 8925 h 10000"/>
                <a:gd name="connsiteX819" fmla="*/ 480 w 10000"/>
                <a:gd name="connsiteY819" fmla="*/ 8962 h 10000"/>
                <a:gd name="connsiteX820" fmla="*/ 465 w 10000"/>
                <a:gd name="connsiteY820" fmla="*/ 8981 h 10000"/>
                <a:gd name="connsiteX821" fmla="*/ 455 w 10000"/>
                <a:gd name="connsiteY821" fmla="*/ 8993 h 10000"/>
                <a:gd name="connsiteX822" fmla="*/ 444 w 10000"/>
                <a:gd name="connsiteY822" fmla="*/ 9000 h 10000"/>
                <a:gd name="connsiteX823" fmla="*/ 434 w 10000"/>
                <a:gd name="connsiteY823" fmla="*/ 9007 h 10000"/>
                <a:gd name="connsiteX824" fmla="*/ 432 w 10000"/>
                <a:gd name="connsiteY824" fmla="*/ 9007 h 10000"/>
                <a:gd name="connsiteX825" fmla="*/ 429 w 10000"/>
                <a:gd name="connsiteY825" fmla="*/ 9004 h 10000"/>
                <a:gd name="connsiteX826" fmla="*/ 427 w 10000"/>
                <a:gd name="connsiteY826" fmla="*/ 8997 h 10000"/>
                <a:gd name="connsiteX827" fmla="*/ 427 w 10000"/>
                <a:gd name="connsiteY827" fmla="*/ 8993 h 10000"/>
                <a:gd name="connsiteX828" fmla="*/ 424 w 10000"/>
                <a:gd name="connsiteY828" fmla="*/ 8976 h 10000"/>
                <a:gd name="connsiteX829" fmla="*/ 427 w 10000"/>
                <a:gd name="connsiteY829" fmla="*/ 8948 h 10000"/>
                <a:gd name="connsiteX830" fmla="*/ 437 w 10000"/>
                <a:gd name="connsiteY830" fmla="*/ 8913 h 10000"/>
                <a:gd name="connsiteX831" fmla="*/ 455 w 10000"/>
                <a:gd name="connsiteY831" fmla="*/ 8859 h 10000"/>
                <a:gd name="connsiteX832" fmla="*/ 462 w 10000"/>
                <a:gd name="connsiteY832" fmla="*/ 8834 h 10000"/>
                <a:gd name="connsiteX833" fmla="*/ 470 w 10000"/>
                <a:gd name="connsiteY833" fmla="*/ 8810 h 10000"/>
                <a:gd name="connsiteX834" fmla="*/ 472 w 10000"/>
                <a:gd name="connsiteY834" fmla="*/ 8794 h 10000"/>
                <a:gd name="connsiteX835" fmla="*/ 472 w 10000"/>
                <a:gd name="connsiteY835" fmla="*/ 8780 h 10000"/>
                <a:gd name="connsiteX836" fmla="*/ 462 w 10000"/>
                <a:gd name="connsiteY836" fmla="*/ 8784 h 10000"/>
                <a:gd name="connsiteX837" fmla="*/ 452 w 10000"/>
                <a:gd name="connsiteY837" fmla="*/ 8787 h 10000"/>
                <a:gd name="connsiteX838" fmla="*/ 437 w 10000"/>
                <a:gd name="connsiteY838" fmla="*/ 8794 h 10000"/>
                <a:gd name="connsiteX839" fmla="*/ 424 w 10000"/>
                <a:gd name="connsiteY839" fmla="*/ 8803 h 10000"/>
                <a:gd name="connsiteX840" fmla="*/ 394 w 10000"/>
                <a:gd name="connsiteY840" fmla="*/ 8829 h 10000"/>
                <a:gd name="connsiteX841" fmla="*/ 364 w 10000"/>
                <a:gd name="connsiteY841" fmla="*/ 8859 h 10000"/>
                <a:gd name="connsiteX842" fmla="*/ 311 w 10000"/>
                <a:gd name="connsiteY842" fmla="*/ 8922 h 10000"/>
                <a:gd name="connsiteX843" fmla="*/ 268 w 10000"/>
                <a:gd name="connsiteY843" fmla="*/ 8964 h 10000"/>
                <a:gd name="connsiteX844" fmla="*/ 205 w 10000"/>
                <a:gd name="connsiteY844" fmla="*/ 9016 h 10000"/>
                <a:gd name="connsiteX845" fmla="*/ 146 w 10000"/>
                <a:gd name="connsiteY845" fmla="*/ 9053 h 10000"/>
                <a:gd name="connsiteX846" fmla="*/ 139 w 10000"/>
                <a:gd name="connsiteY846" fmla="*/ 9063 h 10000"/>
                <a:gd name="connsiteX847" fmla="*/ 129 w 10000"/>
                <a:gd name="connsiteY847" fmla="*/ 9077 h 10000"/>
                <a:gd name="connsiteX848" fmla="*/ 126 w 10000"/>
                <a:gd name="connsiteY848" fmla="*/ 9086 h 10000"/>
                <a:gd name="connsiteX849" fmla="*/ 126 w 10000"/>
                <a:gd name="connsiteY849" fmla="*/ 9102 h 10000"/>
                <a:gd name="connsiteX850" fmla="*/ 129 w 10000"/>
                <a:gd name="connsiteY850" fmla="*/ 9116 h 10000"/>
                <a:gd name="connsiteX851" fmla="*/ 139 w 10000"/>
                <a:gd name="connsiteY851" fmla="*/ 9135 h 10000"/>
                <a:gd name="connsiteX852" fmla="*/ 149 w 10000"/>
                <a:gd name="connsiteY852" fmla="*/ 9151 h 10000"/>
                <a:gd name="connsiteX853" fmla="*/ 164 w 10000"/>
                <a:gd name="connsiteY853" fmla="*/ 9175 h 10000"/>
                <a:gd name="connsiteX854" fmla="*/ 184 w 10000"/>
                <a:gd name="connsiteY854" fmla="*/ 9196 h 10000"/>
                <a:gd name="connsiteX855" fmla="*/ 207 w 10000"/>
                <a:gd name="connsiteY855" fmla="*/ 9215 h 10000"/>
                <a:gd name="connsiteX856" fmla="*/ 227 w 10000"/>
                <a:gd name="connsiteY856" fmla="*/ 9233 h 10000"/>
                <a:gd name="connsiteX857" fmla="*/ 253 w 10000"/>
                <a:gd name="connsiteY857" fmla="*/ 9250 h 10000"/>
                <a:gd name="connsiteX858" fmla="*/ 303 w 10000"/>
                <a:gd name="connsiteY858" fmla="*/ 9282 h 10000"/>
                <a:gd name="connsiteX859" fmla="*/ 351 w 10000"/>
                <a:gd name="connsiteY859" fmla="*/ 9315 h 10000"/>
                <a:gd name="connsiteX860" fmla="*/ 414 w 10000"/>
                <a:gd name="connsiteY860" fmla="*/ 9364 h 10000"/>
                <a:gd name="connsiteX861" fmla="*/ 480 w 10000"/>
                <a:gd name="connsiteY861" fmla="*/ 9416 h 10000"/>
                <a:gd name="connsiteX862" fmla="*/ 513 w 10000"/>
                <a:gd name="connsiteY862" fmla="*/ 9437 h 10000"/>
                <a:gd name="connsiteX863" fmla="*/ 548 w 10000"/>
                <a:gd name="connsiteY863" fmla="*/ 9462 h 10000"/>
                <a:gd name="connsiteX864" fmla="*/ 581 w 10000"/>
                <a:gd name="connsiteY864" fmla="*/ 9483 h 10000"/>
                <a:gd name="connsiteX865" fmla="*/ 614 w 10000"/>
                <a:gd name="connsiteY865" fmla="*/ 9502 h 10000"/>
                <a:gd name="connsiteX866" fmla="*/ 641 w 10000"/>
                <a:gd name="connsiteY866" fmla="*/ 9525 h 10000"/>
                <a:gd name="connsiteX867" fmla="*/ 672 w 10000"/>
                <a:gd name="connsiteY867" fmla="*/ 9549 h 10000"/>
                <a:gd name="connsiteX868" fmla="*/ 702 w 10000"/>
                <a:gd name="connsiteY868" fmla="*/ 9568 h 10000"/>
                <a:gd name="connsiteX869" fmla="*/ 737 w 10000"/>
                <a:gd name="connsiteY869" fmla="*/ 9589 h 10000"/>
                <a:gd name="connsiteX870" fmla="*/ 770 w 10000"/>
                <a:gd name="connsiteY870" fmla="*/ 9605 h 10000"/>
                <a:gd name="connsiteX871" fmla="*/ 808 w 10000"/>
                <a:gd name="connsiteY871" fmla="*/ 9617 h 10000"/>
                <a:gd name="connsiteX872" fmla="*/ 843 w 10000"/>
                <a:gd name="connsiteY872" fmla="*/ 9624 h 10000"/>
                <a:gd name="connsiteX873" fmla="*/ 884 w 10000"/>
                <a:gd name="connsiteY873" fmla="*/ 9628 h 10000"/>
                <a:gd name="connsiteX874" fmla="*/ 902 w 10000"/>
                <a:gd name="connsiteY874" fmla="*/ 9628 h 10000"/>
                <a:gd name="connsiteX875" fmla="*/ 914 w 10000"/>
                <a:gd name="connsiteY875" fmla="*/ 9631 h 10000"/>
                <a:gd name="connsiteX876" fmla="*/ 932 w 10000"/>
                <a:gd name="connsiteY876" fmla="*/ 9638 h 10000"/>
                <a:gd name="connsiteX877" fmla="*/ 942 w 10000"/>
                <a:gd name="connsiteY877" fmla="*/ 9642 h 10000"/>
                <a:gd name="connsiteX878" fmla="*/ 967 w 10000"/>
                <a:gd name="connsiteY878" fmla="*/ 9652 h 10000"/>
                <a:gd name="connsiteX879" fmla="*/ 987 w 10000"/>
                <a:gd name="connsiteY879" fmla="*/ 9668 h 10000"/>
                <a:gd name="connsiteX880" fmla="*/ 1005 w 10000"/>
                <a:gd name="connsiteY880" fmla="*/ 9682 h 10000"/>
                <a:gd name="connsiteX881" fmla="*/ 1025 w 10000"/>
                <a:gd name="connsiteY881" fmla="*/ 9698 h 10000"/>
                <a:gd name="connsiteX882" fmla="*/ 1045 w 10000"/>
                <a:gd name="connsiteY882" fmla="*/ 9712 h 10000"/>
                <a:gd name="connsiteX883" fmla="*/ 1073 w 10000"/>
                <a:gd name="connsiteY883" fmla="*/ 9724 h 10000"/>
                <a:gd name="connsiteX884" fmla="*/ 1098 w 10000"/>
                <a:gd name="connsiteY884" fmla="*/ 9738 h 10000"/>
                <a:gd name="connsiteX885" fmla="*/ 1121 w 10000"/>
                <a:gd name="connsiteY885" fmla="*/ 9750 h 10000"/>
                <a:gd name="connsiteX886" fmla="*/ 1141 w 10000"/>
                <a:gd name="connsiteY886" fmla="*/ 9762 h 10000"/>
                <a:gd name="connsiteX887" fmla="*/ 1159 w 10000"/>
                <a:gd name="connsiteY887" fmla="*/ 9776 h 10000"/>
                <a:gd name="connsiteX888" fmla="*/ 1172 w 10000"/>
                <a:gd name="connsiteY888" fmla="*/ 9787 h 10000"/>
                <a:gd name="connsiteX889" fmla="*/ 1182 w 10000"/>
                <a:gd name="connsiteY889" fmla="*/ 9804 h 10000"/>
                <a:gd name="connsiteX890" fmla="*/ 1194 w 10000"/>
                <a:gd name="connsiteY890" fmla="*/ 9818 h 10000"/>
                <a:gd name="connsiteX891" fmla="*/ 1202 w 10000"/>
                <a:gd name="connsiteY891" fmla="*/ 9834 h 10000"/>
                <a:gd name="connsiteX892" fmla="*/ 1212 w 10000"/>
                <a:gd name="connsiteY892" fmla="*/ 9869 h 10000"/>
                <a:gd name="connsiteX893" fmla="*/ 1220 w 10000"/>
                <a:gd name="connsiteY893" fmla="*/ 9906 h 10000"/>
                <a:gd name="connsiteX894" fmla="*/ 1230 w 10000"/>
                <a:gd name="connsiteY894" fmla="*/ 9951 h 10000"/>
                <a:gd name="connsiteX895" fmla="*/ 1237 w 10000"/>
                <a:gd name="connsiteY895" fmla="*/ 10000 h 10000"/>
                <a:gd name="connsiteX896" fmla="*/ 1237 w 10000"/>
                <a:gd name="connsiteY89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245 w 10000"/>
                <a:gd name="connsiteY790" fmla="*/ 8424 h 10000"/>
                <a:gd name="connsiteX791" fmla="*/ 1149 w 10000"/>
                <a:gd name="connsiteY791" fmla="*/ 8256 h 10000"/>
                <a:gd name="connsiteX792" fmla="*/ 1139 w 10000"/>
                <a:gd name="connsiteY792" fmla="*/ 8249 h 10000"/>
                <a:gd name="connsiteX793" fmla="*/ 1126 w 10000"/>
                <a:gd name="connsiteY793" fmla="*/ 8240 h 10000"/>
                <a:gd name="connsiteX794" fmla="*/ 1114 w 10000"/>
                <a:gd name="connsiteY794" fmla="*/ 8240 h 10000"/>
                <a:gd name="connsiteX795" fmla="*/ 1091 w 10000"/>
                <a:gd name="connsiteY795" fmla="*/ 8242 h 10000"/>
                <a:gd name="connsiteX796" fmla="*/ 1071 w 10000"/>
                <a:gd name="connsiteY796" fmla="*/ 8252 h 10000"/>
                <a:gd name="connsiteX797" fmla="*/ 1048 w 10000"/>
                <a:gd name="connsiteY797" fmla="*/ 8261 h 10000"/>
                <a:gd name="connsiteX798" fmla="*/ 1030 w 10000"/>
                <a:gd name="connsiteY798" fmla="*/ 8273 h 10000"/>
                <a:gd name="connsiteX799" fmla="*/ 1010 w 10000"/>
                <a:gd name="connsiteY799" fmla="*/ 8287 h 10000"/>
                <a:gd name="connsiteX800" fmla="*/ 995 w 10000"/>
                <a:gd name="connsiteY800" fmla="*/ 8303 h 10000"/>
                <a:gd name="connsiteX801" fmla="*/ 975 w 10000"/>
                <a:gd name="connsiteY801" fmla="*/ 8322 h 10000"/>
                <a:gd name="connsiteX802" fmla="*/ 960 w 10000"/>
                <a:gd name="connsiteY802" fmla="*/ 8343 h 10000"/>
                <a:gd name="connsiteX803" fmla="*/ 927 w 10000"/>
                <a:gd name="connsiteY803" fmla="*/ 8380 h 10000"/>
                <a:gd name="connsiteX804" fmla="*/ 891 w 10000"/>
                <a:gd name="connsiteY804" fmla="*/ 8417 h 10000"/>
                <a:gd name="connsiteX805" fmla="*/ 874 w 10000"/>
                <a:gd name="connsiteY805" fmla="*/ 8436 h 10000"/>
                <a:gd name="connsiteX806" fmla="*/ 859 w 10000"/>
                <a:gd name="connsiteY806" fmla="*/ 8450 h 10000"/>
                <a:gd name="connsiteX807" fmla="*/ 838 w 10000"/>
                <a:gd name="connsiteY807" fmla="*/ 8462 h 10000"/>
                <a:gd name="connsiteX808" fmla="*/ 821 w 10000"/>
                <a:gd name="connsiteY808" fmla="*/ 8476 h 10000"/>
                <a:gd name="connsiteX809" fmla="*/ 742 w 10000"/>
                <a:gd name="connsiteY809" fmla="*/ 8562 h 10000"/>
                <a:gd name="connsiteX810" fmla="*/ 672 w 10000"/>
                <a:gd name="connsiteY810" fmla="*/ 8644 h 10000"/>
                <a:gd name="connsiteX811" fmla="*/ 639 w 10000"/>
                <a:gd name="connsiteY811" fmla="*/ 8684 h 10000"/>
                <a:gd name="connsiteX812" fmla="*/ 609 w 10000"/>
                <a:gd name="connsiteY812" fmla="*/ 8731 h 10000"/>
                <a:gd name="connsiteX813" fmla="*/ 583 w 10000"/>
                <a:gd name="connsiteY813" fmla="*/ 8777 h 10000"/>
                <a:gd name="connsiteX814" fmla="*/ 556 w 10000"/>
                <a:gd name="connsiteY814" fmla="*/ 8831 h 10000"/>
                <a:gd name="connsiteX815" fmla="*/ 545 w 10000"/>
                <a:gd name="connsiteY815" fmla="*/ 8852 h 10000"/>
                <a:gd name="connsiteX816" fmla="*/ 525 w 10000"/>
                <a:gd name="connsiteY816" fmla="*/ 8885 h 10000"/>
                <a:gd name="connsiteX817" fmla="*/ 503 w 10000"/>
                <a:gd name="connsiteY817" fmla="*/ 8925 h 10000"/>
                <a:gd name="connsiteX818" fmla="*/ 480 w 10000"/>
                <a:gd name="connsiteY818" fmla="*/ 8962 h 10000"/>
                <a:gd name="connsiteX819" fmla="*/ 465 w 10000"/>
                <a:gd name="connsiteY819" fmla="*/ 8981 h 10000"/>
                <a:gd name="connsiteX820" fmla="*/ 455 w 10000"/>
                <a:gd name="connsiteY820" fmla="*/ 8993 h 10000"/>
                <a:gd name="connsiteX821" fmla="*/ 444 w 10000"/>
                <a:gd name="connsiteY821" fmla="*/ 9000 h 10000"/>
                <a:gd name="connsiteX822" fmla="*/ 434 w 10000"/>
                <a:gd name="connsiteY822" fmla="*/ 9007 h 10000"/>
                <a:gd name="connsiteX823" fmla="*/ 432 w 10000"/>
                <a:gd name="connsiteY823" fmla="*/ 9007 h 10000"/>
                <a:gd name="connsiteX824" fmla="*/ 429 w 10000"/>
                <a:gd name="connsiteY824" fmla="*/ 9004 h 10000"/>
                <a:gd name="connsiteX825" fmla="*/ 427 w 10000"/>
                <a:gd name="connsiteY825" fmla="*/ 8997 h 10000"/>
                <a:gd name="connsiteX826" fmla="*/ 427 w 10000"/>
                <a:gd name="connsiteY826" fmla="*/ 8993 h 10000"/>
                <a:gd name="connsiteX827" fmla="*/ 424 w 10000"/>
                <a:gd name="connsiteY827" fmla="*/ 8976 h 10000"/>
                <a:gd name="connsiteX828" fmla="*/ 427 w 10000"/>
                <a:gd name="connsiteY828" fmla="*/ 8948 h 10000"/>
                <a:gd name="connsiteX829" fmla="*/ 437 w 10000"/>
                <a:gd name="connsiteY829" fmla="*/ 8913 h 10000"/>
                <a:gd name="connsiteX830" fmla="*/ 455 w 10000"/>
                <a:gd name="connsiteY830" fmla="*/ 8859 h 10000"/>
                <a:gd name="connsiteX831" fmla="*/ 462 w 10000"/>
                <a:gd name="connsiteY831" fmla="*/ 8834 h 10000"/>
                <a:gd name="connsiteX832" fmla="*/ 470 w 10000"/>
                <a:gd name="connsiteY832" fmla="*/ 8810 h 10000"/>
                <a:gd name="connsiteX833" fmla="*/ 472 w 10000"/>
                <a:gd name="connsiteY833" fmla="*/ 8794 h 10000"/>
                <a:gd name="connsiteX834" fmla="*/ 472 w 10000"/>
                <a:gd name="connsiteY834" fmla="*/ 8780 h 10000"/>
                <a:gd name="connsiteX835" fmla="*/ 462 w 10000"/>
                <a:gd name="connsiteY835" fmla="*/ 8784 h 10000"/>
                <a:gd name="connsiteX836" fmla="*/ 452 w 10000"/>
                <a:gd name="connsiteY836" fmla="*/ 8787 h 10000"/>
                <a:gd name="connsiteX837" fmla="*/ 437 w 10000"/>
                <a:gd name="connsiteY837" fmla="*/ 8794 h 10000"/>
                <a:gd name="connsiteX838" fmla="*/ 424 w 10000"/>
                <a:gd name="connsiteY838" fmla="*/ 8803 h 10000"/>
                <a:gd name="connsiteX839" fmla="*/ 394 w 10000"/>
                <a:gd name="connsiteY839" fmla="*/ 8829 h 10000"/>
                <a:gd name="connsiteX840" fmla="*/ 364 w 10000"/>
                <a:gd name="connsiteY840" fmla="*/ 8859 h 10000"/>
                <a:gd name="connsiteX841" fmla="*/ 311 w 10000"/>
                <a:gd name="connsiteY841" fmla="*/ 8922 h 10000"/>
                <a:gd name="connsiteX842" fmla="*/ 268 w 10000"/>
                <a:gd name="connsiteY842" fmla="*/ 8964 h 10000"/>
                <a:gd name="connsiteX843" fmla="*/ 205 w 10000"/>
                <a:gd name="connsiteY843" fmla="*/ 9016 h 10000"/>
                <a:gd name="connsiteX844" fmla="*/ 146 w 10000"/>
                <a:gd name="connsiteY844" fmla="*/ 9053 h 10000"/>
                <a:gd name="connsiteX845" fmla="*/ 139 w 10000"/>
                <a:gd name="connsiteY845" fmla="*/ 9063 h 10000"/>
                <a:gd name="connsiteX846" fmla="*/ 129 w 10000"/>
                <a:gd name="connsiteY846" fmla="*/ 9077 h 10000"/>
                <a:gd name="connsiteX847" fmla="*/ 126 w 10000"/>
                <a:gd name="connsiteY847" fmla="*/ 9086 h 10000"/>
                <a:gd name="connsiteX848" fmla="*/ 126 w 10000"/>
                <a:gd name="connsiteY848" fmla="*/ 9102 h 10000"/>
                <a:gd name="connsiteX849" fmla="*/ 129 w 10000"/>
                <a:gd name="connsiteY849" fmla="*/ 9116 h 10000"/>
                <a:gd name="connsiteX850" fmla="*/ 139 w 10000"/>
                <a:gd name="connsiteY850" fmla="*/ 9135 h 10000"/>
                <a:gd name="connsiteX851" fmla="*/ 149 w 10000"/>
                <a:gd name="connsiteY851" fmla="*/ 9151 h 10000"/>
                <a:gd name="connsiteX852" fmla="*/ 164 w 10000"/>
                <a:gd name="connsiteY852" fmla="*/ 9175 h 10000"/>
                <a:gd name="connsiteX853" fmla="*/ 184 w 10000"/>
                <a:gd name="connsiteY853" fmla="*/ 9196 h 10000"/>
                <a:gd name="connsiteX854" fmla="*/ 207 w 10000"/>
                <a:gd name="connsiteY854" fmla="*/ 9215 h 10000"/>
                <a:gd name="connsiteX855" fmla="*/ 227 w 10000"/>
                <a:gd name="connsiteY855" fmla="*/ 9233 h 10000"/>
                <a:gd name="connsiteX856" fmla="*/ 253 w 10000"/>
                <a:gd name="connsiteY856" fmla="*/ 9250 h 10000"/>
                <a:gd name="connsiteX857" fmla="*/ 303 w 10000"/>
                <a:gd name="connsiteY857" fmla="*/ 9282 h 10000"/>
                <a:gd name="connsiteX858" fmla="*/ 351 w 10000"/>
                <a:gd name="connsiteY858" fmla="*/ 9315 h 10000"/>
                <a:gd name="connsiteX859" fmla="*/ 414 w 10000"/>
                <a:gd name="connsiteY859" fmla="*/ 9364 h 10000"/>
                <a:gd name="connsiteX860" fmla="*/ 480 w 10000"/>
                <a:gd name="connsiteY860" fmla="*/ 9416 h 10000"/>
                <a:gd name="connsiteX861" fmla="*/ 513 w 10000"/>
                <a:gd name="connsiteY861" fmla="*/ 9437 h 10000"/>
                <a:gd name="connsiteX862" fmla="*/ 548 w 10000"/>
                <a:gd name="connsiteY862" fmla="*/ 9462 h 10000"/>
                <a:gd name="connsiteX863" fmla="*/ 581 w 10000"/>
                <a:gd name="connsiteY863" fmla="*/ 9483 h 10000"/>
                <a:gd name="connsiteX864" fmla="*/ 614 w 10000"/>
                <a:gd name="connsiteY864" fmla="*/ 9502 h 10000"/>
                <a:gd name="connsiteX865" fmla="*/ 641 w 10000"/>
                <a:gd name="connsiteY865" fmla="*/ 9525 h 10000"/>
                <a:gd name="connsiteX866" fmla="*/ 672 w 10000"/>
                <a:gd name="connsiteY866" fmla="*/ 9549 h 10000"/>
                <a:gd name="connsiteX867" fmla="*/ 702 w 10000"/>
                <a:gd name="connsiteY867" fmla="*/ 9568 h 10000"/>
                <a:gd name="connsiteX868" fmla="*/ 737 w 10000"/>
                <a:gd name="connsiteY868" fmla="*/ 9589 h 10000"/>
                <a:gd name="connsiteX869" fmla="*/ 770 w 10000"/>
                <a:gd name="connsiteY869" fmla="*/ 9605 h 10000"/>
                <a:gd name="connsiteX870" fmla="*/ 808 w 10000"/>
                <a:gd name="connsiteY870" fmla="*/ 9617 h 10000"/>
                <a:gd name="connsiteX871" fmla="*/ 843 w 10000"/>
                <a:gd name="connsiteY871" fmla="*/ 9624 h 10000"/>
                <a:gd name="connsiteX872" fmla="*/ 884 w 10000"/>
                <a:gd name="connsiteY872" fmla="*/ 9628 h 10000"/>
                <a:gd name="connsiteX873" fmla="*/ 902 w 10000"/>
                <a:gd name="connsiteY873" fmla="*/ 9628 h 10000"/>
                <a:gd name="connsiteX874" fmla="*/ 914 w 10000"/>
                <a:gd name="connsiteY874" fmla="*/ 9631 h 10000"/>
                <a:gd name="connsiteX875" fmla="*/ 932 w 10000"/>
                <a:gd name="connsiteY875" fmla="*/ 9638 h 10000"/>
                <a:gd name="connsiteX876" fmla="*/ 942 w 10000"/>
                <a:gd name="connsiteY876" fmla="*/ 9642 h 10000"/>
                <a:gd name="connsiteX877" fmla="*/ 967 w 10000"/>
                <a:gd name="connsiteY877" fmla="*/ 9652 h 10000"/>
                <a:gd name="connsiteX878" fmla="*/ 987 w 10000"/>
                <a:gd name="connsiteY878" fmla="*/ 9668 h 10000"/>
                <a:gd name="connsiteX879" fmla="*/ 1005 w 10000"/>
                <a:gd name="connsiteY879" fmla="*/ 9682 h 10000"/>
                <a:gd name="connsiteX880" fmla="*/ 1025 w 10000"/>
                <a:gd name="connsiteY880" fmla="*/ 9698 h 10000"/>
                <a:gd name="connsiteX881" fmla="*/ 1045 w 10000"/>
                <a:gd name="connsiteY881" fmla="*/ 9712 h 10000"/>
                <a:gd name="connsiteX882" fmla="*/ 1073 w 10000"/>
                <a:gd name="connsiteY882" fmla="*/ 9724 h 10000"/>
                <a:gd name="connsiteX883" fmla="*/ 1098 w 10000"/>
                <a:gd name="connsiteY883" fmla="*/ 9738 h 10000"/>
                <a:gd name="connsiteX884" fmla="*/ 1121 w 10000"/>
                <a:gd name="connsiteY884" fmla="*/ 9750 h 10000"/>
                <a:gd name="connsiteX885" fmla="*/ 1141 w 10000"/>
                <a:gd name="connsiteY885" fmla="*/ 9762 h 10000"/>
                <a:gd name="connsiteX886" fmla="*/ 1159 w 10000"/>
                <a:gd name="connsiteY886" fmla="*/ 9776 h 10000"/>
                <a:gd name="connsiteX887" fmla="*/ 1172 w 10000"/>
                <a:gd name="connsiteY887" fmla="*/ 9787 h 10000"/>
                <a:gd name="connsiteX888" fmla="*/ 1182 w 10000"/>
                <a:gd name="connsiteY888" fmla="*/ 9804 h 10000"/>
                <a:gd name="connsiteX889" fmla="*/ 1194 w 10000"/>
                <a:gd name="connsiteY889" fmla="*/ 9818 h 10000"/>
                <a:gd name="connsiteX890" fmla="*/ 1202 w 10000"/>
                <a:gd name="connsiteY890" fmla="*/ 9834 h 10000"/>
                <a:gd name="connsiteX891" fmla="*/ 1212 w 10000"/>
                <a:gd name="connsiteY891" fmla="*/ 9869 h 10000"/>
                <a:gd name="connsiteX892" fmla="*/ 1220 w 10000"/>
                <a:gd name="connsiteY892" fmla="*/ 9906 h 10000"/>
                <a:gd name="connsiteX893" fmla="*/ 1230 w 10000"/>
                <a:gd name="connsiteY893" fmla="*/ 9951 h 10000"/>
                <a:gd name="connsiteX894" fmla="*/ 1237 w 10000"/>
                <a:gd name="connsiteY894" fmla="*/ 10000 h 10000"/>
                <a:gd name="connsiteX895" fmla="*/ 1237 w 10000"/>
                <a:gd name="connsiteY89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265 w 10000"/>
                <a:gd name="connsiteY789" fmla="*/ 8450 h 10000"/>
                <a:gd name="connsiteX790" fmla="*/ 1149 w 10000"/>
                <a:gd name="connsiteY790" fmla="*/ 8256 h 10000"/>
                <a:gd name="connsiteX791" fmla="*/ 1139 w 10000"/>
                <a:gd name="connsiteY791" fmla="*/ 8249 h 10000"/>
                <a:gd name="connsiteX792" fmla="*/ 1126 w 10000"/>
                <a:gd name="connsiteY792" fmla="*/ 8240 h 10000"/>
                <a:gd name="connsiteX793" fmla="*/ 1114 w 10000"/>
                <a:gd name="connsiteY793" fmla="*/ 8240 h 10000"/>
                <a:gd name="connsiteX794" fmla="*/ 1091 w 10000"/>
                <a:gd name="connsiteY794" fmla="*/ 8242 h 10000"/>
                <a:gd name="connsiteX795" fmla="*/ 1071 w 10000"/>
                <a:gd name="connsiteY795" fmla="*/ 8252 h 10000"/>
                <a:gd name="connsiteX796" fmla="*/ 1048 w 10000"/>
                <a:gd name="connsiteY796" fmla="*/ 8261 h 10000"/>
                <a:gd name="connsiteX797" fmla="*/ 1030 w 10000"/>
                <a:gd name="connsiteY797" fmla="*/ 8273 h 10000"/>
                <a:gd name="connsiteX798" fmla="*/ 1010 w 10000"/>
                <a:gd name="connsiteY798" fmla="*/ 8287 h 10000"/>
                <a:gd name="connsiteX799" fmla="*/ 995 w 10000"/>
                <a:gd name="connsiteY799" fmla="*/ 8303 h 10000"/>
                <a:gd name="connsiteX800" fmla="*/ 975 w 10000"/>
                <a:gd name="connsiteY800" fmla="*/ 8322 h 10000"/>
                <a:gd name="connsiteX801" fmla="*/ 960 w 10000"/>
                <a:gd name="connsiteY801" fmla="*/ 8343 h 10000"/>
                <a:gd name="connsiteX802" fmla="*/ 927 w 10000"/>
                <a:gd name="connsiteY802" fmla="*/ 8380 h 10000"/>
                <a:gd name="connsiteX803" fmla="*/ 891 w 10000"/>
                <a:gd name="connsiteY803" fmla="*/ 8417 h 10000"/>
                <a:gd name="connsiteX804" fmla="*/ 874 w 10000"/>
                <a:gd name="connsiteY804" fmla="*/ 8436 h 10000"/>
                <a:gd name="connsiteX805" fmla="*/ 859 w 10000"/>
                <a:gd name="connsiteY805" fmla="*/ 8450 h 10000"/>
                <a:gd name="connsiteX806" fmla="*/ 838 w 10000"/>
                <a:gd name="connsiteY806" fmla="*/ 8462 h 10000"/>
                <a:gd name="connsiteX807" fmla="*/ 821 w 10000"/>
                <a:gd name="connsiteY807" fmla="*/ 8476 h 10000"/>
                <a:gd name="connsiteX808" fmla="*/ 742 w 10000"/>
                <a:gd name="connsiteY808" fmla="*/ 8562 h 10000"/>
                <a:gd name="connsiteX809" fmla="*/ 672 w 10000"/>
                <a:gd name="connsiteY809" fmla="*/ 8644 h 10000"/>
                <a:gd name="connsiteX810" fmla="*/ 639 w 10000"/>
                <a:gd name="connsiteY810" fmla="*/ 8684 h 10000"/>
                <a:gd name="connsiteX811" fmla="*/ 609 w 10000"/>
                <a:gd name="connsiteY811" fmla="*/ 8731 h 10000"/>
                <a:gd name="connsiteX812" fmla="*/ 583 w 10000"/>
                <a:gd name="connsiteY812" fmla="*/ 8777 h 10000"/>
                <a:gd name="connsiteX813" fmla="*/ 556 w 10000"/>
                <a:gd name="connsiteY813" fmla="*/ 8831 h 10000"/>
                <a:gd name="connsiteX814" fmla="*/ 545 w 10000"/>
                <a:gd name="connsiteY814" fmla="*/ 8852 h 10000"/>
                <a:gd name="connsiteX815" fmla="*/ 525 w 10000"/>
                <a:gd name="connsiteY815" fmla="*/ 8885 h 10000"/>
                <a:gd name="connsiteX816" fmla="*/ 503 w 10000"/>
                <a:gd name="connsiteY816" fmla="*/ 8925 h 10000"/>
                <a:gd name="connsiteX817" fmla="*/ 480 w 10000"/>
                <a:gd name="connsiteY817" fmla="*/ 8962 h 10000"/>
                <a:gd name="connsiteX818" fmla="*/ 465 w 10000"/>
                <a:gd name="connsiteY818" fmla="*/ 8981 h 10000"/>
                <a:gd name="connsiteX819" fmla="*/ 455 w 10000"/>
                <a:gd name="connsiteY819" fmla="*/ 8993 h 10000"/>
                <a:gd name="connsiteX820" fmla="*/ 444 w 10000"/>
                <a:gd name="connsiteY820" fmla="*/ 9000 h 10000"/>
                <a:gd name="connsiteX821" fmla="*/ 434 w 10000"/>
                <a:gd name="connsiteY821" fmla="*/ 9007 h 10000"/>
                <a:gd name="connsiteX822" fmla="*/ 432 w 10000"/>
                <a:gd name="connsiteY822" fmla="*/ 9007 h 10000"/>
                <a:gd name="connsiteX823" fmla="*/ 429 w 10000"/>
                <a:gd name="connsiteY823" fmla="*/ 9004 h 10000"/>
                <a:gd name="connsiteX824" fmla="*/ 427 w 10000"/>
                <a:gd name="connsiteY824" fmla="*/ 8997 h 10000"/>
                <a:gd name="connsiteX825" fmla="*/ 427 w 10000"/>
                <a:gd name="connsiteY825" fmla="*/ 8993 h 10000"/>
                <a:gd name="connsiteX826" fmla="*/ 424 w 10000"/>
                <a:gd name="connsiteY826" fmla="*/ 8976 h 10000"/>
                <a:gd name="connsiteX827" fmla="*/ 427 w 10000"/>
                <a:gd name="connsiteY827" fmla="*/ 8948 h 10000"/>
                <a:gd name="connsiteX828" fmla="*/ 437 w 10000"/>
                <a:gd name="connsiteY828" fmla="*/ 8913 h 10000"/>
                <a:gd name="connsiteX829" fmla="*/ 455 w 10000"/>
                <a:gd name="connsiteY829" fmla="*/ 8859 h 10000"/>
                <a:gd name="connsiteX830" fmla="*/ 462 w 10000"/>
                <a:gd name="connsiteY830" fmla="*/ 8834 h 10000"/>
                <a:gd name="connsiteX831" fmla="*/ 470 w 10000"/>
                <a:gd name="connsiteY831" fmla="*/ 8810 h 10000"/>
                <a:gd name="connsiteX832" fmla="*/ 472 w 10000"/>
                <a:gd name="connsiteY832" fmla="*/ 8794 h 10000"/>
                <a:gd name="connsiteX833" fmla="*/ 472 w 10000"/>
                <a:gd name="connsiteY833" fmla="*/ 8780 h 10000"/>
                <a:gd name="connsiteX834" fmla="*/ 462 w 10000"/>
                <a:gd name="connsiteY834" fmla="*/ 8784 h 10000"/>
                <a:gd name="connsiteX835" fmla="*/ 452 w 10000"/>
                <a:gd name="connsiteY835" fmla="*/ 8787 h 10000"/>
                <a:gd name="connsiteX836" fmla="*/ 437 w 10000"/>
                <a:gd name="connsiteY836" fmla="*/ 8794 h 10000"/>
                <a:gd name="connsiteX837" fmla="*/ 424 w 10000"/>
                <a:gd name="connsiteY837" fmla="*/ 8803 h 10000"/>
                <a:gd name="connsiteX838" fmla="*/ 394 w 10000"/>
                <a:gd name="connsiteY838" fmla="*/ 8829 h 10000"/>
                <a:gd name="connsiteX839" fmla="*/ 364 w 10000"/>
                <a:gd name="connsiteY839" fmla="*/ 8859 h 10000"/>
                <a:gd name="connsiteX840" fmla="*/ 311 w 10000"/>
                <a:gd name="connsiteY840" fmla="*/ 8922 h 10000"/>
                <a:gd name="connsiteX841" fmla="*/ 268 w 10000"/>
                <a:gd name="connsiteY841" fmla="*/ 8964 h 10000"/>
                <a:gd name="connsiteX842" fmla="*/ 205 w 10000"/>
                <a:gd name="connsiteY842" fmla="*/ 9016 h 10000"/>
                <a:gd name="connsiteX843" fmla="*/ 146 w 10000"/>
                <a:gd name="connsiteY843" fmla="*/ 9053 h 10000"/>
                <a:gd name="connsiteX844" fmla="*/ 139 w 10000"/>
                <a:gd name="connsiteY844" fmla="*/ 9063 h 10000"/>
                <a:gd name="connsiteX845" fmla="*/ 129 w 10000"/>
                <a:gd name="connsiteY845" fmla="*/ 9077 h 10000"/>
                <a:gd name="connsiteX846" fmla="*/ 126 w 10000"/>
                <a:gd name="connsiteY846" fmla="*/ 9086 h 10000"/>
                <a:gd name="connsiteX847" fmla="*/ 126 w 10000"/>
                <a:gd name="connsiteY847" fmla="*/ 9102 h 10000"/>
                <a:gd name="connsiteX848" fmla="*/ 129 w 10000"/>
                <a:gd name="connsiteY848" fmla="*/ 9116 h 10000"/>
                <a:gd name="connsiteX849" fmla="*/ 139 w 10000"/>
                <a:gd name="connsiteY849" fmla="*/ 9135 h 10000"/>
                <a:gd name="connsiteX850" fmla="*/ 149 w 10000"/>
                <a:gd name="connsiteY850" fmla="*/ 9151 h 10000"/>
                <a:gd name="connsiteX851" fmla="*/ 164 w 10000"/>
                <a:gd name="connsiteY851" fmla="*/ 9175 h 10000"/>
                <a:gd name="connsiteX852" fmla="*/ 184 w 10000"/>
                <a:gd name="connsiteY852" fmla="*/ 9196 h 10000"/>
                <a:gd name="connsiteX853" fmla="*/ 207 w 10000"/>
                <a:gd name="connsiteY853" fmla="*/ 9215 h 10000"/>
                <a:gd name="connsiteX854" fmla="*/ 227 w 10000"/>
                <a:gd name="connsiteY854" fmla="*/ 9233 h 10000"/>
                <a:gd name="connsiteX855" fmla="*/ 253 w 10000"/>
                <a:gd name="connsiteY855" fmla="*/ 9250 h 10000"/>
                <a:gd name="connsiteX856" fmla="*/ 303 w 10000"/>
                <a:gd name="connsiteY856" fmla="*/ 9282 h 10000"/>
                <a:gd name="connsiteX857" fmla="*/ 351 w 10000"/>
                <a:gd name="connsiteY857" fmla="*/ 9315 h 10000"/>
                <a:gd name="connsiteX858" fmla="*/ 414 w 10000"/>
                <a:gd name="connsiteY858" fmla="*/ 9364 h 10000"/>
                <a:gd name="connsiteX859" fmla="*/ 480 w 10000"/>
                <a:gd name="connsiteY859" fmla="*/ 9416 h 10000"/>
                <a:gd name="connsiteX860" fmla="*/ 513 w 10000"/>
                <a:gd name="connsiteY860" fmla="*/ 9437 h 10000"/>
                <a:gd name="connsiteX861" fmla="*/ 548 w 10000"/>
                <a:gd name="connsiteY861" fmla="*/ 9462 h 10000"/>
                <a:gd name="connsiteX862" fmla="*/ 581 w 10000"/>
                <a:gd name="connsiteY862" fmla="*/ 9483 h 10000"/>
                <a:gd name="connsiteX863" fmla="*/ 614 w 10000"/>
                <a:gd name="connsiteY863" fmla="*/ 9502 h 10000"/>
                <a:gd name="connsiteX864" fmla="*/ 641 w 10000"/>
                <a:gd name="connsiteY864" fmla="*/ 9525 h 10000"/>
                <a:gd name="connsiteX865" fmla="*/ 672 w 10000"/>
                <a:gd name="connsiteY865" fmla="*/ 9549 h 10000"/>
                <a:gd name="connsiteX866" fmla="*/ 702 w 10000"/>
                <a:gd name="connsiteY866" fmla="*/ 9568 h 10000"/>
                <a:gd name="connsiteX867" fmla="*/ 737 w 10000"/>
                <a:gd name="connsiteY867" fmla="*/ 9589 h 10000"/>
                <a:gd name="connsiteX868" fmla="*/ 770 w 10000"/>
                <a:gd name="connsiteY868" fmla="*/ 9605 h 10000"/>
                <a:gd name="connsiteX869" fmla="*/ 808 w 10000"/>
                <a:gd name="connsiteY869" fmla="*/ 9617 h 10000"/>
                <a:gd name="connsiteX870" fmla="*/ 843 w 10000"/>
                <a:gd name="connsiteY870" fmla="*/ 9624 h 10000"/>
                <a:gd name="connsiteX871" fmla="*/ 884 w 10000"/>
                <a:gd name="connsiteY871" fmla="*/ 9628 h 10000"/>
                <a:gd name="connsiteX872" fmla="*/ 902 w 10000"/>
                <a:gd name="connsiteY872" fmla="*/ 9628 h 10000"/>
                <a:gd name="connsiteX873" fmla="*/ 914 w 10000"/>
                <a:gd name="connsiteY873" fmla="*/ 9631 h 10000"/>
                <a:gd name="connsiteX874" fmla="*/ 932 w 10000"/>
                <a:gd name="connsiteY874" fmla="*/ 9638 h 10000"/>
                <a:gd name="connsiteX875" fmla="*/ 942 w 10000"/>
                <a:gd name="connsiteY875" fmla="*/ 9642 h 10000"/>
                <a:gd name="connsiteX876" fmla="*/ 967 w 10000"/>
                <a:gd name="connsiteY876" fmla="*/ 9652 h 10000"/>
                <a:gd name="connsiteX877" fmla="*/ 987 w 10000"/>
                <a:gd name="connsiteY877" fmla="*/ 9668 h 10000"/>
                <a:gd name="connsiteX878" fmla="*/ 1005 w 10000"/>
                <a:gd name="connsiteY878" fmla="*/ 9682 h 10000"/>
                <a:gd name="connsiteX879" fmla="*/ 1025 w 10000"/>
                <a:gd name="connsiteY879" fmla="*/ 9698 h 10000"/>
                <a:gd name="connsiteX880" fmla="*/ 1045 w 10000"/>
                <a:gd name="connsiteY880" fmla="*/ 9712 h 10000"/>
                <a:gd name="connsiteX881" fmla="*/ 1073 w 10000"/>
                <a:gd name="connsiteY881" fmla="*/ 9724 h 10000"/>
                <a:gd name="connsiteX882" fmla="*/ 1098 w 10000"/>
                <a:gd name="connsiteY882" fmla="*/ 9738 h 10000"/>
                <a:gd name="connsiteX883" fmla="*/ 1121 w 10000"/>
                <a:gd name="connsiteY883" fmla="*/ 9750 h 10000"/>
                <a:gd name="connsiteX884" fmla="*/ 1141 w 10000"/>
                <a:gd name="connsiteY884" fmla="*/ 9762 h 10000"/>
                <a:gd name="connsiteX885" fmla="*/ 1159 w 10000"/>
                <a:gd name="connsiteY885" fmla="*/ 9776 h 10000"/>
                <a:gd name="connsiteX886" fmla="*/ 1172 w 10000"/>
                <a:gd name="connsiteY886" fmla="*/ 9787 h 10000"/>
                <a:gd name="connsiteX887" fmla="*/ 1182 w 10000"/>
                <a:gd name="connsiteY887" fmla="*/ 9804 h 10000"/>
                <a:gd name="connsiteX888" fmla="*/ 1194 w 10000"/>
                <a:gd name="connsiteY888" fmla="*/ 9818 h 10000"/>
                <a:gd name="connsiteX889" fmla="*/ 1202 w 10000"/>
                <a:gd name="connsiteY889" fmla="*/ 9834 h 10000"/>
                <a:gd name="connsiteX890" fmla="*/ 1212 w 10000"/>
                <a:gd name="connsiteY890" fmla="*/ 9869 h 10000"/>
                <a:gd name="connsiteX891" fmla="*/ 1220 w 10000"/>
                <a:gd name="connsiteY891" fmla="*/ 9906 h 10000"/>
                <a:gd name="connsiteX892" fmla="*/ 1230 w 10000"/>
                <a:gd name="connsiteY892" fmla="*/ 9951 h 10000"/>
                <a:gd name="connsiteX893" fmla="*/ 1237 w 10000"/>
                <a:gd name="connsiteY893" fmla="*/ 10000 h 10000"/>
                <a:gd name="connsiteX894" fmla="*/ 1237 w 10000"/>
                <a:gd name="connsiteY89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293 w 10000"/>
                <a:gd name="connsiteY788" fmla="*/ 8460 h 10000"/>
                <a:gd name="connsiteX789" fmla="*/ 1149 w 10000"/>
                <a:gd name="connsiteY789" fmla="*/ 8256 h 10000"/>
                <a:gd name="connsiteX790" fmla="*/ 1139 w 10000"/>
                <a:gd name="connsiteY790" fmla="*/ 8249 h 10000"/>
                <a:gd name="connsiteX791" fmla="*/ 1126 w 10000"/>
                <a:gd name="connsiteY791" fmla="*/ 8240 h 10000"/>
                <a:gd name="connsiteX792" fmla="*/ 1114 w 10000"/>
                <a:gd name="connsiteY792" fmla="*/ 8240 h 10000"/>
                <a:gd name="connsiteX793" fmla="*/ 1091 w 10000"/>
                <a:gd name="connsiteY793" fmla="*/ 8242 h 10000"/>
                <a:gd name="connsiteX794" fmla="*/ 1071 w 10000"/>
                <a:gd name="connsiteY794" fmla="*/ 8252 h 10000"/>
                <a:gd name="connsiteX795" fmla="*/ 1048 w 10000"/>
                <a:gd name="connsiteY795" fmla="*/ 8261 h 10000"/>
                <a:gd name="connsiteX796" fmla="*/ 1030 w 10000"/>
                <a:gd name="connsiteY796" fmla="*/ 8273 h 10000"/>
                <a:gd name="connsiteX797" fmla="*/ 1010 w 10000"/>
                <a:gd name="connsiteY797" fmla="*/ 8287 h 10000"/>
                <a:gd name="connsiteX798" fmla="*/ 995 w 10000"/>
                <a:gd name="connsiteY798" fmla="*/ 8303 h 10000"/>
                <a:gd name="connsiteX799" fmla="*/ 975 w 10000"/>
                <a:gd name="connsiteY799" fmla="*/ 8322 h 10000"/>
                <a:gd name="connsiteX800" fmla="*/ 960 w 10000"/>
                <a:gd name="connsiteY800" fmla="*/ 8343 h 10000"/>
                <a:gd name="connsiteX801" fmla="*/ 927 w 10000"/>
                <a:gd name="connsiteY801" fmla="*/ 8380 h 10000"/>
                <a:gd name="connsiteX802" fmla="*/ 891 w 10000"/>
                <a:gd name="connsiteY802" fmla="*/ 8417 h 10000"/>
                <a:gd name="connsiteX803" fmla="*/ 874 w 10000"/>
                <a:gd name="connsiteY803" fmla="*/ 8436 h 10000"/>
                <a:gd name="connsiteX804" fmla="*/ 859 w 10000"/>
                <a:gd name="connsiteY804" fmla="*/ 8450 h 10000"/>
                <a:gd name="connsiteX805" fmla="*/ 838 w 10000"/>
                <a:gd name="connsiteY805" fmla="*/ 8462 h 10000"/>
                <a:gd name="connsiteX806" fmla="*/ 821 w 10000"/>
                <a:gd name="connsiteY806" fmla="*/ 8476 h 10000"/>
                <a:gd name="connsiteX807" fmla="*/ 742 w 10000"/>
                <a:gd name="connsiteY807" fmla="*/ 8562 h 10000"/>
                <a:gd name="connsiteX808" fmla="*/ 672 w 10000"/>
                <a:gd name="connsiteY808" fmla="*/ 8644 h 10000"/>
                <a:gd name="connsiteX809" fmla="*/ 639 w 10000"/>
                <a:gd name="connsiteY809" fmla="*/ 8684 h 10000"/>
                <a:gd name="connsiteX810" fmla="*/ 609 w 10000"/>
                <a:gd name="connsiteY810" fmla="*/ 8731 h 10000"/>
                <a:gd name="connsiteX811" fmla="*/ 583 w 10000"/>
                <a:gd name="connsiteY811" fmla="*/ 8777 h 10000"/>
                <a:gd name="connsiteX812" fmla="*/ 556 w 10000"/>
                <a:gd name="connsiteY812" fmla="*/ 8831 h 10000"/>
                <a:gd name="connsiteX813" fmla="*/ 545 w 10000"/>
                <a:gd name="connsiteY813" fmla="*/ 8852 h 10000"/>
                <a:gd name="connsiteX814" fmla="*/ 525 w 10000"/>
                <a:gd name="connsiteY814" fmla="*/ 8885 h 10000"/>
                <a:gd name="connsiteX815" fmla="*/ 503 w 10000"/>
                <a:gd name="connsiteY815" fmla="*/ 8925 h 10000"/>
                <a:gd name="connsiteX816" fmla="*/ 480 w 10000"/>
                <a:gd name="connsiteY816" fmla="*/ 8962 h 10000"/>
                <a:gd name="connsiteX817" fmla="*/ 465 w 10000"/>
                <a:gd name="connsiteY817" fmla="*/ 8981 h 10000"/>
                <a:gd name="connsiteX818" fmla="*/ 455 w 10000"/>
                <a:gd name="connsiteY818" fmla="*/ 8993 h 10000"/>
                <a:gd name="connsiteX819" fmla="*/ 444 w 10000"/>
                <a:gd name="connsiteY819" fmla="*/ 9000 h 10000"/>
                <a:gd name="connsiteX820" fmla="*/ 434 w 10000"/>
                <a:gd name="connsiteY820" fmla="*/ 9007 h 10000"/>
                <a:gd name="connsiteX821" fmla="*/ 432 w 10000"/>
                <a:gd name="connsiteY821" fmla="*/ 9007 h 10000"/>
                <a:gd name="connsiteX822" fmla="*/ 429 w 10000"/>
                <a:gd name="connsiteY822" fmla="*/ 9004 h 10000"/>
                <a:gd name="connsiteX823" fmla="*/ 427 w 10000"/>
                <a:gd name="connsiteY823" fmla="*/ 8997 h 10000"/>
                <a:gd name="connsiteX824" fmla="*/ 427 w 10000"/>
                <a:gd name="connsiteY824" fmla="*/ 8993 h 10000"/>
                <a:gd name="connsiteX825" fmla="*/ 424 w 10000"/>
                <a:gd name="connsiteY825" fmla="*/ 8976 h 10000"/>
                <a:gd name="connsiteX826" fmla="*/ 427 w 10000"/>
                <a:gd name="connsiteY826" fmla="*/ 8948 h 10000"/>
                <a:gd name="connsiteX827" fmla="*/ 437 w 10000"/>
                <a:gd name="connsiteY827" fmla="*/ 8913 h 10000"/>
                <a:gd name="connsiteX828" fmla="*/ 455 w 10000"/>
                <a:gd name="connsiteY828" fmla="*/ 8859 h 10000"/>
                <a:gd name="connsiteX829" fmla="*/ 462 w 10000"/>
                <a:gd name="connsiteY829" fmla="*/ 8834 h 10000"/>
                <a:gd name="connsiteX830" fmla="*/ 470 w 10000"/>
                <a:gd name="connsiteY830" fmla="*/ 8810 h 10000"/>
                <a:gd name="connsiteX831" fmla="*/ 472 w 10000"/>
                <a:gd name="connsiteY831" fmla="*/ 8794 h 10000"/>
                <a:gd name="connsiteX832" fmla="*/ 472 w 10000"/>
                <a:gd name="connsiteY832" fmla="*/ 8780 h 10000"/>
                <a:gd name="connsiteX833" fmla="*/ 462 w 10000"/>
                <a:gd name="connsiteY833" fmla="*/ 8784 h 10000"/>
                <a:gd name="connsiteX834" fmla="*/ 452 w 10000"/>
                <a:gd name="connsiteY834" fmla="*/ 8787 h 10000"/>
                <a:gd name="connsiteX835" fmla="*/ 437 w 10000"/>
                <a:gd name="connsiteY835" fmla="*/ 8794 h 10000"/>
                <a:gd name="connsiteX836" fmla="*/ 424 w 10000"/>
                <a:gd name="connsiteY836" fmla="*/ 8803 h 10000"/>
                <a:gd name="connsiteX837" fmla="*/ 394 w 10000"/>
                <a:gd name="connsiteY837" fmla="*/ 8829 h 10000"/>
                <a:gd name="connsiteX838" fmla="*/ 364 w 10000"/>
                <a:gd name="connsiteY838" fmla="*/ 8859 h 10000"/>
                <a:gd name="connsiteX839" fmla="*/ 311 w 10000"/>
                <a:gd name="connsiteY839" fmla="*/ 8922 h 10000"/>
                <a:gd name="connsiteX840" fmla="*/ 268 w 10000"/>
                <a:gd name="connsiteY840" fmla="*/ 8964 h 10000"/>
                <a:gd name="connsiteX841" fmla="*/ 205 w 10000"/>
                <a:gd name="connsiteY841" fmla="*/ 9016 h 10000"/>
                <a:gd name="connsiteX842" fmla="*/ 146 w 10000"/>
                <a:gd name="connsiteY842" fmla="*/ 9053 h 10000"/>
                <a:gd name="connsiteX843" fmla="*/ 139 w 10000"/>
                <a:gd name="connsiteY843" fmla="*/ 9063 h 10000"/>
                <a:gd name="connsiteX844" fmla="*/ 129 w 10000"/>
                <a:gd name="connsiteY844" fmla="*/ 9077 h 10000"/>
                <a:gd name="connsiteX845" fmla="*/ 126 w 10000"/>
                <a:gd name="connsiteY845" fmla="*/ 9086 h 10000"/>
                <a:gd name="connsiteX846" fmla="*/ 126 w 10000"/>
                <a:gd name="connsiteY846" fmla="*/ 9102 h 10000"/>
                <a:gd name="connsiteX847" fmla="*/ 129 w 10000"/>
                <a:gd name="connsiteY847" fmla="*/ 9116 h 10000"/>
                <a:gd name="connsiteX848" fmla="*/ 139 w 10000"/>
                <a:gd name="connsiteY848" fmla="*/ 9135 h 10000"/>
                <a:gd name="connsiteX849" fmla="*/ 149 w 10000"/>
                <a:gd name="connsiteY849" fmla="*/ 9151 h 10000"/>
                <a:gd name="connsiteX850" fmla="*/ 164 w 10000"/>
                <a:gd name="connsiteY850" fmla="*/ 9175 h 10000"/>
                <a:gd name="connsiteX851" fmla="*/ 184 w 10000"/>
                <a:gd name="connsiteY851" fmla="*/ 9196 h 10000"/>
                <a:gd name="connsiteX852" fmla="*/ 207 w 10000"/>
                <a:gd name="connsiteY852" fmla="*/ 9215 h 10000"/>
                <a:gd name="connsiteX853" fmla="*/ 227 w 10000"/>
                <a:gd name="connsiteY853" fmla="*/ 9233 h 10000"/>
                <a:gd name="connsiteX854" fmla="*/ 253 w 10000"/>
                <a:gd name="connsiteY854" fmla="*/ 9250 h 10000"/>
                <a:gd name="connsiteX855" fmla="*/ 303 w 10000"/>
                <a:gd name="connsiteY855" fmla="*/ 9282 h 10000"/>
                <a:gd name="connsiteX856" fmla="*/ 351 w 10000"/>
                <a:gd name="connsiteY856" fmla="*/ 9315 h 10000"/>
                <a:gd name="connsiteX857" fmla="*/ 414 w 10000"/>
                <a:gd name="connsiteY857" fmla="*/ 9364 h 10000"/>
                <a:gd name="connsiteX858" fmla="*/ 480 w 10000"/>
                <a:gd name="connsiteY858" fmla="*/ 9416 h 10000"/>
                <a:gd name="connsiteX859" fmla="*/ 513 w 10000"/>
                <a:gd name="connsiteY859" fmla="*/ 9437 h 10000"/>
                <a:gd name="connsiteX860" fmla="*/ 548 w 10000"/>
                <a:gd name="connsiteY860" fmla="*/ 9462 h 10000"/>
                <a:gd name="connsiteX861" fmla="*/ 581 w 10000"/>
                <a:gd name="connsiteY861" fmla="*/ 9483 h 10000"/>
                <a:gd name="connsiteX862" fmla="*/ 614 w 10000"/>
                <a:gd name="connsiteY862" fmla="*/ 9502 h 10000"/>
                <a:gd name="connsiteX863" fmla="*/ 641 w 10000"/>
                <a:gd name="connsiteY863" fmla="*/ 9525 h 10000"/>
                <a:gd name="connsiteX864" fmla="*/ 672 w 10000"/>
                <a:gd name="connsiteY864" fmla="*/ 9549 h 10000"/>
                <a:gd name="connsiteX865" fmla="*/ 702 w 10000"/>
                <a:gd name="connsiteY865" fmla="*/ 9568 h 10000"/>
                <a:gd name="connsiteX866" fmla="*/ 737 w 10000"/>
                <a:gd name="connsiteY866" fmla="*/ 9589 h 10000"/>
                <a:gd name="connsiteX867" fmla="*/ 770 w 10000"/>
                <a:gd name="connsiteY867" fmla="*/ 9605 h 10000"/>
                <a:gd name="connsiteX868" fmla="*/ 808 w 10000"/>
                <a:gd name="connsiteY868" fmla="*/ 9617 h 10000"/>
                <a:gd name="connsiteX869" fmla="*/ 843 w 10000"/>
                <a:gd name="connsiteY869" fmla="*/ 9624 h 10000"/>
                <a:gd name="connsiteX870" fmla="*/ 884 w 10000"/>
                <a:gd name="connsiteY870" fmla="*/ 9628 h 10000"/>
                <a:gd name="connsiteX871" fmla="*/ 902 w 10000"/>
                <a:gd name="connsiteY871" fmla="*/ 9628 h 10000"/>
                <a:gd name="connsiteX872" fmla="*/ 914 w 10000"/>
                <a:gd name="connsiteY872" fmla="*/ 9631 h 10000"/>
                <a:gd name="connsiteX873" fmla="*/ 932 w 10000"/>
                <a:gd name="connsiteY873" fmla="*/ 9638 h 10000"/>
                <a:gd name="connsiteX874" fmla="*/ 942 w 10000"/>
                <a:gd name="connsiteY874" fmla="*/ 9642 h 10000"/>
                <a:gd name="connsiteX875" fmla="*/ 967 w 10000"/>
                <a:gd name="connsiteY875" fmla="*/ 9652 h 10000"/>
                <a:gd name="connsiteX876" fmla="*/ 987 w 10000"/>
                <a:gd name="connsiteY876" fmla="*/ 9668 h 10000"/>
                <a:gd name="connsiteX877" fmla="*/ 1005 w 10000"/>
                <a:gd name="connsiteY877" fmla="*/ 9682 h 10000"/>
                <a:gd name="connsiteX878" fmla="*/ 1025 w 10000"/>
                <a:gd name="connsiteY878" fmla="*/ 9698 h 10000"/>
                <a:gd name="connsiteX879" fmla="*/ 1045 w 10000"/>
                <a:gd name="connsiteY879" fmla="*/ 9712 h 10000"/>
                <a:gd name="connsiteX880" fmla="*/ 1073 w 10000"/>
                <a:gd name="connsiteY880" fmla="*/ 9724 h 10000"/>
                <a:gd name="connsiteX881" fmla="*/ 1098 w 10000"/>
                <a:gd name="connsiteY881" fmla="*/ 9738 h 10000"/>
                <a:gd name="connsiteX882" fmla="*/ 1121 w 10000"/>
                <a:gd name="connsiteY882" fmla="*/ 9750 h 10000"/>
                <a:gd name="connsiteX883" fmla="*/ 1141 w 10000"/>
                <a:gd name="connsiteY883" fmla="*/ 9762 h 10000"/>
                <a:gd name="connsiteX884" fmla="*/ 1159 w 10000"/>
                <a:gd name="connsiteY884" fmla="*/ 9776 h 10000"/>
                <a:gd name="connsiteX885" fmla="*/ 1172 w 10000"/>
                <a:gd name="connsiteY885" fmla="*/ 9787 h 10000"/>
                <a:gd name="connsiteX886" fmla="*/ 1182 w 10000"/>
                <a:gd name="connsiteY886" fmla="*/ 9804 h 10000"/>
                <a:gd name="connsiteX887" fmla="*/ 1194 w 10000"/>
                <a:gd name="connsiteY887" fmla="*/ 9818 h 10000"/>
                <a:gd name="connsiteX888" fmla="*/ 1202 w 10000"/>
                <a:gd name="connsiteY888" fmla="*/ 9834 h 10000"/>
                <a:gd name="connsiteX889" fmla="*/ 1212 w 10000"/>
                <a:gd name="connsiteY889" fmla="*/ 9869 h 10000"/>
                <a:gd name="connsiteX890" fmla="*/ 1220 w 10000"/>
                <a:gd name="connsiteY890" fmla="*/ 9906 h 10000"/>
                <a:gd name="connsiteX891" fmla="*/ 1230 w 10000"/>
                <a:gd name="connsiteY891" fmla="*/ 9951 h 10000"/>
                <a:gd name="connsiteX892" fmla="*/ 1237 w 10000"/>
                <a:gd name="connsiteY892" fmla="*/ 10000 h 10000"/>
                <a:gd name="connsiteX893" fmla="*/ 1237 w 10000"/>
                <a:gd name="connsiteY89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16 w 10000"/>
                <a:gd name="connsiteY786" fmla="*/ 8446 h 10000"/>
                <a:gd name="connsiteX787" fmla="*/ 1306 w 10000"/>
                <a:gd name="connsiteY787" fmla="*/ 8453 h 10000"/>
                <a:gd name="connsiteX788" fmla="*/ 1149 w 10000"/>
                <a:gd name="connsiteY788" fmla="*/ 8256 h 10000"/>
                <a:gd name="connsiteX789" fmla="*/ 1139 w 10000"/>
                <a:gd name="connsiteY789" fmla="*/ 8249 h 10000"/>
                <a:gd name="connsiteX790" fmla="*/ 1126 w 10000"/>
                <a:gd name="connsiteY790" fmla="*/ 8240 h 10000"/>
                <a:gd name="connsiteX791" fmla="*/ 1114 w 10000"/>
                <a:gd name="connsiteY791" fmla="*/ 8240 h 10000"/>
                <a:gd name="connsiteX792" fmla="*/ 1091 w 10000"/>
                <a:gd name="connsiteY792" fmla="*/ 8242 h 10000"/>
                <a:gd name="connsiteX793" fmla="*/ 1071 w 10000"/>
                <a:gd name="connsiteY793" fmla="*/ 8252 h 10000"/>
                <a:gd name="connsiteX794" fmla="*/ 1048 w 10000"/>
                <a:gd name="connsiteY794" fmla="*/ 8261 h 10000"/>
                <a:gd name="connsiteX795" fmla="*/ 1030 w 10000"/>
                <a:gd name="connsiteY795" fmla="*/ 8273 h 10000"/>
                <a:gd name="connsiteX796" fmla="*/ 1010 w 10000"/>
                <a:gd name="connsiteY796" fmla="*/ 8287 h 10000"/>
                <a:gd name="connsiteX797" fmla="*/ 995 w 10000"/>
                <a:gd name="connsiteY797" fmla="*/ 8303 h 10000"/>
                <a:gd name="connsiteX798" fmla="*/ 975 w 10000"/>
                <a:gd name="connsiteY798" fmla="*/ 8322 h 10000"/>
                <a:gd name="connsiteX799" fmla="*/ 960 w 10000"/>
                <a:gd name="connsiteY799" fmla="*/ 8343 h 10000"/>
                <a:gd name="connsiteX800" fmla="*/ 927 w 10000"/>
                <a:gd name="connsiteY800" fmla="*/ 8380 h 10000"/>
                <a:gd name="connsiteX801" fmla="*/ 891 w 10000"/>
                <a:gd name="connsiteY801" fmla="*/ 8417 h 10000"/>
                <a:gd name="connsiteX802" fmla="*/ 874 w 10000"/>
                <a:gd name="connsiteY802" fmla="*/ 8436 h 10000"/>
                <a:gd name="connsiteX803" fmla="*/ 859 w 10000"/>
                <a:gd name="connsiteY803" fmla="*/ 8450 h 10000"/>
                <a:gd name="connsiteX804" fmla="*/ 838 w 10000"/>
                <a:gd name="connsiteY804" fmla="*/ 8462 h 10000"/>
                <a:gd name="connsiteX805" fmla="*/ 821 w 10000"/>
                <a:gd name="connsiteY805" fmla="*/ 8476 h 10000"/>
                <a:gd name="connsiteX806" fmla="*/ 742 w 10000"/>
                <a:gd name="connsiteY806" fmla="*/ 8562 h 10000"/>
                <a:gd name="connsiteX807" fmla="*/ 672 w 10000"/>
                <a:gd name="connsiteY807" fmla="*/ 8644 h 10000"/>
                <a:gd name="connsiteX808" fmla="*/ 639 w 10000"/>
                <a:gd name="connsiteY808" fmla="*/ 8684 h 10000"/>
                <a:gd name="connsiteX809" fmla="*/ 609 w 10000"/>
                <a:gd name="connsiteY809" fmla="*/ 8731 h 10000"/>
                <a:gd name="connsiteX810" fmla="*/ 583 w 10000"/>
                <a:gd name="connsiteY810" fmla="*/ 8777 h 10000"/>
                <a:gd name="connsiteX811" fmla="*/ 556 w 10000"/>
                <a:gd name="connsiteY811" fmla="*/ 8831 h 10000"/>
                <a:gd name="connsiteX812" fmla="*/ 545 w 10000"/>
                <a:gd name="connsiteY812" fmla="*/ 8852 h 10000"/>
                <a:gd name="connsiteX813" fmla="*/ 525 w 10000"/>
                <a:gd name="connsiteY813" fmla="*/ 8885 h 10000"/>
                <a:gd name="connsiteX814" fmla="*/ 503 w 10000"/>
                <a:gd name="connsiteY814" fmla="*/ 8925 h 10000"/>
                <a:gd name="connsiteX815" fmla="*/ 480 w 10000"/>
                <a:gd name="connsiteY815" fmla="*/ 8962 h 10000"/>
                <a:gd name="connsiteX816" fmla="*/ 465 w 10000"/>
                <a:gd name="connsiteY816" fmla="*/ 8981 h 10000"/>
                <a:gd name="connsiteX817" fmla="*/ 455 w 10000"/>
                <a:gd name="connsiteY817" fmla="*/ 8993 h 10000"/>
                <a:gd name="connsiteX818" fmla="*/ 444 w 10000"/>
                <a:gd name="connsiteY818" fmla="*/ 9000 h 10000"/>
                <a:gd name="connsiteX819" fmla="*/ 434 w 10000"/>
                <a:gd name="connsiteY819" fmla="*/ 9007 h 10000"/>
                <a:gd name="connsiteX820" fmla="*/ 432 w 10000"/>
                <a:gd name="connsiteY820" fmla="*/ 9007 h 10000"/>
                <a:gd name="connsiteX821" fmla="*/ 429 w 10000"/>
                <a:gd name="connsiteY821" fmla="*/ 9004 h 10000"/>
                <a:gd name="connsiteX822" fmla="*/ 427 w 10000"/>
                <a:gd name="connsiteY822" fmla="*/ 8997 h 10000"/>
                <a:gd name="connsiteX823" fmla="*/ 427 w 10000"/>
                <a:gd name="connsiteY823" fmla="*/ 8993 h 10000"/>
                <a:gd name="connsiteX824" fmla="*/ 424 w 10000"/>
                <a:gd name="connsiteY824" fmla="*/ 8976 h 10000"/>
                <a:gd name="connsiteX825" fmla="*/ 427 w 10000"/>
                <a:gd name="connsiteY825" fmla="*/ 8948 h 10000"/>
                <a:gd name="connsiteX826" fmla="*/ 437 w 10000"/>
                <a:gd name="connsiteY826" fmla="*/ 8913 h 10000"/>
                <a:gd name="connsiteX827" fmla="*/ 455 w 10000"/>
                <a:gd name="connsiteY827" fmla="*/ 8859 h 10000"/>
                <a:gd name="connsiteX828" fmla="*/ 462 w 10000"/>
                <a:gd name="connsiteY828" fmla="*/ 8834 h 10000"/>
                <a:gd name="connsiteX829" fmla="*/ 470 w 10000"/>
                <a:gd name="connsiteY829" fmla="*/ 8810 h 10000"/>
                <a:gd name="connsiteX830" fmla="*/ 472 w 10000"/>
                <a:gd name="connsiteY830" fmla="*/ 8794 h 10000"/>
                <a:gd name="connsiteX831" fmla="*/ 472 w 10000"/>
                <a:gd name="connsiteY831" fmla="*/ 8780 h 10000"/>
                <a:gd name="connsiteX832" fmla="*/ 462 w 10000"/>
                <a:gd name="connsiteY832" fmla="*/ 8784 h 10000"/>
                <a:gd name="connsiteX833" fmla="*/ 452 w 10000"/>
                <a:gd name="connsiteY833" fmla="*/ 8787 h 10000"/>
                <a:gd name="connsiteX834" fmla="*/ 437 w 10000"/>
                <a:gd name="connsiteY834" fmla="*/ 8794 h 10000"/>
                <a:gd name="connsiteX835" fmla="*/ 424 w 10000"/>
                <a:gd name="connsiteY835" fmla="*/ 8803 h 10000"/>
                <a:gd name="connsiteX836" fmla="*/ 394 w 10000"/>
                <a:gd name="connsiteY836" fmla="*/ 8829 h 10000"/>
                <a:gd name="connsiteX837" fmla="*/ 364 w 10000"/>
                <a:gd name="connsiteY837" fmla="*/ 8859 h 10000"/>
                <a:gd name="connsiteX838" fmla="*/ 311 w 10000"/>
                <a:gd name="connsiteY838" fmla="*/ 8922 h 10000"/>
                <a:gd name="connsiteX839" fmla="*/ 268 w 10000"/>
                <a:gd name="connsiteY839" fmla="*/ 8964 h 10000"/>
                <a:gd name="connsiteX840" fmla="*/ 205 w 10000"/>
                <a:gd name="connsiteY840" fmla="*/ 9016 h 10000"/>
                <a:gd name="connsiteX841" fmla="*/ 146 w 10000"/>
                <a:gd name="connsiteY841" fmla="*/ 9053 h 10000"/>
                <a:gd name="connsiteX842" fmla="*/ 139 w 10000"/>
                <a:gd name="connsiteY842" fmla="*/ 9063 h 10000"/>
                <a:gd name="connsiteX843" fmla="*/ 129 w 10000"/>
                <a:gd name="connsiteY843" fmla="*/ 9077 h 10000"/>
                <a:gd name="connsiteX844" fmla="*/ 126 w 10000"/>
                <a:gd name="connsiteY844" fmla="*/ 9086 h 10000"/>
                <a:gd name="connsiteX845" fmla="*/ 126 w 10000"/>
                <a:gd name="connsiteY845" fmla="*/ 9102 h 10000"/>
                <a:gd name="connsiteX846" fmla="*/ 129 w 10000"/>
                <a:gd name="connsiteY846" fmla="*/ 9116 h 10000"/>
                <a:gd name="connsiteX847" fmla="*/ 139 w 10000"/>
                <a:gd name="connsiteY847" fmla="*/ 9135 h 10000"/>
                <a:gd name="connsiteX848" fmla="*/ 149 w 10000"/>
                <a:gd name="connsiteY848" fmla="*/ 9151 h 10000"/>
                <a:gd name="connsiteX849" fmla="*/ 164 w 10000"/>
                <a:gd name="connsiteY849" fmla="*/ 9175 h 10000"/>
                <a:gd name="connsiteX850" fmla="*/ 184 w 10000"/>
                <a:gd name="connsiteY850" fmla="*/ 9196 h 10000"/>
                <a:gd name="connsiteX851" fmla="*/ 207 w 10000"/>
                <a:gd name="connsiteY851" fmla="*/ 9215 h 10000"/>
                <a:gd name="connsiteX852" fmla="*/ 227 w 10000"/>
                <a:gd name="connsiteY852" fmla="*/ 9233 h 10000"/>
                <a:gd name="connsiteX853" fmla="*/ 253 w 10000"/>
                <a:gd name="connsiteY853" fmla="*/ 9250 h 10000"/>
                <a:gd name="connsiteX854" fmla="*/ 303 w 10000"/>
                <a:gd name="connsiteY854" fmla="*/ 9282 h 10000"/>
                <a:gd name="connsiteX855" fmla="*/ 351 w 10000"/>
                <a:gd name="connsiteY855" fmla="*/ 9315 h 10000"/>
                <a:gd name="connsiteX856" fmla="*/ 414 w 10000"/>
                <a:gd name="connsiteY856" fmla="*/ 9364 h 10000"/>
                <a:gd name="connsiteX857" fmla="*/ 480 w 10000"/>
                <a:gd name="connsiteY857" fmla="*/ 9416 h 10000"/>
                <a:gd name="connsiteX858" fmla="*/ 513 w 10000"/>
                <a:gd name="connsiteY858" fmla="*/ 9437 h 10000"/>
                <a:gd name="connsiteX859" fmla="*/ 548 w 10000"/>
                <a:gd name="connsiteY859" fmla="*/ 9462 h 10000"/>
                <a:gd name="connsiteX860" fmla="*/ 581 w 10000"/>
                <a:gd name="connsiteY860" fmla="*/ 9483 h 10000"/>
                <a:gd name="connsiteX861" fmla="*/ 614 w 10000"/>
                <a:gd name="connsiteY861" fmla="*/ 9502 h 10000"/>
                <a:gd name="connsiteX862" fmla="*/ 641 w 10000"/>
                <a:gd name="connsiteY862" fmla="*/ 9525 h 10000"/>
                <a:gd name="connsiteX863" fmla="*/ 672 w 10000"/>
                <a:gd name="connsiteY863" fmla="*/ 9549 h 10000"/>
                <a:gd name="connsiteX864" fmla="*/ 702 w 10000"/>
                <a:gd name="connsiteY864" fmla="*/ 9568 h 10000"/>
                <a:gd name="connsiteX865" fmla="*/ 737 w 10000"/>
                <a:gd name="connsiteY865" fmla="*/ 9589 h 10000"/>
                <a:gd name="connsiteX866" fmla="*/ 770 w 10000"/>
                <a:gd name="connsiteY866" fmla="*/ 9605 h 10000"/>
                <a:gd name="connsiteX867" fmla="*/ 808 w 10000"/>
                <a:gd name="connsiteY867" fmla="*/ 9617 h 10000"/>
                <a:gd name="connsiteX868" fmla="*/ 843 w 10000"/>
                <a:gd name="connsiteY868" fmla="*/ 9624 h 10000"/>
                <a:gd name="connsiteX869" fmla="*/ 884 w 10000"/>
                <a:gd name="connsiteY869" fmla="*/ 9628 h 10000"/>
                <a:gd name="connsiteX870" fmla="*/ 902 w 10000"/>
                <a:gd name="connsiteY870" fmla="*/ 9628 h 10000"/>
                <a:gd name="connsiteX871" fmla="*/ 914 w 10000"/>
                <a:gd name="connsiteY871" fmla="*/ 9631 h 10000"/>
                <a:gd name="connsiteX872" fmla="*/ 932 w 10000"/>
                <a:gd name="connsiteY872" fmla="*/ 9638 h 10000"/>
                <a:gd name="connsiteX873" fmla="*/ 942 w 10000"/>
                <a:gd name="connsiteY873" fmla="*/ 9642 h 10000"/>
                <a:gd name="connsiteX874" fmla="*/ 967 w 10000"/>
                <a:gd name="connsiteY874" fmla="*/ 9652 h 10000"/>
                <a:gd name="connsiteX875" fmla="*/ 987 w 10000"/>
                <a:gd name="connsiteY875" fmla="*/ 9668 h 10000"/>
                <a:gd name="connsiteX876" fmla="*/ 1005 w 10000"/>
                <a:gd name="connsiteY876" fmla="*/ 9682 h 10000"/>
                <a:gd name="connsiteX877" fmla="*/ 1025 w 10000"/>
                <a:gd name="connsiteY877" fmla="*/ 9698 h 10000"/>
                <a:gd name="connsiteX878" fmla="*/ 1045 w 10000"/>
                <a:gd name="connsiteY878" fmla="*/ 9712 h 10000"/>
                <a:gd name="connsiteX879" fmla="*/ 1073 w 10000"/>
                <a:gd name="connsiteY879" fmla="*/ 9724 h 10000"/>
                <a:gd name="connsiteX880" fmla="*/ 1098 w 10000"/>
                <a:gd name="connsiteY880" fmla="*/ 9738 h 10000"/>
                <a:gd name="connsiteX881" fmla="*/ 1121 w 10000"/>
                <a:gd name="connsiteY881" fmla="*/ 9750 h 10000"/>
                <a:gd name="connsiteX882" fmla="*/ 1141 w 10000"/>
                <a:gd name="connsiteY882" fmla="*/ 9762 h 10000"/>
                <a:gd name="connsiteX883" fmla="*/ 1159 w 10000"/>
                <a:gd name="connsiteY883" fmla="*/ 9776 h 10000"/>
                <a:gd name="connsiteX884" fmla="*/ 1172 w 10000"/>
                <a:gd name="connsiteY884" fmla="*/ 9787 h 10000"/>
                <a:gd name="connsiteX885" fmla="*/ 1182 w 10000"/>
                <a:gd name="connsiteY885" fmla="*/ 9804 h 10000"/>
                <a:gd name="connsiteX886" fmla="*/ 1194 w 10000"/>
                <a:gd name="connsiteY886" fmla="*/ 9818 h 10000"/>
                <a:gd name="connsiteX887" fmla="*/ 1202 w 10000"/>
                <a:gd name="connsiteY887" fmla="*/ 9834 h 10000"/>
                <a:gd name="connsiteX888" fmla="*/ 1212 w 10000"/>
                <a:gd name="connsiteY888" fmla="*/ 9869 h 10000"/>
                <a:gd name="connsiteX889" fmla="*/ 1220 w 10000"/>
                <a:gd name="connsiteY889" fmla="*/ 9906 h 10000"/>
                <a:gd name="connsiteX890" fmla="*/ 1230 w 10000"/>
                <a:gd name="connsiteY890" fmla="*/ 9951 h 10000"/>
                <a:gd name="connsiteX891" fmla="*/ 1237 w 10000"/>
                <a:gd name="connsiteY891" fmla="*/ 10000 h 10000"/>
                <a:gd name="connsiteX892" fmla="*/ 1237 w 10000"/>
                <a:gd name="connsiteY89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38 w 10000"/>
                <a:gd name="connsiteY785" fmla="*/ 8420 h 10000"/>
                <a:gd name="connsiteX786" fmla="*/ 1306 w 10000"/>
                <a:gd name="connsiteY786" fmla="*/ 8453 h 10000"/>
                <a:gd name="connsiteX787" fmla="*/ 1149 w 10000"/>
                <a:gd name="connsiteY787" fmla="*/ 8256 h 10000"/>
                <a:gd name="connsiteX788" fmla="*/ 1139 w 10000"/>
                <a:gd name="connsiteY788" fmla="*/ 8249 h 10000"/>
                <a:gd name="connsiteX789" fmla="*/ 1126 w 10000"/>
                <a:gd name="connsiteY789" fmla="*/ 8240 h 10000"/>
                <a:gd name="connsiteX790" fmla="*/ 1114 w 10000"/>
                <a:gd name="connsiteY790" fmla="*/ 8240 h 10000"/>
                <a:gd name="connsiteX791" fmla="*/ 1091 w 10000"/>
                <a:gd name="connsiteY791" fmla="*/ 8242 h 10000"/>
                <a:gd name="connsiteX792" fmla="*/ 1071 w 10000"/>
                <a:gd name="connsiteY792" fmla="*/ 8252 h 10000"/>
                <a:gd name="connsiteX793" fmla="*/ 1048 w 10000"/>
                <a:gd name="connsiteY793" fmla="*/ 8261 h 10000"/>
                <a:gd name="connsiteX794" fmla="*/ 1030 w 10000"/>
                <a:gd name="connsiteY794" fmla="*/ 8273 h 10000"/>
                <a:gd name="connsiteX795" fmla="*/ 1010 w 10000"/>
                <a:gd name="connsiteY795" fmla="*/ 8287 h 10000"/>
                <a:gd name="connsiteX796" fmla="*/ 995 w 10000"/>
                <a:gd name="connsiteY796" fmla="*/ 8303 h 10000"/>
                <a:gd name="connsiteX797" fmla="*/ 975 w 10000"/>
                <a:gd name="connsiteY797" fmla="*/ 8322 h 10000"/>
                <a:gd name="connsiteX798" fmla="*/ 960 w 10000"/>
                <a:gd name="connsiteY798" fmla="*/ 8343 h 10000"/>
                <a:gd name="connsiteX799" fmla="*/ 927 w 10000"/>
                <a:gd name="connsiteY799" fmla="*/ 8380 h 10000"/>
                <a:gd name="connsiteX800" fmla="*/ 891 w 10000"/>
                <a:gd name="connsiteY800" fmla="*/ 8417 h 10000"/>
                <a:gd name="connsiteX801" fmla="*/ 874 w 10000"/>
                <a:gd name="connsiteY801" fmla="*/ 8436 h 10000"/>
                <a:gd name="connsiteX802" fmla="*/ 859 w 10000"/>
                <a:gd name="connsiteY802" fmla="*/ 8450 h 10000"/>
                <a:gd name="connsiteX803" fmla="*/ 838 w 10000"/>
                <a:gd name="connsiteY803" fmla="*/ 8462 h 10000"/>
                <a:gd name="connsiteX804" fmla="*/ 821 w 10000"/>
                <a:gd name="connsiteY804" fmla="*/ 8476 h 10000"/>
                <a:gd name="connsiteX805" fmla="*/ 742 w 10000"/>
                <a:gd name="connsiteY805" fmla="*/ 8562 h 10000"/>
                <a:gd name="connsiteX806" fmla="*/ 672 w 10000"/>
                <a:gd name="connsiteY806" fmla="*/ 8644 h 10000"/>
                <a:gd name="connsiteX807" fmla="*/ 639 w 10000"/>
                <a:gd name="connsiteY807" fmla="*/ 8684 h 10000"/>
                <a:gd name="connsiteX808" fmla="*/ 609 w 10000"/>
                <a:gd name="connsiteY808" fmla="*/ 8731 h 10000"/>
                <a:gd name="connsiteX809" fmla="*/ 583 w 10000"/>
                <a:gd name="connsiteY809" fmla="*/ 8777 h 10000"/>
                <a:gd name="connsiteX810" fmla="*/ 556 w 10000"/>
                <a:gd name="connsiteY810" fmla="*/ 8831 h 10000"/>
                <a:gd name="connsiteX811" fmla="*/ 545 w 10000"/>
                <a:gd name="connsiteY811" fmla="*/ 8852 h 10000"/>
                <a:gd name="connsiteX812" fmla="*/ 525 w 10000"/>
                <a:gd name="connsiteY812" fmla="*/ 8885 h 10000"/>
                <a:gd name="connsiteX813" fmla="*/ 503 w 10000"/>
                <a:gd name="connsiteY813" fmla="*/ 8925 h 10000"/>
                <a:gd name="connsiteX814" fmla="*/ 480 w 10000"/>
                <a:gd name="connsiteY814" fmla="*/ 8962 h 10000"/>
                <a:gd name="connsiteX815" fmla="*/ 465 w 10000"/>
                <a:gd name="connsiteY815" fmla="*/ 8981 h 10000"/>
                <a:gd name="connsiteX816" fmla="*/ 455 w 10000"/>
                <a:gd name="connsiteY816" fmla="*/ 8993 h 10000"/>
                <a:gd name="connsiteX817" fmla="*/ 444 w 10000"/>
                <a:gd name="connsiteY817" fmla="*/ 9000 h 10000"/>
                <a:gd name="connsiteX818" fmla="*/ 434 w 10000"/>
                <a:gd name="connsiteY818" fmla="*/ 9007 h 10000"/>
                <a:gd name="connsiteX819" fmla="*/ 432 w 10000"/>
                <a:gd name="connsiteY819" fmla="*/ 9007 h 10000"/>
                <a:gd name="connsiteX820" fmla="*/ 429 w 10000"/>
                <a:gd name="connsiteY820" fmla="*/ 9004 h 10000"/>
                <a:gd name="connsiteX821" fmla="*/ 427 w 10000"/>
                <a:gd name="connsiteY821" fmla="*/ 8997 h 10000"/>
                <a:gd name="connsiteX822" fmla="*/ 427 w 10000"/>
                <a:gd name="connsiteY822" fmla="*/ 8993 h 10000"/>
                <a:gd name="connsiteX823" fmla="*/ 424 w 10000"/>
                <a:gd name="connsiteY823" fmla="*/ 8976 h 10000"/>
                <a:gd name="connsiteX824" fmla="*/ 427 w 10000"/>
                <a:gd name="connsiteY824" fmla="*/ 8948 h 10000"/>
                <a:gd name="connsiteX825" fmla="*/ 437 w 10000"/>
                <a:gd name="connsiteY825" fmla="*/ 8913 h 10000"/>
                <a:gd name="connsiteX826" fmla="*/ 455 w 10000"/>
                <a:gd name="connsiteY826" fmla="*/ 8859 h 10000"/>
                <a:gd name="connsiteX827" fmla="*/ 462 w 10000"/>
                <a:gd name="connsiteY827" fmla="*/ 8834 h 10000"/>
                <a:gd name="connsiteX828" fmla="*/ 470 w 10000"/>
                <a:gd name="connsiteY828" fmla="*/ 8810 h 10000"/>
                <a:gd name="connsiteX829" fmla="*/ 472 w 10000"/>
                <a:gd name="connsiteY829" fmla="*/ 8794 h 10000"/>
                <a:gd name="connsiteX830" fmla="*/ 472 w 10000"/>
                <a:gd name="connsiteY830" fmla="*/ 8780 h 10000"/>
                <a:gd name="connsiteX831" fmla="*/ 462 w 10000"/>
                <a:gd name="connsiteY831" fmla="*/ 8784 h 10000"/>
                <a:gd name="connsiteX832" fmla="*/ 452 w 10000"/>
                <a:gd name="connsiteY832" fmla="*/ 8787 h 10000"/>
                <a:gd name="connsiteX833" fmla="*/ 437 w 10000"/>
                <a:gd name="connsiteY833" fmla="*/ 8794 h 10000"/>
                <a:gd name="connsiteX834" fmla="*/ 424 w 10000"/>
                <a:gd name="connsiteY834" fmla="*/ 8803 h 10000"/>
                <a:gd name="connsiteX835" fmla="*/ 394 w 10000"/>
                <a:gd name="connsiteY835" fmla="*/ 8829 h 10000"/>
                <a:gd name="connsiteX836" fmla="*/ 364 w 10000"/>
                <a:gd name="connsiteY836" fmla="*/ 8859 h 10000"/>
                <a:gd name="connsiteX837" fmla="*/ 311 w 10000"/>
                <a:gd name="connsiteY837" fmla="*/ 8922 h 10000"/>
                <a:gd name="connsiteX838" fmla="*/ 268 w 10000"/>
                <a:gd name="connsiteY838" fmla="*/ 8964 h 10000"/>
                <a:gd name="connsiteX839" fmla="*/ 205 w 10000"/>
                <a:gd name="connsiteY839" fmla="*/ 9016 h 10000"/>
                <a:gd name="connsiteX840" fmla="*/ 146 w 10000"/>
                <a:gd name="connsiteY840" fmla="*/ 9053 h 10000"/>
                <a:gd name="connsiteX841" fmla="*/ 139 w 10000"/>
                <a:gd name="connsiteY841" fmla="*/ 9063 h 10000"/>
                <a:gd name="connsiteX842" fmla="*/ 129 w 10000"/>
                <a:gd name="connsiteY842" fmla="*/ 9077 h 10000"/>
                <a:gd name="connsiteX843" fmla="*/ 126 w 10000"/>
                <a:gd name="connsiteY843" fmla="*/ 9086 h 10000"/>
                <a:gd name="connsiteX844" fmla="*/ 126 w 10000"/>
                <a:gd name="connsiteY844" fmla="*/ 9102 h 10000"/>
                <a:gd name="connsiteX845" fmla="*/ 129 w 10000"/>
                <a:gd name="connsiteY845" fmla="*/ 9116 h 10000"/>
                <a:gd name="connsiteX846" fmla="*/ 139 w 10000"/>
                <a:gd name="connsiteY846" fmla="*/ 9135 h 10000"/>
                <a:gd name="connsiteX847" fmla="*/ 149 w 10000"/>
                <a:gd name="connsiteY847" fmla="*/ 9151 h 10000"/>
                <a:gd name="connsiteX848" fmla="*/ 164 w 10000"/>
                <a:gd name="connsiteY848" fmla="*/ 9175 h 10000"/>
                <a:gd name="connsiteX849" fmla="*/ 184 w 10000"/>
                <a:gd name="connsiteY849" fmla="*/ 9196 h 10000"/>
                <a:gd name="connsiteX850" fmla="*/ 207 w 10000"/>
                <a:gd name="connsiteY850" fmla="*/ 9215 h 10000"/>
                <a:gd name="connsiteX851" fmla="*/ 227 w 10000"/>
                <a:gd name="connsiteY851" fmla="*/ 9233 h 10000"/>
                <a:gd name="connsiteX852" fmla="*/ 253 w 10000"/>
                <a:gd name="connsiteY852" fmla="*/ 9250 h 10000"/>
                <a:gd name="connsiteX853" fmla="*/ 303 w 10000"/>
                <a:gd name="connsiteY853" fmla="*/ 9282 h 10000"/>
                <a:gd name="connsiteX854" fmla="*/ 351 w 10000"/>
                <a:gd name="connsiteY854" fmla="*/ 9315 h 10000"/>
                <a:gd name="connsiteX855" fmla="*/ 414 w 10000"/>
                <a:gd name="connsiteY855" fmla="*/ 9364 h 10000"/>
                <a:gd name="connsiteX856" fmla="*/ 480 w 10000"/>
                <a:gd name="connsiteY856" fmla="*/ 9416 h 10000"/>
                <a:gd name="connsiteX857" fmla="*/ 513 w 10000"/>
                <a:gd name="connsiteY857" fmla="*/ 9437 h 10000"/>
                <a:gd name="connsiteX858" fmla="*/ 548 w 10000"/>
                <a:gd name="connsiteY858" fmla="*/ 9462 h 10000"/>
                <a:gd name="connsiteX859" fmla="*/ 581 w 10000"/>
                <a:gd name="connsiteY859" fmla="*/ 9483 h 10000"/>
                <a:gd name="connsiteX860" fmla="*/ 614 w 10000"/>
                <a:gd name="connsiteY860" fmla="*/ 9502 h 10000"/>
                <a:gd name="connsiteX861" fmla="*/ 641 w 10000"/>
                <a:gd name="connsiteY861" fmla="*/ 9525 h 10000"/>
                <a:gd name="connsiteX862" fmla="*/ 672 w 10000"/>
                <a:gd name="connsiteY862" fmla="*/ 9549 h 10000"/>
                <a:gd name="connsiteX863" fmla="*/ 702 w 10000"/>
                <a:gd name="connsiteY863" fmla="*/ 9568 h 10000"/>
                <a:gd name="connsiteX864" fmla="*/ 737 w 10000"/>
                <a:gd name="connsiteY864" fmla="*/ 9589 h 10000"/>
                <a:gd name="connsiteX865" fmla="*/ 770 w 10000"/>
                <a:gd name="connsiteY865" fmla="*/ 9605 h 10000"/>
                <a:gd name="connsiteX866" fmla="*/ 808 w 10000"/>
                <a:gd name="connsiteY866" fmla="*/ 9617 h 10000"/>
                <a:gd name="connsiteX867" fmla="*/ 843 w 10000"/>
                <a:gd name="connsiteY867" fmla="*/ 9624 h 10000"/>
                <a:gd name="connsiteX868" fmla="*/ 884 w 10000"/>
                <a:gd name="connsiteY868" fmla="*/ 9628 h 10000"/>
                <a:gd name="connsiteX869" fmla="*/ 902 w 10000"/>
                <a:gd name="connsiteY869" fmla="*/ 9628 h 10000"/>
                <a:gd name="connsiteX870" fmla="*/ 914 w 10000"/>
                <a:gd name="connsiteY870" fmla="*/ 9631 h 10000"/>
                <a:gd name="connsiteX871" fmla="*/ 932 w 10000"/>
                <a:gd name="connsiteY871" fmla="*/ 9638 h 10000"/>
                <a:gd name="connsiteX872" fmla="*/ 942 w 10000"/>
                <a:gd name="connsiteY872" fmla="*/ 9642 h 10000"/>
                <a:gd name="connsiteX873" fmla="*/ 967 w 10000"/>
                <a:gd name="connsiteY873" fmla="*/ 9652 h 10000"/>
                <a:gd name="connsiteX874" fmla="*/ 987 w 10000"/>
                <a:gd name="connsiteY874" fmla="*/ 9668 h 10000"/>
                <a:gd name="connsiteX875" fmla="*/ 1005 w 10000"/>
                <a:gd name="connsiteY875" fmla="*/ 9682 h 10000"/>
                <a:gd name="connsiteX876" fmla="*/ 1025 w 10000"/>
                <a:gd name="connsiteY876" fmla="*/ 9698 h 10000"/>
                <a:gd name="connsiteX877" fmla="*/ 1045 w 10000"/>
                <a:gd name="connsiteY877" fmla="*/ 9712 h 10000"/>
                <a:gd name="connsiteX878" fmla="*/ 1073 w 10000"/>
                <a:gd name="connsiteY878" fmla="*/ 9724 h 10000"/>
                <a:gd name="connsiteX879" fmla="*/ 1098 w 10000"/>
                <a:gd name="connsiteY879" fmla="*/ 9738 h 10000"/>
                <a:gd name="connsiteX880" fmla="*/ 1121 w 10000"/>
                <a:gd name="connsiteY880" fmla="*/ 9750 h 10000"/>
                <a:gd name="connsiteX881" fmla="*/ 1141 w 10000"/>
                <a:gd name="connsiteY881" fmla="*/ 9762 h 10000"/>
                <a:gd name="connsiteX882" fmla="*/ 1159 w 10000"/>
                <a:gd name="connsiteY882" fmla="*/ 9776 h 10000"/>
                <a:gd name="connsiteX883" fmla="*/ 1172 w 10000"/>
                <a:gd name="connsiteY883" fmla="*/ 9787 h 10000"/>
                <a:gd name="connsiteX884" fmla="*/ 1182 w 10000"/>
                <a:gd name="connsiteY884" fmla="*/ 9804 h 10000"/>
                <a:gd name="connsiteX885" fmla="*/ 1194 w 10000"/>
                <a:gd name="connsiteY885" fmla="*/ 9818 h 10000"/>
                <a:gd name="connsiteX886" fmla="*/ 1202 w 10000"/>
                <a:gd name="connsiteY886" fmla="*/ 9834 h 10000"/>
                <a:gd name="connsiteX887" fmla="*/ 1212 w 10000"/>
                <a:gd name="connsiteY887" fmla="*/ 9869 h 10000"/>
                <a:gd name="connsiteX888" fmla="*/ 1220 w 10000"/>
                <a:gd name="connsiteY888" fmla="*/ 9906 h 10000"/>
                <a:gd name="connsiteX889" fmla="*/ 1230 w 10000"/>
                <a:gd name="connsiteY889" fmla="*/ 9951 h 10000"/>
                <a:gd name="connsiteX890" fmla="*/ 1237 w 10000"/>
                <a:gd name="connsiteY890" fmla="*/ 10000 h 10000"/>
                <a:gd name="connsiteX891" fmla="*/ 1237 w 10000"/>
                <a:gd name="connsiteY89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46 w 10000"/>
                <a:gd name="connsiteY784" fmla="*/ 8406 h 10000"/>
                <a:gd name="connsiteX785" fmla="*/ 1306 w 10000"/>
                <a:gd name="connsiteY785" fmla="*/ 8453 h 10000"/>
                <a:gd name="connsiteX786" fmla="*/ 1149 w 10000"/>
                <a:gd name="connsiteY786" fmla="*/ 8256 h 10000"/>
                <a:gd name="connsiteX787" fmla="*/ 1139 w 10000"/>
                <a:gd name="connsiteY787" fmla="*/ 8249 h 10000"/>
                <a:gd name="connsiteX788" fmla="*/ 1126 w 10000"/>
                <a:gd name="connsiteY788" fmla="*/ 8240 h 10000"/>
                <a:gd name="connsiteX789" fmla="*/ 1114 w 10000"/>
                <a:gd name="connsiteY789" fmla="*/ 8240 h 10000"/>
                <a:gd name="connsiteX790" fmla="*/ 1091 w 10000"/>
                <a:gd name="connsiteY790" fmla="*/ 8242 h 10000"/>
                <a:gd name="connsiteX791" fmla="*/ 1071 w 10000"/>
                <a:gd name="connsiteY791" fmla="*/ 8252 h 10000"/>
                <a:gd name="connsiteX792" fmla="*/ 1048 w 10000"/>
                <a:gd name="connsiteY792" fmla="*/ 8261 h 10000"/>
                <a:gd name="connsiteX793" fmla="*/ 1030 w 10000"/>
                <a:gd name="connsiteY793" fmla="*/ 8273 h 10000"/>
                <a:gd name="connsiteX794" fmla="*/ 1010 w 10000"/>
                <a:gd name="connsiteY794" fmla="*/ 8287 h 10000"/>
                <a:gd name="connsiteX795" fmla="*/ 995 w 10000"/>
                <a:gd name="connsiteY795" fmla="*/ 8303 h 10000"/>
                <a:gd name="connsiteX796" fmla="*/ 975 w 10000"/>
                <a:gd name="connsiteY796" fmla="*/ 8322 h 10000"/>
                <a:gd name="connsiteX797" fmla="*/ 960 w 10000"/>
                <a:gd name="connsiteY797" fmla="*/ 8343 h 10000"/>
                <a:gd name="connsiteX798" fmla="*/ 927 w 10000"/>
                <a:gd name="connsiteY798" fmla="*/ 8380 h 10000"/>
                <a:gd name="connsiteX799" fmla="*/ 891 w 10000"/>
                <a:gd name="connsiteY799" fmla="*/ 8417 h 10000"/>
                <a:gd name="connsiteX800" fmla="*/ 874 w 10000"/>
                <a:gd name="connsiteY800" fmla="*/ 8436 h 10000"/>
                <a:gd name="connsiteX801" fmla="*/ 859 w 10000"/>
                <a:gd name="connsiteY801" fmla="*/ 8450 h 10000"/>
                <a:gd name="connsiteX802" fmla="*/ 838 w 10000"/>
                <a:gd name="connsiteY802" fmla="*/ 8462 h 10000"/>
                <a:gd name="connsiteX803" fmla="*/ 821 w 10000"/>
                <a:gd name="connsiteY803" fmla="*/ 8476 h 10000"/>
                <a:gd name="connsiteX804" fmla="*/ 742 w 10000"/>
                <a:gd name="connsiteY804" fmla="*/ 8562 h 10000"/>
                <a:gd name="connsiteX805" fmla="*/ 672 w 10000"/>
                <a:gd name="connsiteY805" fmla="*/ 8644 h 10000"/>
                <a:gd name="connsiteX806" fmla="*/ 639 w 10000"/>
                <a:gd name="connsiteY806" fmla="*/ 8684 h 10000"/>
                <a:gd name="connsiteX807" fmla="*/ 609 w 10000"/>
                <a:gd name="connsiteY807" fmla="*/ 8731 h 10000"/>
                <a:gd name="connsiteX808" fmla="*/ 583 w 10000"/>
                <a:gd name="connsiteY808" fmla="*/ 8777 h 10000"/>
                <a:gd name="connsiteX809" fmla="*/ 556 w 10000"/>
                <a:gd name="connsiteY809" fmla="*/ 8831 h 10000"/>
                <a:gd name="connsiteX810" fmla="*/ 545 w 10000"/>
                <a:gd name="connsiteY810" fmla="*/ 8852 h 10000"/>
                <a:gd name="connsiteX811" fmla="*/ 525 w 10000"/>
                <a:gd name="connsiteY811" fmla="*/ 8885 h 10000"/>
                <a:gd name="connsiteX812" fmla="*/ 503 w 10000"/>
                <a:gd name="connsiteY812" fmla="*/ 8925 h 10000"/>
                <a:gd name="connsiteX813" fmla="*/ 480 w 10000"/>
                <a:gd name="connsiteY813" fmla="*/ 8962 h 10000"/>
                <a:gd name="connsiteX814" fmla="*/ 465 w 10000"/>
                <a:gd name="connsiteY814" fmla="*/ 8981 h 10000"/>
                <a:gd name="connsiteX815" fmla="*/ 455 w 10000"/>
                <a:gd name="connsiteY815" fmla="*/ 8993 h 10000"/>
                <a:gd name="connsiteX816" fmla="*/ 444 w 10000"/>
                <a:gd name="connsiteY816" fmla="*/ 9000 h 10000"/>
                <a:gd name="connsiteX817" fmla="*/ 434 w 10000"/>
                <a:gd name="connsiteY817" fmla="*/ 9007 h 10000"/>
                <a:gd name="connsiteX818" fmla="*/ 432 w 10000"/>
                <a:gd name="connsiteY818" fmla="*/ 9007 h 10000"/>
                <a:gd name="connsiteX819" fmla="*/ 429 w 10000"/>
                <a:gd name="connsiteY819" fmla="*/ 9004 h 10000"/>
                <a:gd name="connsiteX820" fmla="*/ 427 w 10000"/>
                <a:gd name="connsiteY820" fmla="*/ 8997 h 10000"/>
                <a:gd name="connsiteX821" fmla="*/ 427 w 10000"/>
                <a:gd name="connsiteY821" fmla="*/ 8993 h 10000"/>
                <a:gd name="connsiteX822" fmla="*/ 424 w 10000"/>
                <a:gd name="connsiteY822" fmla="*/ 8976 h 10000"/>
                <a:gd name="connsiteX823" fmla="*/ 427 w 10000"/>
                <a:gd name="connsiteY823" fmla="*/ 8948 h 10000"/>
                <a:gd name="connsiteX824" fmla="*/ 437 w 10000"/>
                <a:gd name="connsiteY824" fmla="*/ 8913 h 10000"/>
                <a:gd name="connsiteX825" fmla="*/ 455 w 10000"/>
                <a:gd name="connsiteY825" fmla="*/ 8859 h 10000"/>
                <a:gd name="connsiteX826" fmla="*/ 462 w 10000"/>
                <a:gd name="connsiteY826" fmla="*/ 8834 h 10000"/>
                <a:gd name="connsiteX827" fmla="*/ 470 w 10000"/>
                <a:gd name="connsiteY827" fmla="*/ 8810 h 10000"/>
                <a:gd name="connsiteX828" fmla="*/ 472 w 10000"/>
                <a:gd name="connsiteY828" fmla="*/ 8794 h 10000"/>
                <a:gd name="connsiteX829" fmla="*/ 472 w 10000"/>
                <a:gd name="connsiteY829" fmla="*/ 8780 h 10000"/>
                <a:gd name="connsiteX830" fmla="*/ 462 w 10000"/>
                <a:gd name="connsiteY830" fmla="*/ 8784 h 10000"/>
                <a:gd name="connsiteX831" fmla="*/ 452 w 10000"/>
                <a:gd name="connsiteY831" fmla="*/ 8787 h 10000"/>
                <a:gd name="connsiteX832" fmla="*/ 437 w 10000"/>
                <a:gd name="connsiteY832" fmla="*/ 8794 h 10000"/>
                <a:gd name="connsiteX833" fmla="*/ 424 w 10000"/>
                <a:gd name="connsiteY833" fmla="*/ 8803 h 10000"/>
                <a:gd name="connsiteX834" fmla="*/ 394 w 10000"/>
                <a:gd name="connsiteY834" fmla="*/ 8829 h 10000"/>
                <a:gd name="connsiteX835" fmla="*/ 364 w 10000"/>
                <a:gd name="connsiteY835" fmla="*/ 8859 h 10000"/>
                <a:gd name="connsiteX836" fmla="*/ 311 w 10000"/>
                <a:gd name="connsiteY836" fmla="*/ 8922 h 10000"/>
                <a:gd name="connsiteX837" fmla="*/ 268 w 10000"/>
                <a:gd name="connsiteY837" fmla="*/ 8964 h 10000"/>
                <a:gd name="connsiteX838" fmla="*/ 205 w 10000"/>
                <a:gd name="connsiteY838" fmla="*/ 9016 h 10000"/>
                <a:gd name="connsiteX839" fmla="*/ 146 w 10000"/>
                <a:gd name="connsiteY839" fmla="*/ 9053 h 10000"/>
                <a:gd name="connsiteX840" fmla="*/ 139 w 10000"/>
                <a:gd name="connsiteY840" fmla="*/ 9063 h 10000"/>
                <a:gd name="connsiteX841" fmla="*/ 129 w 10000"/>
                <a:gd name="connsiteY841" fmla="*/ 9077 h 10000"/>
                <a:gd name="connsiteX842" fmla="*/ 126 w 10000"/>
                <a:gd name="connsiteY842" fmla="*/ 9086 h 10000"/>
                <a:gd name="connsiteX843" fmla="*/ 126 w 10000"/>
                <a:gd name="connsiteY843" fmla="*/ 9102 h 10000"/>
                <a:gd name="connsiteX844" fmla="*/ 129 w 10000"/>
                <a:gd name="connsiteY844" fmla="*/ 9116 h 10000"/>
                <a:gd name="connsiteX845" fmla="*/ 139 w 10000"/>
                <a:gd name="connsiteY845" fmla="*/ 9135 h 10000"/>
                <a:gd name="connsiteX846" fmla="*/ 149 w 10000"/>
                <a:gd name="connsiteY846" fmla="*/ 9151 h 10000"/>
                <a:gd name="connsiteX847" fmla="*/ 164 w 10000"/>
                <a:gd name="connsiteY847" fmla="*/ 9175 h 10000"/>
                <a:gd name="connsiteX848" fmla="*/ 184 w 10000"/>
                <a:gd name="connsiteY848" fmla="*/ 9196 h 10000"/>
                <a:gd name="connsiteX849" fmla="*/ 207 w 10000"/>
                <a:gd name="connsiteY849" fmla="*/ 9215 h 10000"/>
                <a:gd name="connsiteX850" fmla="*/ 227 w 10000"/>
                <a:gd name="connsiteY850" fmla="*/ 9233 h 10000"/>
                <a:gd name="connsiteX851" fmla="*/ 253 w 10000"/>
                <a:gd name="connsiteY851" fmla="*/ 9250 h 10000"/>
                <a:gd name="connsiteX852" fmla="*/ 303 w 10000"/>
                <a:gd name="connsiteY852" fmla="*/ 9282 h 10000"/>
                <a:gd name="connsiteX853" fmla="*/ 351 w 10000"/>
                <a:gd name="connsiteY853" fmla="*/ 9315 h 10000"/>
                <a:gd name="connsiteX854" fmla="*/ 414 w 10000"/>
                <a:gd name="connsiteY854" fmla="*/ 9364 h 10000"/>
                <a:gd name="connsiteX855" fmla="*/ 480 w 10000"/>
                <a:gd name="connsiteY855" fmla="*/ 9416 h 10000"/>
                <a:gd name="connsiteX856" fmla="*/ 513 w 10000"/>
                <a:gd name="connsiteY856" fmla="*/ 9437 h 10000"/>
                <a:gd name="connsiteX857" fmla="*/ 548 w 10000"/>
                <a:gd name="connsiteY857" fmla="*/ 9462 h 10000"/>
                <a:gd name="connsiteX858" fmla="*/ 581 w 10000"/>
                <a:gd name="connsiteY858" fmla="*/ 9483 h 10000"/>
                <a:gd name="connsiteX859" fmla="*/ 614 w 10000"/>
                <a:gd name="connsiteY859" fmla="*/ 9502 h 10000"/>
                <a:gd name="connsiteX860" fmla="*/ 641 w 10000"/>
                <a:gd name="connsiteY860" fmla="*/ 9525 h 10000"/>
                <a:gd name="connsiteX861" fmla="*/ 672 w 10000"/>
                <a:gd name="connsiteY861" fmla="*/ 9549 h 10000"/>
                <a:gd name="connsiteX862" fmla="*/ 702 w 10000"/>
                <a:gd name="connsiteY862" fmla="*/ 9568 h 10000"/>
                <a:gd name="connsiteX863" fmla="*/ 737 w 10000"/>
                <a:gd name="connsiteY863" fmla="*/ 9589 h 10000"/>
                <a:gd name="connsiteX864" fmla="*/ 770 w 10000"/>
                <a:gd name="connsiteY864" fmla="*/ 9605 h 10000"/>
                <a:gd name="connsiteX865" fmla="*/ 808 w 10000"/>
                <a:gd name="connsiteY865" fmla="*/ 9617 h 10000"/>
                <a:gd name="connsiteX866" fmla="*/ 843 w 10000"/>
                <a:gd name="connsiteY866" fmla="*/ 9624 h 10000"/>
                <a:gd name="connsiteX867" fmla="*/ 884 w 10000"/>
                <a:gd name="connsiteY867" fmla="*/ 9628 h 10000"/>
                <a:gd name="connsiteX868" fmla="*/ 902 w 10000"/>
                <a:gd name="connsiteY868" fmla="*/ 9628 h 10000"/>
                <a:gd name="connsiteX869" fmla="*/ 914 w 10000"/>
                <a:gd name="connsiteY869" fmla="*/ 9631 h 10000"/>
                <a:gd name="connsiteX870" fmla="*/ 932 w 10000"/>
                <a:gd name="connsiteY870" fmla="*/ 9638 h 10000"/>
                <a:gd name="connsiteX871" fmla="*/ 942 w 10000"/>
                <a:gd name="connsiteY871" fmla="*/ 9642 h 10000"/>
                <a:gd name="connsiteX872" fmla="*/ 967 w 10000"/>
                <a:gd name="connsiteY872" fmla="*/ 9652 h 10000"/>
                <a:gd name="connsiteX873" fmla="*/ 987 w 10000"/>
                <a:gd name="connsiteY873" fmla="*/ 9668 h 10000"/>
                <a:gd name="connsiteX874" fmla="*/ 1005 w 10000"/>
                <a:gd name="connsiteY874" fmla="*/ 9682 h 10000"/>
                <a:gd name="connsiteX875" fmla="*/ 1025 w 10000"/>
                <a:gd name="connsiteY875" fmla="*/ 9698 h 10000"/>
                <a:gd name="connsiteX876" fmla="*/ 1045 w 10000"/>
                <a:gd name="connsiteY876" fmla="*/ 9712 h 10000"/>
                <a:gd name="connsiteX877" fmla="*/ 1073 w 10000"/>
                <a:gd name="connsiteY877" fmla="*/ 9724 h 10000"/>
                <a:gd name="connsiteX878" fmla="*/ 1098 w 10000"/>
                <a:gd name="connsiteY878" fmla="*/ 9738 h 10000"/>
                <a:gd name="connsiteX879" fmla="*/ 1121 w 10000"/>
                <a:gd name="connsiteY879" fmla="*/ 9750 h 10000"/>
                <a:gd name="connsiteX880" fmla="*/ 1141 w 10000"/>
                <a:gd name="connsiteY880" fmla="*/ 9762 h 10000"/>
                <a:gd name="connsiteX881" fmla="*/ 1159 w 10000"/>
                <a:gd name="connsiteY881" fmla="*/ 9776 h 10000"/>
                <a:gd name="connsiteX882" fmla="*/ 1172 w 10000"/>
                <a:gd name="connsiteY882" fmla="*/ 9787 h 10000"/>
                <a:gd name="connsiteX883" fmla="*/ 1182 w 10000"/>
                <a:gd name="connsiteY883" fmla="*/ 9804 h 10000"/>
                <a:gd name="connsiteX884" fmla="*/ 1194 w 10000"/>
                <a:gd name="connsiteY884" fmla="*/ 9818 h 10000"/>
                <a:gd name="connsiteX885" fmla="*/ 1202 w 10000"/>
                <a:gd name="connsiteY885" fmla="*/ 9834 h 10000"/>
                <a:gd name="connsiteX886" fmla="*/ 1212 w 10000"/>
                <a:gd name="connsiteY886" fmla="*/ 9869 h 10000"/>
                <a:gd name="connsiteX887" fmla="*/ 1220 w 10000"/>
                <a:gd name="connsiteY887" fmla="*/ 9906 h 10000"/>
                <a:gd name="connsiteX888" fmla="*/ 1230 w 10000"/>
                <a:gd name="connsiteY888" fmla="*/ 9951 h 10000"/>
                <a:gd name="connsiteX889" fmla="*/ 1237 w 10000"/>
                <a:gd name="connsiteY889" fmla="*/ 10000 h 10000"/>
                <a:gd name="connsiteX890" fmla="*/ 1237 w 10000"/>
                <a:gd name="connsiteY89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54 w 10000"/>
                <a:gd name="connsiteY783" fmla="*/ 8387 h 10000"/>
                <a:gd name="connsiteX784" fmla="*/ 1306 w 10000"/>
                <a:gd name="connsiteY784" fmla="*/ 8453 h 10000"/>
                <a:gd name="connsiteX785" fmla="*/ 1149 w 10000"/>
                <a:gd name="connsiteY785" fmla="*/ 8256 h 10000"/>
                <a:gd name="connsiteX786" fmla="*/ 1139 w 10000"/>
                <a:gd name="connsiteY786" fmla="*/ 8249 h 10000"/>
                <a:gd name="connsiteX787" fmla="*/ 1126 w 10000"/>
                <a:gd name="connsiteY787" fmla="*/ 8240 h 10000"/>
                <a:gd name="connsiteX788" fmla="*/ 1114 w 10000"/>
                <a:gd name="connsiteY788" fmla="*/ 8240 h 10000"/>
                <a:gd name="connsiteX789" fmla="*/ 1091 w 10000"/>
                <a:gd name="connsiteY789" fmla="*/ 8242 h 10000"/>
                <a:gd name="connsiteX790" fmla="*/ 1071 w 10000"/>
                <a:gd name="connsiteY790" fmla="*/ 8252 h 10000"/>
                <a:gd name="connsiteX791" fmla="*/ 1048 w 10000"/>
                <a:gd name="connsiteY791" fmla="*/ 8261 h 10000"/>
                <a:gd name="connsiteX792" fmla="*/ 1030 w 10000"/>
                <a:gd name="connsiteY792" fmla="*/ 8273 h 10000"/>
                <a:gd name="connsiteX793" fmla="*/ 1010 w 10000"/>
                <a:gd name="connsiteY793" fmla="*/ 8287 h 10000"/>
                <a:gd name="connsiteX794" fmla="*/ 995 w 10000"/>
                <a:gd name="connsiteY794" fmla="*/ 8303 h 10000"/>
                <a:gd name="connsiteX795" fmla="*/ 975 w 10000"/>
                <a:gd name="connsiteY795" fmla="*/ 8322 h 10000"/>
                <a:gd name="connsiteX796" fmla="*/ 960 w 10000"/>
                <a:gd name="connsiteY796" fmla="*/ 8343 h 10000"/>
                <a:gd name="connsiteX797" fmla="*/ 927 w 10000"/>
                <a:gd name="connsiteY797" fmla="*/ 8380 h 10000"/>
                <a:gd name="connsiteX798" fmla="*/ 891 w 10000"/>
                <a:gd name="connsiteY798" fmla="*/ 8417 h 10000"/>
                <a:gd name="connsiteX799" fmla="*/ 874 w 10000"/>
                <a:gd name="connsiteY799" fmla="*/ 8436 h 10000"/>
                <a:gd name="connsiteX800" fmla="*/ 859 w 10000"/>
                <a:gd name="connsiteY800" fmla="*/ 8450 h 10000"/>
                <a:gd name="connsiteX801" fmla="*/ 838 w 10000"/>
                <a:gd name="connsiteY801" fmla="*/ 8462 h 10000"/>
                <a:gd name="connsiteX802" fmla="*/ 821 w 10000"/>
                <a:gd name="connsiteY802" fmla="*/ 8476 h 10000"/>
                <a:gd name="connsiteX803" fmla="*/ 742 w 10000"/>
                <a:gd name="connsiteY803" fmla="*/ 8562 h 10000"/>
                <a:gd name="connsiteX804" fmla="*/ 672 w 10000"/>
                <a:gd name="connsiteY804" fmla="*/ 8644 h 10000"/>
                <a:gd name="connsiteX805" fmla="*/ 639 w 10000"/>
                <a:gd name="connsiteY805" fmla="*/ 8684 h 10000"/>
                <a:gd name="connsiteX806" fmla="*/ 609 w 10000"/>
                <a:gd name="connsiteY806" fmla="*/ 8731 h 10000"/>
                <a:gd name="connsiteX807" fmla="*/ 583 w 10000"/>
                <a:gd name="connsiteY807" fmla="*/ 8777 h 10000"/>
                <a:gd name="connsiteX808" fmla="*/ 556 w 10000"/>
                <a:gd name="connsiteY808" fmla="*/ 8831 h 10000"/>
                <a:gd name="connsiteX809" fmla="*/ 545 w 10000"/>
                <a:gd name="connsiteY809" fmla="*/ 8852 h 10000"/>
                <a:gd name="connsiteX810" fmla="*/ 525 w 10000"/>
                <a:gd name="connsiteY810" fmla="*/ 8885 h 10000"/>
                <a:gd name="connsiteX811" fmla="*/ 503 w 10000"/>
                <a:gd name="connsiteY811" fmla="*/ 8925 h 10000"/>
                <a:gd name="connsiteX812" fmla="*/ 480 w 10000"/>
                <a:gd name="connsiteY812" fmla="*/ 8962 h 10000"/>
                <a:gd name="connsiteX813" fmla="*/ 465 w 10000"/>
                <a:gd name="connsiteY813" fmla="*/ 8981 h 10000"/>
                <a:gd name="connsiteX814" fmla="*/ 455 w 10000"/>
                <a:gd name="connsiteY814" fmla="*/ 8993 h 10000"/>
                <a:gd name="connsiteX815" fmla="*/ 444 w 10000"/>
                <a:gd name="connsiteY815" fmla="*/ 9000 h 10000"/>
                <a:gd name="connsiteX816" fmla="*/ 434 w 10000"/>
                <a:gd name="connsiteY816" fmla="*/ 9007 h 10000"/>
                <a:gd name="connsiteX817" fmla="*/ 432 w 10000"/>
                <a:gd name="connsiteY817" fmla="*/ 9007 h 10000"/>
                <a:gd name="connsiteX818" fmla="*/ 429 w 10000"/>
                <a:gd name="connsiteY818" fmla="*/ 9004 h 10000"/>
                <a:gd name="connsiteX819" fmla="*/ 427 w 10000"/>
                <a:gd name="connsiteY819" fmla="*/ 8997 h 10000"/>
                <a:gd name="connsiteX820" fmla="*/ 427 w 10000"/>
                <a:gd name="connsiteY820" fmla="*/ 8993 h 10000"/>
                <a:gd name="connsiteX821" fmla="*/ 424 w 10000"/>
                <a:gd name="connsiteY821" fmla="*/ 8976 h 10000"/>
                <a:gd name="connsiteX822" fmla="*/ 427 w 10000"/>
                <a:gd name="connsiteY822" fmla="*/ 8948 h 10000"/>
                <a:gd name="connsiteX823" fmla="*/ 437 w 10000"/>
                <a:gd name="connsiteY823" fmla="*/ 8913 h 10000"/>
                <a:gd name="connsiteX824" fmla="*/ 455 w 10000"/>
                <a:gd name="connsiteY824" fmla="*/ 8859 h 10000"/>
                <a:gd name="connsiteX825" fmla="*/ 462 w 10000"/>
                <a:gd name="connsiteY825" fmla="*/ 8834 h 10000"/>
                <a:gd name="connsiteX826" fmla="*/ 470 w 10000"/>
                <a:gd name="connsiteY826" fmla="*/ 8810 h 10000"/>
                <a:gd name="connsiteX827" fmla="*/ 472 w 10000"/>
                <a:gd name="connsiteY827" fmla="*/ 8794 h 10000"/>
                <a:gd name="connsiteX828" fmla="*/ 472 w 10000"/>
                <a:gd name="connsiteY828" fmla="*/ 8780 h 10000"/>
                <a:gd name="connsiteX829" fmla="*/ 462 w 10000"/>
                <a:gd name="connsiteY829" fmla="*/ 8784 h 10000"/>
                <a:gd name="connsiteX830" fmla="*/ 452 w 10000"/>
                <a:gd name="connsiteY830" fmla="*/ 8787 h 10000"/>
                <a:gd name="connsiteX831" fmla="*/ 437 w 10000"/>
                <a:gd name="connsiteY831" fmla="*/ 8794 h 10000"/>
                <a:gd name="connsiteX832" fmla="*/ 424 w 10000"/>
                <a:gd name="connsiteY832" fmla="*/ 8803 h 10000"/>
                <a:gd name="connsiteX833" fmla="*/ 394 w 10000"/>
                <a:gd name="connsiteY833" fmla="*/ 8829 h 10000"/>
                <a:gd name="connsiteX834" fmla="*/ 364 w 10000"/>
                <a:gd name="connsiteY834" fmla="*/ 8859 h 10000"/>
                <a:gd name="connsiteX835" fmla="*/ 311 w 10000"/>
                <a:gd name="connsiteY835" fmla="*/ 8922 h 10000"/>
                <a:gd name="connsiteX836" fmla="*/ 268 w 10000"/>
                <a:gd name="connsiteY836" fmla="*/ 8964 h 10000"/>
                <a:gd name="connsiteX837" fmla="*/ 205 w 10000"/>
                <a:gd name="connsiteY837" fmla="*/ 9016 h 10000"/>
                <a:gd name="connsiteX838" fmla="*/ 146 w 10000"/>
                <a:gd name="connsiteY838" fmla="*/ 9053 h 10000"/>
                <a:gd name="connsiteX839" fmla="*/ 139 w 10000"/>
                <a:gd name="connsiteY839" fmla="*/ 9063 h 10000"/>
                <a:gd name="connsiteX840" fmla="*/ 129 w 10000"/>
                <a:gd name="connsiteY840" fmla="*/ 9077 h 10000"/>
                <a:gd name="connsiteX841" fmla="*/ 126 w 10000"/>
                <a:gd name="connsiteY841" fmla="*/ 9086 h 10000"/>
                <a:gd name="connsiteX842" fmla="*/ 126 w 10000"/>
                <a:gd name="connsiteY842" fmla="*/ 9102 h 10000"/>
                <a:gd name="connsiteX843" fmla="*/ 129 w 10000"/>
                <a:gd name="connsiteY843" fmla="*/ 9116 h 10000"/>
                <a:gd name="connsiteX844" fmla="*/ 139 w 10000"/>
                <a:gd name="connsiteY844" fmla="*/ 9135 h 10000"/>
                <a:gd name="connsiteX845" fmla="*/ 149 w 10000"/>
                <a:gd name="connsiteY845" fmla="*/ 9151 h 10000"/>
                <a:gd name="connsiteX846" fmla="*/ 164 w 10000"/>
                <a:gd name="connsiteY846" fmla="*/ 9175 h 10000"/>
                <a:gd name="connsiteX847" fmla="*/ 184 w 10000"/>
                <a:gd name="connsiteY847" fmla="*/ 9196 h 10000"/>
                <a:gd name="connsiteX848" fmla="*/ 207 w 10000"/>
                <a:gd name="connsiteY848" fmla="*/ 9215 h 10000"/>
                <a:gd name="connsiteX849" fmla="*/ 227 w 10000"/>
                <a:gd name="connsiteY849" fmla="*/ 9233 h 10000"/>
                <a:gd name="connsiteX850" fmla="*/ 253 w 10000"/>
                <a:gd name="connsiteY850" fmla="*/ 9250 h 10000"/>
                <a:gd name="connsiteX851" fmla="*/ 303 w 10000"/>
                <a:gd name="connsiteY851" fmla="*/ 9282 h 10000"/>
                <a:gd name="connsiteX852" fmla="*/ 351 w 10000"/>
                <a:gd name="connsiteY852" fmla="*/ 9315 h 10000"/>
                <a:gd name="connsiteX853" fmla="*/ 414 w 10000"/>
                <a:gd name="connsiteY853" fmla="*/ 9364 h 10000"/>
                <a:gd name="connsiteX854" fmla="*/ 480 w 10000"/>
                <a:gd name="connsiteY854" fmla="*/ 9416 h 10000"/>
                <a:gd name="connsiteX855" fmla="*/ 513 w 10000"/>
                <a:gd name="connsiteY855" fmla="*/ 9437 h 10000"/>
                <a:gd name="connsiteX856" fmla="*/ 548 w 10000"/>
                <a:gd name="connsiteY856" fmla="*/ 9462 h 10000"/>
                <a:gd name="connsiteX857" fmla="*/ 581 w 10000"/>
                <a:gd name="connsiteY857" fmla="*/ 9483 h 10000"/>
                <a:gd name="connsiteX858" fmla="*/ 614 w 10000"/>
                <a:gd name="connsiteY858" fmla="*/ 9502 h 10000"/>
                <a:gd name="connsiteX859" fmla="*/ 641 w 10000"/>
                <a:gd name="connsiteY859" fmla="*/ 9525 h 10000"/>
                <a:gd name="connsiteX860" fmla="*/ 672 w 10000"/>
                <a:gd name="connsiteY860" fmla="*/ 9549 h 10000"/>
                <a:gd name="connsiteX861" fmla="*/ 702 w 10000"/>
                <a:gd name="connsiteY861" fmla="*/ 9568 h 10000"/>
                <a:gd name="connsiteX862" fmla="*/ 737 w 10000"/>
                <a:gd name="connsiteY862" fmla="*/ 9589 h 10000"/>
                <a:gd name="connsiteX863" fmla="*/ 770 w 10000"/>
                <a:gd name="connsiteY863" fmla="*/ 9605 h 10000"/>
                <a:gd name="connsiteX864" fmla="*/ 808 w 10000"/>
                <a:gd name="connsiteY864" fmla="*/ 9617 h 10000"/>
                <a:gd name="connsiteX865" fmla="*/ 843 w 10000"/>
                <a:gd name="connsiteY865" fmla="*/ 9624 h 10000"/>
                <a:gd name="connsiteX866" fmla="*/ 884 w 10000"/>
                <a:gd name="connsiteY866" fmla="*/ 9628 h 10000"/>
                <a:gd name="connsiteX867" fmla="*/ 902 w 10000"/>
                <a:gd name="connsiteY867" fmla="*/ 9628 h 10000"/>
                <a:gd name="connsiteX868" fmla="*/ 914 w 10000"/>
                <a:gd name="connsiteY868" fmla="*/ 9631 h 10000"/>
                <a:gd name="connsiteX869" fmla="*/ 932 w 10000"/>
                <a:gd name="connsiteY869" fmla="*/ 9638 h 10000"/>
                <a:gd name="connsiteX870" fmla="*/ 942 w 10000"/>
                <a:gd name="connsiteY870" fmla="*/ 9642 h 10000"/>
                <a:gd name="connsiteX871" fmla="*/ 967 w 10000"/>
                <a:gd name="connsiteY871" fmla="*/ 9652 h 10000"/>
                <a:gd name="connsiteX872" fmla="*/ 987 w 10000"/>
                <a:gd name="connsiteY872" fmla="*/ 9668 h 10000"/>
                <a:gd name="connsiteX873" fmla="*/ 1005 w 10000"/>
                <a:gd name="connsiteY873" fmla="*/ 9682 h 10000"/>
                <a:gd name="connsiteX874" fmla="*/ 1025 w 10000"/>
                <a:gd name="connsiteY874" fmla="*/ 9698 h 10000"/>
                <a:gd name="connsiteX875" fmla="*/ 1045 w 10000"/>
                <a:gd name="connsiteY875" fmla="*/ 9712 h 10000"/>
                <a:gd name="connsiteX876" fmla="*/ 1073 w 10000"/>
                <a:gd name="connsiteY876" fmla="*/ 9724 h 10000"/>
                <a:gd name="connsiteX877" fmla="*/ 1098 w 10000"/>
                <a:gd name="connsiteY877" fmla="*/ 9738 h 10000"/>
                <a:gd name="connsiteX878" fmla="*/ 1121 w 10000"/>
                <a:gd name="connsiteY878" fmla="*/ 9750 h 10000"/>
                <a:gd name="connsiteX879" fmla="*/ 1141 w 10000"/>
                <a:gd name="connsiteY879" fmla="*/ 9762 h 10000"/>
                <a:gd name="connsiteX880" fmla="*/ 1159 w 10000"/>
                <a:gd name="connsiteY880" fmla="*/ 9776 h 10000"/>
                <a:gd name="connsiteX881" fmla="*/ 1172 w 10000"/>
                <a:gd name="connsiteY881" fmla="*/ 9787 h 10000"/>
                <a:gd name="connsiteX882" fmla="*/ 1182 w 10000"/>
                <a:gd name="connsiteY882" fmla="*/ 9804 h 10000"/>
                <a:gd name="connsiteX883" fmla="*/ 1194 w 10000"/>
                <a:gd name="connsiteY883" fmla="*/ 9818 h 10000"/>
                <a:gd name="connsiteX884" fmla="*/ 1202 w 10000"/>
                <a:gd name="connsiteY884" fmla="*/ 9834 h 10000"/>
                <a:gd name="connsiteX885" fmla="*/ 1212 w 10000"/>
                <a:gd name="connsiteY885" fmla="*/ 9869 h 10000"/>
                <a:gd name="connsiteX886" fmla="*/ 1220 w 10000"/>
                <a:gd name="connsiteY886" fmla="*/ 9906 h 10000"/>
                <a:gd name="connsiteX887" fmla="*/ 1230 w 10000"/>
                <a:gd name="connsiteY887" fmla="*/ 9951 h 10000"/>
                <a:gd name="connsiteX888" fmla="*/ 1237 w 10000"/>
                <a:gd name="connsiteY888" fmla="*/ 10000 h 10000"/>
                <a:gd name="connsiteX889" fmla="*/ 1237 w 10000"/>
                <a:gd name="connsiteY88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306 w 10000"/>
                <a:gd name="connsiteY783" fmla="*/ 8453 h 10000"/>
                <a:gd name="connsiteX784" fmla="*/ 1149 w 10000"/>
                <a:gd name="connsiteY784" fmla="*/ 8256 h 10000"/>
                <a:gd name="connsiteX785" fmla="*/ 1139 w 10000"/>
                <a:gd name="connsiteY785" fmla="*/ 8249 h 10000"/>
                <a:gd name="connsiteX786" fmla="*/ 1126 w 10000"/>
                <a:gd name="connsiteY786" fmla="*/ 8240 h 10000"/>
                <a:gd name="connsiteX787" fmla="*/ 1114 w 10000"/>
                <a:gd name="connsiteY787" fmla="*/ 8240 h 10000"/>
                <a:gd name="connsiteX788" fmla="*/ 1091 w 10000"/>
                <a:gd name="connsiteY788" fmla="*/ 8242 h 10000"/>
                <a:gd name="connsiteX789" fmla="*/ 1071 w 10000"/>
                <a:gd name="connsiteY789" fmla="*/ 8252 h 10000"/>
                <a:gd name="connsiteX790" fmla="*/ 1048 w 10000"/>
                <a:gd name="connsiteY790" fmla="*/ 8261 h 10000"/>
                <a:gd name="connsiteX791" fmla="*/ 1030 w 10000"/>
                <a:gd name="connsiteY791" fmla="*/ 8273 h 10000"/>
                <a:gd name="connsiteX792" fmla="*/ 1010 w 10000"/>
                <a:gd name="connsiteY792" fmla="*/ 8287 h 10000"/>
                <a:gd name="connsiteX793" fmla="*/ 995 w 10000"/>
                <a:gd name="connsiteY793" fmla="*/ 8303 h 10000"/>
                <a:gd name="connsiteX794" fmla="*/ 975 w 10000"/>
                <a:gd name="connsiteY794" fmla="*/ 8322 h 10000"/>
                <a:gd name="connsiteX795" fmla="*/ 960 w 10000"/>
                <a:gd name="connsiteY795" fmla="*/ 8343 h 10000"/>
                <a:gd name="connsiteX796" fmla="*/ 927 w 10000"/>
                <a:gd name="connsiteY796" fmla="*/ 8380 h 10000"/>
                <a:gd name="connsiteX797" fmla="*/ 891 w 10000"/>
                <a:gd name="connsiteY797" fmla="*/ 8417 h 10000"/>
                <a:gd name="connsiteX798" fmla="*/ 874 w 10000"/>
                <a:gd name="connsiteY798" fmla="*/ 8436 h 10000"/>
                <a:gd name="connsiteX799" fmla="*/ 859 w 10000"/>
                <a:gd name="connsiteY799" fmla="*/ 8450 h 10000"/>
                <a:gd name="connsiteX800" fmla="*/ 838 w 10000"/>
                <a:gd name="connsiteY800" fmla="*/ 8462 h 10000"/>
                <a:gd name="connsiteX801" fmla="*/ 821 w 10000"/>
                <a:gd name="connsiteY801" fmla="*/ 8476 h 10000"/>
                <a:gd name="connsiteX802" fmla="*/ 742 w 10000"/>
                <a:gd name="connsiteY802" fmla="*/ 8562 h 10000"/>
                <a:gd name="connsiteX803" fmla="*/ 672 w 10000"/>
                <a:gd name="connsiteY803" fmla="*/ 8644 h 10000"/>
                <a:gd name="connsiteX804" fmla="*/ 639 w 10000"/>
                <a:gd name="connsiteY804" fmla="*/ 8684 h 10000"/>
                <a:gd name="connsiteX805" fmla="*/ 609 w 10000"/>
                <a:gd name="connsiteY805" fmla="*/ 8731 h 10000"/>
                <a:gd name="connsiteX806" fmla="*/ 583 w 10000"/>
                <a:gd name="connsiteY806" fmla="*/ 8777 h 10000"/>
                <a:gd name="connsiteX807" fmla="*/ 556 w 10000"/>
                <a:gd name="connsiteY807" fmla="*/ 8831 h 10000"/>
                <a:gd name="connsiteX808" fmla="*/ 545 w 10000"/>
                <a:gd name="connsiteY808" fmla="*/ 8852 h 10000"/>
                <a:gd name="connsiteX809" fmla="*/ 525 w 10000"/>
                <a:gd name="connsiteY809" fmla="*/ 8885 h 10000"/>
                <a:gd name="connsiteX810" fmla="*/ 503 w 10000"/>
                <a:gd name="connsiteY810" fmla="*/ 8925 h 10000"/>
                <a:gd name="connsiteX811" fmla="*/ 480 w 10000"/>
                <a:gd name="connsiteY811" fmla="*/ 8962 h 10000"/>
                <a:gd name="connsiteX812" fmla="*/ 465 w 10000"/>
                <a:gd name="connsiteY812" fmla="*/ 8981 h 10000"/>
                <a:gd name="connsiteX813" fmla="*/ 455 w 10000"/>
                <a:gd name="connsiteY813" fmla="*/ 8993 h 10000"/>
                <a:gd name="connsiteX814" fmla="*/ 444 w 10000"/>
                <a:gd name="connsiteY814" fmla="*/ 9000 h 10000"/>
                <a:gd name="connsiteX815" fmla="*/ 434 w 10000"/>
                <a:gd name="connsiteY815" fmla="*/ 9007 h 10000"/>
                <a:gd name="connsiteX816" fmla="*/ 432 w 10000"/>
                <a:gd name="connsiteY816" fmla="*/ 9007 h 10000"/>
                <a:gd name="connsiteX817" fmla="*/ 429 w 10000"/>
                <a:gd name="connsiteY817" fmla="*/ 9004 h 10000"/>
                <a:gd name="connsiteX818" fmla="*/ 427 w 10000"/>
                <a:gd name="connsiteY818" fmla="*/ 8997 h 10000"/>
                <a:gd name="connsiteX819" fmla="*/ 427 w 10000"/>
                <a:gd name="connsiteY819" fmla="*/ 8993 h 10000"/>
                <a:gd name="connsiteX820" fmla="*/ 424 w 10000"/>
                <a:gd name="connsiteY820" fmla="*/ 8976 h 10000"/>
                <a:gd name="connsiteX821" fmla="*/ 427 w 10000"/>
                <a:gd name="connsiteY821" fmla="*/ 8948 h 10000"/>
                <a:gd name="connsiteX822" fmla="*/ 437 w 10000"/>
                <a:gd name="connsiteY822" fmla="*/ 8913 h 10000"/>
                <a:gd name="connsiteX823" fmla="*/ 455 w 10000"/>
                <a:gd name="connsiteY823" fmla="*/ 8859 h 10000"/>
                <a:gd name="connsiteX824" fmla="*/ 462 w 10000"/>
                <a:gd name="connsiteY824" fmla="*/ 8834 h 10000"/>
                <a:gd name="connsiteX825" fmla="*/ 470 w 10000"/>
                <a:gd name="connsiteY825" fmla="*/ 8810 h 10000"/>
                <a:gd name="connsiteX826" fmla="*/ 472 w 10000"/>
                <a:gd name="connsiteY826" fmla="*/ 8794 h 10000"/>
                <a:gd name="connsiteX827" fmla="*/ 472 w 10000"/>
                <a:gd name="connsiteY827" fmla="*/ 8780 h 10000"/>
                <a:gd name="connsiteX828" fmla="*/ 462 w 10000"/>
                <a:gd name="connsiteY828" fmla="*/ 8784 h 10000"/>
                <a:gd name="connsiteX829" fmla="*/ 452 w 10000"/>
                <a:gd name="connsiteY829" fmla="*/ 8787 h 10000"/>
                <a:gd name="connsiteX830" fmla="*/ 437 w 10000"/>
                <a:gd name="connsiteY830" fmla="*/ 8794 h 10000"/>
                <a:gd name="connsiteX831" fmla="*/ 424 w 10000"/>
                <a:gd name="connsiteY831" fmla="*/ 8803 h 10000"/>
                <a:gd name="connsiteX832" fmla="*/ 394 w 10000"/>
                <a:gd name="connsiteY832" fmla="*/ 8829 h 10000"/>
                <a:gd name="connsiteX833" fmla="*/ 364 w 10000"/>
                <a:gd name="connsiteY833" fmla="*/ 8859 h 10000"/>
                <a:gd name="connsiteX834" fmla="*/ 311 w 10000"/>
                <a:gd name="connsiteY834" fmla="*/ 8922 h 10000"/>
                <a:gd name="connsiteX835" fmla="*/ 268 w 10000"/>
                <a:gd name="connsiteY835" fmla="*/ 8964 h 10000"/>
                <a:gd name="connsiteX836" fmla="*/ 205 w 10000"/>
                <a:gd name="connsiteY836" fmla="*/ 9016 h 10000"/>
                <a:gd name="connsiteX837" fmla="*/ 146 w 10000"/>
                <a:gd name="connsiteY837" fmla="*/ 9053 h 10000"/>
                <a:gd name="connsiteX838" fmla="*/ 139 w 10000"/>
                <a:gd name="connsiteY838" fmla="*/ 9063 h 10000"/>
                <a:gd name="connsiteX839" fmla="*/ 129 w 10000"/>
                <a:gd name="connsiteY839" fmla="*/ 9077 h 10000"/>
                <a:gd name="connsiteX840" fmla="*/ 126 w 10000"/>
                <a:gd name="connsiteY840" fmla="*/ 9086 h 10000"/>
                <a:gd name="connsiteX841" fmla="*/ 126 w 10000"/>
                <a:gd name="connsiteY841" fmla="*/ 9102 h 10000"/>
                <a:gd name="connsiteX842" fmla="*/ 129 w 10000"/>
                <a:gd name="connsiteY842" fmla="*/ 9116 h 10000"/>
                <a:gd name="connsiteX843" fmla="*/ 139 w 10000"/>
                <a:gd name="connsiteY843" fmla="*/ 9135 h 10000"/>
                <a:gd name="connsiteX844" fmla="*/ 149 w 10000"/>
                <a:gd name="connsiteY844" fmla="*/ 9151 h 10000"/>
                <a:gd name="connsiteX845" fmla="*/ 164 w 10000"/>
                <a:gd name="connsiteY845" fmla="*/ 9175 h 10000"/>
                <a:gd name="connsiteX846" fmla="*/ 184 w 10000"/>
                <a:gd name="connsiteY846" fmla="*/ 9196 h 10000"/>
                <a:gd name="connsiteX847" fmla="*/ 207 w 10000"/>
                <a:gd name="connsiteY847" fmla="*/ 9215 h 10000"/>
                <a:gd name="connsiteX848" fmla="*/ 227 w 10000"/>
                <a:gd name="connsiteY848" fmla="*/ 9233 h 10000"/>
                <a:gd name="connsiteX849" fmla="*/ 253 w 10000"/>
                <a:gd name="connsiteY849" fmla="*/ 9250 h 10000"/>
                <a:gd name="connsiteX850" fmla="*/ 303 w 10000"/>
                <a:gd name="connsiteY850" fmla="*/ 9282 h 10000"/>
                <a:gd name="connsiteX851" fmla="*/ 351 w 10000"/>
                <a:gd name="connsiteY851" fmla="*/ 9315 h 10000"/>
                <a:gd name="connsiteX852" fmla="*/ 414 w 10000"/>
                <a:gd name="connsiteY852" fmla="*/ 9364 h 10000"/>
                <a:gd name="connsiteX853" fmla="*/ 480 w 10000"/>
                <a:gd name="connsiteY853" fmla="*/ 9416 h 10000"/>
                <a:gd name="connsiteX854" fmla="*/ 513 w 10000"/>
                <a:gd name="connsiteY854" fmla="*/ 9437 h 10000"/>
                <a:gd name="connsiteX855" fmla="*/ 548 w 10000"/>
                <a:gd name="connsiteY855" fmla="*/ 9462 h 10000"/>
                <a:gd name="connsiteX856" fmla="*/ 581 w 10000"/>
                <a:gd name="connsiteY856" fmla="*/ 9483 h 10000"/>
                <a:gd name="connsiteX857" fmla="*/ 614 w 10000"/>
                <a:gd name="connsiteY857" fmla="*/ 9502 h 10000"/>
                <a:gd name="connsiteX858" fmla="*/ 641 w 10000"/>
                <a:gd name="connsiteY858" fmla="*/ 9525 h 10000"/>
                <a:gd name="connsiteX859" fmla="*/ 672 w 10000"/>
                <a:gd name="connsiteY859" fmla="*/ 9549 h 10000"/>
                <a:gd name="connsiteX860" fmla="*/ 702 w 10000"/>
                <a:gd name="connsiteY860" fmla="*/ 9568 h 10000"/>
                <a:gd name="connsiteX861" fmla="*/ 737 w 10000"/>
                <a:gd name="connsiteY861" fmla="*/ 9589 h 10000"/>
                <a:gd name="connsiteX862" fmla="*/ 770 w 10000"/>
                <a:gd name="connsiteY862" fmla="*/ 9605 h 10000"/>
                <a:gd name="connsiteX863" fmla="*/ 808 w 10000"/>
                <a:gd name="connsiteY863" fmla="*/ 9617 h 10000"/>
                <a:gd name="connsiteX864" fmla="*/ 843 w 10000"/>
                <a:gd name="connsiteY864" fmla="*/ 9624 h 10000"/>
                <a:gd name="connsiteX865" fmla="*/ 884 w 10000"/>
                <a:gd name="connsiteY865" fmla="*/ 9628 h 10000"/>
                <a:gd name="connsiteX866" fmla="*/ 902 w 10000"/>
                <a:gd name="connsiteY866" fmla="*/ 9628 h 10000"/>
                <a:gd name="connsiteX867" fmla="*/ 914 w 10000"/>
                <a:gd name="connsiteY867" fmla="*/ 9631 h 10000"/>
                <a:gd name="connsiteX868" fmla="*/ 932 w 10000"/>
                <a:gd name="connsiteY868" fmla="*/ 9638 h 10000"/>
                <a:gd name="connsiteX869" fmla="*/ 942 w 10000"/>
                <a:gd name="connsiteY869" fmla="*/ 9642 h 10000"/>
                <a:gd name="connsiteX870" fmla="*/ 967 w 10000"/>
                <a:gd name="connsiteY870" fmla="*/ 9652 h 10000"/>
                <a:gd name="connsiteX871" fmla="*/ 987 w 10000"/>
                <a:gd name="connsiteY871" fmla="*/ 9668 h 10000"/>
                <a:gd name="connsiteX872" fmla="*/ 1005 w 10000"/>
                <a:gd name="connsiteY872" fmla="*/ 9682 h 10000"/>
                <a:gd name="connsiteX873" fmla="*/ 1025 w 10000"/>
                <a:gd name="connsiteY873" fmla="*/ 9698 h 10000"/>
                <a:gd name="connsiteX874" fmla="*/ 1045 w 10000"/>
                <a:gd name="connsiteY874" fmla="*/ 9712 h 10000"/>
                <a:gd name="connsiteX875" fmla="*/ 1073 w 10000"/>
                <a:gd name="connsiteY875" fmla="*/ 9724 h 10000"/>
                <a:gd name="connsiteX876" fmla="*/ 1098 w 10000"/>
                <a:gd name="connsiteY876" fmla="*/ 9738 h 10000"/>
                <a:gd name="connsiteX877" fmla="*/ 1121 w 10000"/>
                <a:gd name="connsiteY877" fmla="*/ 9750 h 10000"/>
                <a:gd name="connsiteX878" fmla="*/ 1141 w 10000"/>
                <a:gd name="connsiteY878" fmla="*/ 9762 h 10000"/>
                <a:gd name="connsiteX879" fmla="*/ 1159 w 10000"/>
                <a:gd name="connsiteY879" fmla="*/ 9776 h 10000"/>
                <a:gd name="connsiteX880" fmla="*/ 1172 w 10000"/>
                <a:gd name="connsiteY880" fmla="*/ 9787 h 10000"/>
                <a:gd name="connsiteX881" fmla="*/ 1182 w 10000"/>
                <a:gd name="connsiteY881" fmla="*/ 9804 h 10000"/>
                <a:gd name="connsiteX882" fmla="*/ 1194 w 10000"/>
                <a:gd name="connsiteY882" fmla="*/ 9818 h 10000"/>
                <a:gd name="connsiteX883" fmla="*/ 1202 w 10000"/>
                <a:gd name="connsiteY883" fmla="*/ 9834 h 10000"/>
                <a:gd name="connsiteX884" fmla="*/ 1212 w 10000"/>
                <a:gd name="connsiteY884" fmla="*/ 9869 h 10000"/>
                <a:gd name="connsiteX885" fmla="*/ 1220 w 10000"/>
                <a:gd name="connsiteY885" fmla="*/ 9906 h 10000"/>
                <a:gd name="connsiteX886" fmla="*/ 1230 w 10000"/>
                <a:gd name="connsiteY886" fmla="*/ 9951 h 10000"/>
                <a:gd name="connsiteX887" fmla="*/ 1237 w 10000"/>
                <a:gd name="connsiteY887" fmla="*/ 10000 h 10000"/>
                <a:gd name="connsiteX888" fmla="*/ 1237 w 10000"/>
                <a:gd name="connsiteY88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394 w 10000"/>
                <a:gd name="connsiteY782" fmla="*/ 8275 h 10000"/>
                <a:gd name="connsiteX783" fmla="*/ 1149 w 10000"/>
                <a:gd name="connsiteY783" fmla="*/ 8256 h 10000"/>
                <a:gd name="connsiteX784" fmla="*/ 1139 w 10000"/>
                <a:gd name="connsiteY784" fmla="*/ 8249 h 10000"/>
                <a:gd name="connsiteX785" fmla="*/ 1126 w 10000"/>
                <a:gd name="connsiteY785" fmla="*/ 8240 h 10000"/>
                <a:gd name="connsiteX786" fmla="*/ 1114 w 10000"/>
                <a:gd name="connsiteY786" fmla="*/ 8240 h 10000"/>
                <a:gd name="connsiteX787" fmla="*/ 1091 w 10000"/>
                <a:gd name="connsiteY787" fmla="*/ 8242 h 10000"/>
                <a:gd name="connsiteX788" fmla="*/ 1071 w 10000"/>
                <a:gd name="connsiteY788" fmla="*/ 8252 h 10000"/>
                <a:gd name="connsiteX789" fmla="*/ 1048 w 10000"/>
                <a:gd name="connsiteY789" fmla="*/ 8261 h 10000"/>
                <a:gd name="connsiteX790" fmla="*/ 1030 w 10000"/>
                <a:gd name="connsiteY790" fmla="*/ 8273 h 10000"/>
                <a:gd name="connsiteX791" fmla="*/ 1010 w 10000"/>
                <a:gd name="connsiteY791" fmla="*/ 8287 h 10000"/>
                <a:gd name="connsiteX792" fmla="*/ 995 w 10000"/>
                <a:gd name="connsiteY792" fmla="*/ 8303 h 10000"/>
                <a:gd name="connsiteX793" fmla="*/ 975 w 10000"/>
                <a:gd name="connsiteY793" fmla="*/ 8322 h 10000"/>
                <a:gd name="connsiteX794" fmla="*/ 960 w 10000"/>
                <a:gd name="connsiteY794" fmla="*/ 8343 h 10000"/>
                <a:gd name="connsiteX795" fmla="*/ 927 w 10000"/>
                <a:gd name="connsiteY795" fmla="*/ 8380 h 10000"/>
                <a:gd name="connsiteX796" fmla="*/ 891 w 10000"/>
                <a:gd name="connsiteY796" fmla="*/ 8417 h 10000"/>
                <a:gd name="connsiteX797" fmla="*/ 874 w 10000"/>
                <a:gd name="connsiteY797" fmla="*/ 8436 h 10000"/>
                <a:gd name="connsiteX798" fmla="*/ 859 w 10000"/>
                <a:gd name="connsiteY798" fmla="*/ 8450 h 10000"/>
                <a:gd name="connsiteX799" fmla="*/ 838 w 10000"/>
                <a:gd name="connsiteY799" fmla="*/ 8462 h 10000"/>
                <a:gd name="connsiteX800" fmla="*/ 821 w 10000"/>
                <a:gd name="connsiteY800" fmla="*/ 8476 h 10000"/>
                <a:gd name="connsiteX801" fmla="*/ 742 w 10000"/>
                <a:gd name="connsiteY801" fmla="*/ 8562 h 10000"/>
                <a:gd name="connsiteX802" fmla="*/ 672 w 10000"/>
                <a:gd name="connsiteY802" fmla="*/ 8644 h 10000"/>
                <a:gd name="connsiteX803" fmla="*/ 639 w 10000"/>
                <a:gd name="connsiteY803" fmla="*/ 8684 h 10000"/>
                <a:gd name="connsiteX804" fmla="*/ 609 w 10000"/>
                <a:gd name="connsiteY804" fmla="*/ 8731 h 10000"/>
                <a:gd name="connsiteX805" fmla="*/ 583 w 10000"/>
                <a:gd name="connsiteY805" fmla="*/ 8777 h 10000"/>
                <a:gd name="connsiteX806" fmla="*/ 556 w 10000"/>
                <a:gd name="connsiteY806" fmla="*/ 8831 h 10000"/>
                <a:gd name="connsiteX807" fmla="*/ 545 w 10000"/>
                <a:gd name="connsiteY807" fmla="*/ 8852 h 10000"/>
                <a:gd name="connsiteX808" fmla="*/ 525 w 10000"/>
                <a:gd name="connsiteY808" fmla="*/ 8885 h 10000"/>
                <a:gd name="connsiteX809" fmla="*/ 503 w 10000"/>
                <a:gd name="connsiteY809" fmla="*/ 8925 h 10000"/>
                <a:gd name="connsiteX810" fmla="*/ 480 w 10000"/>
                <a:gd name="connsiteY810" fmla="*/ 8962 h 10000"/>
                <a:gd name="connsiteX811" fmla="*/ 465 w 10000"/>
                <a:gd name="connsiteY811" fmla="*/ 8981 h 10000"/>
                <a:gd name="connsiteX812" fmla="*/ 455 w 10000"/>
                <a:gd name="connsiteY812" fmla="*/ 8993 h 10000"/>
                <a:gd name="connsiteX813" fmla="*/ 444 w 10000"/>
                <a:gd name="connsiteY813" fmla="*/ 9000 h 10000"/>
                <a:gd name="connsiteX814" fmla="*/ 434 w 10000"/>
                <a:gd name="connsiteY814" fmla="*/ 9007 h 10000"/>
                <a:gd name="connsiteX815" fmla="*/ 432 w 10000"/>
                <a:gd name="connsiteY815" fmla="*/ 9007 h 10000"/>
                <a:gd name="connsiteX816" fmla="*/ 429 w 10000"/>
                <a:gd name="connsiteY816" fmla="*/ 9004 h 10000"/>
                <a:gd name="connsiteX817" fmla="*/ 427 w 10000"/>
                <a:gd name="connsiteY817" fmla="*/ 8997 h 10000"/>
                <a:gd name="connsiteX818" fmla="*/ 427 w 10000"/>
                <a:gd name="connsiteY818" fmla="*/ 8993 h 10000"/>
                <a:gd name="connsiteX819" fmla="*/ 424 w 10000"/>
                <a:gd name="connsiteY819" fmla="*/ 8976 h 10000"/>
                <a:gd name="connsiteX820" fmla="*/ 427 w 10000"/>
                <a:gd name="connsiteY820" fmla="*/ 8948 h 10000"/>
                <a:gd name="connsiteX821" fmla="*/ 437 w 10000"/>
                <a:gd name="connsiteY821" fmla="*/ 8913 h 10000"/>
                <a:gd name="connsiteX822" fmla="*/ 455 w 10000"/>
                <a:gd name="connsiteY822" fmla="*/ 8859 h 10000"/>
                <a:gd name="connsiteX823" fmla="*/ 462 w 10000"/>
                <a:gd name="connsiteY823" fmla="*/ 8834 h 10000"/>
                <a:gd name="connsiteX824" fmla="*/ 470 w 10000"/>
                <a:gd name="connsiteY824" fmla="*/ 8810 h 10000"/>
                <a:gd name="connsiteX825" fmla="*/ 472 w 10000"/>
                <a:gd name="connsiteY825" fmla="*/ 8794 h 10000"/>
                <a:gd name="connsiteX826" fmla="*/ 472 w 10000"/>
                <a:gd name="connsiteY826" fmla="*/ 8780 h 10000"/>
                <a:gd name="connsiteX827" fmla="*/ 462 w 10000"/>
                <a:gd name="connsiteY827" fmla="*/ 8784 h 10000"/>
                <a:gd name="connsiteX828" fmla="*/ 452 w 10000"/>
                <a:gd name="connsiteY828" fmla="*/ 8787 h 10000"/>
                <a:gd name="connsiteX829" fmla="*/ 437 w 10000"/>
                <a:gd name="connsiteY829" fmla="*/ 8794 h 10000"/>
                <a:gd name="connsiteX830" fmla="*/ 424 w 10000"/>
                <a:gd name="connsiteY830" fmla="*/ 8803 h 10000"/>
                <a:gd name="connsiteX831" fmla="*/ 394 w 10000"/>
                <a:gd name="connsiteY831" fmla="*/ 8829 h 10000"/>
                <a:gd name="connsiteX832" fmla="*/ 364 w 10000"/>
                <a:gd name="connsiteY832" fmla="*/ 8859 h 10000"/>
                <a:gd name="connsiteX833" fmla="*/ 311 w 10000"/>
                <a:gd name="connsiteY833" fmla="*/ 8922 h 10000"/>
                <a:gd name="connsiteX834" fmla="*/ 268 w 10000"/>
                <a:gd name="connsiteY834" fmla="*/ 8964 h 10000"/>
                <a:gd name="connsiteX835" fmla="*/ 205 w 10000"/>
                <a:gd name="connsiteY835" fmla="*/ 9016 h 10000"/>
                <a:gd name="connsiteX836" fmla="*/ 146 w 10000"/>
                <a:gd name="connsiteY836" fmla="*/ 9053 h 10000"/>
                <a:gd name="connsiteX837" fmla="*/ 139 w 10000"/>
                <a:gd name="connsiteY837" fmla="*/ 9063 h 10000"/>
                <a:gd name="connsiteX838" fmla="*/ 129 w 10000"/>
                <a:gd name="connsiteY838" fmla="*/ 9077 h 10000"/>
                <a:gd name="connsiteX839" fmla="*/ 126 w 10000"/>
                <a:gd name="connsiteY839" fmla="*/ 9086 h 10000"/>
                <a:gd name="connsiteX840" fmla="*/ 126 w 10000"/>
                <a:gd name="connsiteY840" fmla="*/ 9102 h 10000"/>
                <a:gd name="connsiteX841" fmla="*/ 129 w 10000"/>
                <a:gd name="connsiteY841" fmla="*/ 9116 h 10000"/>
                <a:gd name="connsiteX842" fmla="*/ 139 w 10000"/>
                <a:gd name="connsiteY842" fmla="*/ 9135 h 10000"/>
                <a:gd name="connsiteX843" fmla="*/ 149 w 10000"/>
                <a:gd name="connsiteY843" fmla="*/ 9151 h 10000"/>
                <a:gd name="connsiteX844" fmla="*/ 164 w 10000"/>
                <a:gd name="connsiteY844" fmla="*/ 9175 h 10000"/>
                <a:gd name="connsiteX845" fmla="*/ 184 w 10000"/>
                <a:gd name="connsiteY845" fmla="*/ 9196 h 10000"/>
                <a:gd name="connsiteX846" fmla="*/ 207 w 10000"/>
                <a:gd name="connsiteY846" fmla="*/ 9215 h 10000"/>
                <a:gd name="connsiteX847" fmla="*/ 227 w 10000"/>
                <a:gd name="connsiteY847" fmla="*/ 9233 h 10000"/>
                <a:gd name="connsiteX848" fmla="*/ 253 w 10000"/>
                <a:gd name="connsiteY848" fmla="*/ 9250 h 10000"/>
                <a:gd name="connsiteX849" fmla="*/ 303 w 10000"/>
                <a:gd name="connsiteY849" fmla="*/ 9282 h 10000"/>
                <a:gd name="connsiteX850" fmla="*/ 351 w 10000"/>
                <a:gd name="connsiteY850" fmla="*/ 9315 h 10000"/>
                <a:gd name="connsiteX851" fmla="*/ 414 w 10000"/>
                <a:gd name="connsiteY851" fmla="*/ 9364 h 10000"/>
                <a:gd name="connsiteX852" fmla="*/ 480 w 10000"/>
                <a:gd name="connsiteY852" fmla="*/ 9416 h 10000"/>
                <a:gd name="connsiteX853" fmla="*/ 513 w 10000"/>
                <a:gd name="connsiteY853" fmla="*/ 9437 h 10000"/>
                <a:gd name="connsiteX854" fmla="*/ 548 w 10000"/>
                <a:gd name="connsiteY854" fmla="*/ 9462 h 10000"/>
                <a:gd name="connsiteX855" fmla="*/ 581 w 10000"/>
                <a:gd name="connsiteY855" fmla="*/ 9483 h 10000"/>
                <a:gd name="connsiteX856" fmla="*/ 614 w 10000"/>
                <a:gd name="connsiteY856" fmla="*/ 9502 h 10000"/>
                <a:gd name="connsiteX857" fmla="*/ 641 w 10000"/>
                <a:gd name="connsiteY857" fmla="*/ 9525 h 10000"/>
                <a:gd name="connsiteX858" fmla="*/ 672 w 10000"/>
                <a:gd name="connsiteY858" fmla="*/ 9549 h 10000"/>
                <a:gd name="connsiteX859" fmla="*/ 702 w 10000"/>
                <a:gd name="connsiteY859" fmla="*/ 9568 h 10000"/>
                <a:gd name="connsiteX860" fmla="*/ 737 w 10000"/>
                <a:gd name="connsiteY860" fmla="*/ 9589 h 10000"/>
                <a:gd name="connsiteX861" fmla="*/ 770 w 10000"/>
                <a:gd name="connsiteY861" fmla="*/ 9605 h 10000"/>
                <a:gd name="connsiteX862" fmla="*/ 808 w 10000"/>
                <a:gd name="connsiteY862" fmla="*/ 9617 h 10000"/>
                <a:gd name="connsiteX863" fmla="*/ 843 w 10000"/>
                <a:gd name="connsiteY863" fmla="*/ 9624 h 10000"/>
                <a:gd name="connsiteX864" fmla="*/ 884 w 10000"/>
                <a:gd name="connsiteY864" fmla="*/ 9628 h 10000"/>
                <a:gd name="connsiteX865" fmla="*/ 902 w 10000"/>
                <a:gd name="connsiteY865" fmla="*/ 9628 h 10000"/>
                <a:gd name="connsiteX866" fmla="*/ 914 w 10000"/>
                <a:gd name="connsiteY866" fmla="*/ 9631 h 10000"/>
                <a:gd name="connsiteX867" fmla="*/ 932 w 10000"/>
                <a:gd name="connsiteY867" fmla="*/ 9638 h 10000"/>
                <a:gd name="connsiteX868" fmla="*/ 942 w 10000"/>
                <a:gd name="connsiteY868" fmla="*/ 9642 h 10000"/>
                <a:gd name="connsiteX869" fmla="*/ 967 w 10000"/>
                <a:gd name="connsiteY869" fmla="*/ 9652 h 10000"/>
                <a:gd name="connsiteX870" fmla="*/ 987 w 10000"/>
                <a:gd name="connsiteY870" fmla="*/ 9668 h 10000"/>
                <a:gd name="connsiteX871" fmla="*/ 1005 w 10000"/>
                <a:gd name="connsiteY871" fmla="*/ 9682 h 10000"/>
                <a:gd name="connsiteX872" fmla="*/ 1025 w 10000"/>
                <a:gd name="connsiteY872" fmla="*/ 9698 h 10000"/>
                <a:gd name="connsiteX873" fmla="*/ 1045 w 10000"/>
                <a:gd name="connsiteY873" fmla="*/ 9712 h 10000"/>
                <a:gd name="connsiteX874" fmla="*/ 1073 w 10000"/>
                <a:gd name="connsiteY874" fmla="*/ 9724 h 10000"/>
                <a:gd name="connsiteX875" fmla="*/ 1098 w 10000"/>
                <a:gd name="connsiteY875" fmla="*/ 9738 h 10000"/>
                <a:gd name="connsiteX876" fmla="*/ 1121 w 10000"/>
                <a:gd name="connsiteY876" fmla="*/ 9750 h 10000"/>
                <a:gd name="connsiteX877" fmla="*/ 1141 w 10000"/>
                <a:gd name="connsiteY877" fmla="*/ 9762 h 10000"/>
                <a:gd name="connsiteX878" fmla="*/ 1159 w 10000"/>
                <a:gd name="connsiteY878" fmla="*/ 9776 h 10000"/>
                <a:gd name="connsiteX879" fmla="*/ 1172 w 10000"/>
                <a:gd name="connsiteY879" fmla="*/ 9787 h 10000"/>
                <a:gd name="connsiteX880" fmla="*/ 1182 w 10000"/>
                <a:gd name="connsiteY880" fmla="*/ 9804 h 10000"/>
                <a:gd name="connsiteX881" fmla="*/ 1194 w 10000"/>
                <a:gd name="connsiteY881" fmla="*/ 9818 h 10000"/>
                <a:gd name="connsiteX882" fmla="*/ 1202 w 10000"/>
                <a:gd name="connsiteY882" fmla="*/ 9834 h 10000"/>
                <a:gd name="connsiteX883" fmla="*/ 1212 w 10000"/>
                <a:gd name="connsiteY883" fmla="*/ 9869 h 10000"/>
                <a:gd name="connsiteX884" fmla="*/ 1220 w 10000"/>
                <a:gd name="connsiteY884" fmla="*/ 9906 h 10000"/>
                <a:gd name="connsiteX885" fmla="*/ 1230 w 10000"/>
                <a:gd name="connsiteY885" fmla="*/ 9951 h 10000"/>
                <a:gd name="connsiteX886" fmla="*/ 1237 w 10000"/>
                <a:gd name="connsiteY886" fmla="*/ 10000 h 10000"/>
                <a:gd name="connsiteX887" fmla="*/ 1237 w 10000"/>
                <a:gd name="connsiteY88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412 w 10000"/>
                <a:gd name="connsiteY781" fmla="*/ 8247 h 10000"/>
                <a:gd name="connsiteX782" fmla="*/ 1149 w 10000"/>
                <a:gd name="connsiteY782" fmla="*/ 8256 h 10000"/>
                <a:gd name="connsiteX783" fmla="*/ 1139 w 10000"/>
                <a:gd name="connsiteY783" fmla="*/ 8249 h 10000"/>
                <a:gd name="connsiteX784" fmla="*/ 1126 w 10000"/>
                <a:gd name="connsiteY784" fmla="*/ 8240 h 10000"/>
                <a:gd name="connsiteX785" fmla="*/ 1114 w 10000"/>
                <a:gd name="connsiteY785" fmla="*/ 8240 h 10000"/>
                <a:gd name="connsiteX786" fmla="*/ 1091 w 10000"/>
                <a:gd name="connsiteY786" fmla="*/ 8242 h 10000"/>
                <a:gd name="connsiteX787" fmla="*/ 1071 w 10000"/>
                <a:gd name="connsiteY787" fmla="*/ 8252 h 10000"/>
                <a:gd name="connsiteX788" fmla="*/ 1048 w 10000"/>
                <a:gd name="connsiteY788" fmla="*/ 8261 h 10000"/>
                <a:gd name="connsiteX789" fmla="*/ 1030 w 10000"/>
                <a:gd name="connsiteY789" fmla="*/ 8273 h 10000"/>
                <a:gd name="connsiteX790" fmla="*/ 1010 w 10000"/>
                <a:gd name="connsiteY790" fmla="*/ 8287 h 10000"/>
                <a:gd name="connsiteX791" fmla="*/ 995 w 10000"/>
                <a:gd name="connsiteY791" fmla="*/ 8303 h 10000"/>
                <a:gd name="connsiteX792" fmla="*/ 975 w 10000"/>
                <a:gd name="connsiteY792" fmla="*/ 8322 h 10000"/>
                <a:gd name="connsiteX793" fmla="*/ 960 w 10000"/>
                <a:gd name="connsiteY793" fmla="*/ 8343 h 10000"/>
                <a:gd name="connsiteX794" fmla="*/ 927 w 10000"/>
                <a:gd name="connsiteY794" fmla="*/ 8380 h 10000"/>
                <a:gd name="connsiteX795" fmla="*/ 891 w 10000"/>
                <a:gd name="connsiteY795" fmla="*/ 8417 h 10000"/>
                <a:gd name="connsiteX796" fmla="*/ 874 w 10000"/>
                <a:gd name="connsiteY796" fmla="*/ 8436 h 10000"/>
                <a:gd name="connsiteX797" fmla="*/ 859 w 10000"/>
                <a:gd name="connsiteY797" fmla="*/ 8450 h 10000"/>
                <a:gd name="connsiteX798" fmla="*/ 838 w 10000"/>
                <a:gd name="connsiteY798" fmla="*/ 8462 h 10000"/>
                <a:gd name="connsiteX799" fmla="*/ 821 w 10000"/>
                <a:gd name="connsiteY799" fmla="*/ 8476 h 10000"/>
                <a:gd name="connsiteX800" fmla="*/ 742 w 10000"/>
                <a:gd name="connsiteY800" fmla="*/ 8562 h 10000"/>
                <a:gd name="connsiteX801" fmla="*/ 672 w 10000"/>
                <a:gd name="connsiteY801" fmla="*/ 8644 h 10000"/>
                <a:gd name="connsiteX802" fmla="*/ 639 w 10000"/>
                <a:gd name="connsiteY802" fmla="*/ 8684 h 10000"/>
                <a:gd name="connsiteX803" fmla="*/ 609 w 10000"/>
                <a:gd name="connsiteY803" fmla="*/ 8731 h 10000"/>
                <a:gd name="connsiteX804" fmla="*/ 583 w 10000"/>
                <a:gd name="connsiteY804" fmla="*/ 8777 h 10000"/>
                <a:gd name="connsiteX805" fmla="*/ 556 w 10000"/>
                <a:gd name="connsiteY805" fmla="*/ 8831 h 10000"/>
                <a:gd name="connsiteX806" fmla="*/ 545 w 10000"/>
                <a:gd name="connsiteY806" fmla="*/ 8852 h 10000"/>
                <a:gd name="connsiteX807" fmla="*/ 525 w 10000"/>
                <a:gd name="connsiteY807" fmla="*/ 8885 h 10000"/>
                <a:gd name="connsiteX808" fmla="*/ 503 w 10000"/>
                <a:gd name="connsiteY808" fmla="*/ 8925 h 10000"/>
                <a:gd name="connsiteX809" fmla="*/ 480 w 10000"/>
                <a:gd name="connsiteY809" fmla="*/ 8962 h 10000"/>
                <a:gd name="connsiteX810" fmla="*/ 465 w 10000"/>
                <a:gd name="connsiteY810" fmla="*/ 8981 h 10000"/>
                <a:gd name="connsiteX811" fmla="*/ 455 w 10000"/>
                <a:gd name="connsiteY811" fmla="*/ 8993 h 10000"/>
                <a:gd name="connsiteX812" fmla="*/ 444 w 10000"/>
                <a:gd name="connsiteY812" fmla="*/ 9000 h 10000"/>
                <a:gd name="connsiteX813" fmla="*/ 434 w 10000"/>
                <a:gd name="connsiteY813" fmla="*/ 9007 h 10000"/>
                <a:gd name="connsiteX814" fmla="*/ 432 w 10000"/>
                <a:gd name="connsiteY814" fmla="*/ 9007 h 10000"/>
                <a:gd name="connsiteX815" fmla="*/ 429 w 10000"/>
                <a:gd name="connsiteY815" fmla="*/ 9004 h 10000"/>
                <a:gd name="connsiteX816" fmla="*/ 427 w 10000"/>
                <a:gd name="connsiteY816" fmla="*/ 8997 h 10000"/>
                <a:gd name="connsiteX817" fmla="*/ 427 w 10000"/>
                <a:gd name="connsiteY817" fmla="*/ 8993 h 10000"/>
                <a:gd name="connsiteX818" fmla="*/ 424 w 10000"/>
                <a:gd name="connsiteY818" fmla="*/ 8976 h 10000"/>
                <a:gd name="connsiteX819" fmla="*/ 427 w 10000"/>
                <a:gd name="connsiteY819" fmla="*/ 8948 h 10000"/>
                <a:gd name="connsiteX820" fmla="*/ 437 w 10000"/>
                <a:gd name="connsiteY820" fmla="*/ 8913 h 10000"/>
                <a:gd name="connsiteX821" fmla="*/ 455 w 10000"/>
                <a:gd name="connsiteY821" fmla="*/ 8859 h 10000"/>
                <a:gd name="connsiteX822" fmla="*/ 462 w 10000"/>
                <a:gd name="connsiteY822" fmla="*/ 8834 h 10000"/>
                <a:gd name="connsiteX823" fmla="*/ 470 w 10000"/>
                <a:gd name="connsiteY823" fmla="*/ 8810 h 10000"/>
                <a:gd name="connsiteX824" fmla="*/ 472 w 10000"/>
                <a:gd name="connsiteY824" fmla="*/ 8794 h 10000"/>
                <a:gd name="connsiteX825" fmla="*/ 472 w 10000"/>
                <a:gd name="connsiteY825" fmla="*/ 8780 h 10000"/>
                <a:gd name="connsiteX826" fmla="*/ 462 w 10000"/>
                <a:gd name="connsiteY826" fmla="*/ 8784 h 10000"/>
                <a:gd name="connsiteX827" fmla="*/ 452 w 10000"/>
                <a:gd name="connsiteY827" fmla="*/ 8787 h 10000"/>
                <a:gd name="connsiteX828" fmla="*/ 437 w 10000"/>
                <a:gd name="connsiteY828" fmla="*/ 8794 h 10000"/>
                <a:gd name="connsiteX829" fmla="*/ 424 w 10000"/>
                <a:gd name="connsiteY829" fmla="*/ 8803 h 10000"/>
                <a:gd name="connsiteX830" fmla="*/ 394 w 10000"/>
                <a:gd name="connsiteY830" fmla="*/ 8829 h 10000"/>
                <a:gd name="connsiteX831" fmla="*/ 364 w 10000"/>
                <a:gd name="connsiteY831" fmla="*/ 8859 h 10000"/>
                <a:gd name="connsiteX832" fmla="*/ 311 w 10000"/>
                <a:gd name="connsiteY832" fmla="*/ 8922 h 10000"/>
                <a:gd name="connsiteX833" fmla="*/ 268 w 10000"/>
                <a:gd name="connsiteY833" fmla="*/ 8964 h 10000"/>
                <a:gd name="connsiteX834" fmla="*/ 205 w 10000"/>
                <a:gd name="connsiteY834" fmla="*/ 9016 h 10000"/>
                <a:gd name="connsiteX835" fmla="*/ 146 w 10000"/>
                <a:gd name="connsiteY835" fmla="*/ 9053 h 10000"/>
                <a:gd name="connsiteX836" fmla="*/ 139 w 10000"/>
                <a:gd name="connsiteY836" fmla="*/ 9063 h 10000"/>
                <a:gd name="connsiteX837" fmla="*/ 129 w 10000"/>
                <a:gd name="connsiteY837" fmla="*/ 9077 h 10000"/>
                <a:gd name="connsiteX838" fmla="*/ 126 w 10000"/>
                <a:gd name="connsiteY838" fmla="*/ 9086 h 10000"/>
                <a:gd name="connsiteX839" fmla="*/ 126 w 10000"/>
                <a:gd name="connsiteY839" fmla="*/ 9102 h 10000"/>
                <a:gd name="connsiteX840" fmla="*/ 129 w 10000"/>
                <a:gd name="connsiteY840" fmla="*/ 9116 h 10000"/>
                <a:gd name="connsiteX841" fmla="*/ 139 w 10000"/>
                <a:gd name="connsiteY841" fmla="*/ 9135 h 10000"/>
                <a:gd name="connsiteX842" fmla="*/ 149 w 10000"/>
                <a:gd name="connsiteY842" fmla="*/ 9151 h 10000"/>
                <a:gd name="connsiteX843" fmla="*/ 164 w 10000"/>
                <a:gd name="connsiteY843" fmla="*/ 9175 h 10000"/>
                <a:gd name="connsiteX844" fmla="*/ 184 w 10000"/>
                <a:gd name="connsiteY844" fmla="*/ 9196 h 10000"/>
                <a:gd name="connsiteX845" fmla="*/ 207 w 10000"/>
                <a:gd name="connsiteY845" fmla="*/ 9215 h 10000"/>
                <a:gd name="connsiteX846" fmla="*/ 227 w 10000"/>
                <a:gd name="connsiteY846" fmla="*/ 9233 h 10000"/>
                <a:gd name="connsiteX847" fmla="*/ 253 w 10000"/>
                <a:gd name="connsiteY847" fmla="*/ 9250 h 10000"/>
                <a:gd name="connsiteX848" fmla="*/ 303 w 10000"/>
                <a:gd name="connsiteY848" fmla="*/ 9282 h 10000"/>
                <a:gd name="connsiteX849" fmla="*/ 351 w 10000"/>
                <a:gd name="connsiteY849" fmla="*/ 9315 h 10000"/>
                <a:gd name="connsiteX850" fmla="*/ 414 w 10000"/>
                <a:gd name="connsiteY850" fmla="*/ 9364 h 10000"/>
                <a:gd name="connsiteX851" fmla="*/ 480 w 10000"/>
                <a:gd name="connsiteY851" fmla="*/ 9416 h 10000"/>
                <a:gd name="connsiteX852" fmla="*/ 513 w 10000"/>
                <a:gd name="connsiteY852" fmla="*/ 9437 h 10000"/>
                <a:gd name="connsiteX853" fmla="*/ 548 w 10000"/>
                <a:gd name="connsiteY853" fmla="*/ 9462 h 10000"/>
                <a:gd name="connsiteX854" fmla="*/ 581 w 10000"/>
                <a:gd name="connsiteY854" fmla="*/ 9483 h 10000"/>
                <a:gd name="connsiteX855" fmla="*/ 614 w 10000"/>
                <a:gd name="connsiteY855" fmla="*/ 9502 h 10000"/>
                <a:gd name="connsiteX856" fmla="*/ 641 w 10000"/>
                <a:gd name="connsiteY856" fmla="*/ 9525 h 10000"/>
                <a:gd name="connsiteX857" fmla="*/ 672 w 10000"/>
                <a:gd name="connsiteY857" fmla="*/ 9549 h 10000"/>
                <a:gd name="connsiteX858" fmla="*/ 702 w 10000"/>
                <a:gd name="connsiteY858" fmla="*/ 9568 h 10000"/>
                <a:gd name="connsiteX859" fmla="*/ 737 w 10000"/>
                <a:gd name="connsiteY859" fmla="*/ 9589 h 10000"/>
                <a:gd name="connsiteX860" fmla="*/ 770 w 10000"/>
                <a:gd name="connsiteY860" fmla="*/ 9605 h 10000"/>
                <a:gd name="connsiteX861" fmla="*/ 808 w 10000"/>
                <a:gd name="connsiteY861" fmla="*/ 9617 h 10000"/>
                <a:gd name="connsiteX862" fmla="*/ 843 w 10000"/>
                <a:gd name="connsiteY862" fmla="*/ 9624 h 10000"/>
                <a:gd name="connsiteX863" fmla="*/ 884 w 10000"/>
                <a:gd name="connsiteY863" fmla="*/ 9628 h 10000"/>
                <a:gd name="connsiteX864" fmla="*/ 902 w 10000"/>
                <a:gd name="connsiteY864" fmla="*/ 9628 h 10000"/>
                <a:gd name="connsiteX865" fmla="*/ 914 w 10000"/>
                <a:gd name="connsiteY865" fmla="*/ 9631 h 10000"/>
                <a:gd name="connsiteX866" fmla="*/ 932 w 10000"/>
                <a:gd name="connsiteY866" fmla="*/ 9638 h 10000"/>
                <a:gd name="connsiteX867" fmla="*/ 942 w 10000"/>
                <a:gd name="connsiteY867" fmla="*/ 9642 h 10000"/>
                <a:gd name="connsiteX868" fmla="*/ 967 w 10000"/>
                <a:gd name="connsiteY868" fmla="*/ 9652 h 10000"/>
                <a:gd name="connsiteX869" fmla="*/ 987 w 10000"/>
                <a:gd name="connsiteY869" fmla="*/ 9668 h 10000"/>
                <a:gd name="connsiteX870" fmla="*/ 1005 w 10000"/>
                <a:gd name="connsiteY870" fmla="*/ 9682 h 10000"/>
                <a:gd name="connsiteX871" fmla="*/ 1025 w 10000"/>
                <a:gd name="connsiteY871" fmla="*/ 9698 h 10000"/>
                <a:gd name="connsiteX872" fmla="*/ 1045 w 10000"/>
                <a:gd name="connsiteY872" fmla="*/ 9712 h 10000"/>
                <a:gd name="connsiteX873" fmla="*/ 1073 w 10000"/>
                <a:gd name="connsiteY873" fmla="*/ 9724 h 10000"/>
                <a:gd name="connsiteX874" fmla="*/ 1098 w 10000"/>
                <a:gd name="connsiteY874" fmla="*/ 9738 h 10000"/>
                <a:gd name="connsiteX875" fmla="*/ 1121 w 10000"/>
                <a:gd name="connsiteY875" fmla="*/ 9750 h 10000"/>
                <a:gd name="connsiteX876" fmla="*/ 1141 w 10000"/>
                <a:gd name="connsiteY876" fmla="*/ 9762 h 10000"/>
                <a:gd name="connsiteX877" fmla="*/ 1159 w 10000"/>
                <a:gd name="connsiteY877" fmla="*/ 9776 h 10000"/>
                <a:gd name="connsiteX878" fmla="*/ 1172 w 10000"/>
                <a:gd name="connsiteY878" fmla="*/ 9787 h 10000"/>
                <a:gd name="connsiteX879" fmla="*/ 1182 w 10000"/>
                <a:gd name="connsiteY879" fmla="*/ 9804 h 10000"/>
                <a:gd name="connsiteX880" fmla="*/ 1194 w 10000"/>
                <a:gd name="connsiteY880" fmla="*/ 9818 h 10000"/>
                <a:gd name="connsiteX881" fmla="*/ 1202 w 10000"/>
                <a:gd name="connsiteY881" fmla="*/ 9834 h 10000"/>
                <a:gd name="connsiteX882" fmla="*/ 1212 w 10000"/>
                <a:gd name="connsiteY882" fmla="*/ 9869 h 10000"/>
                <a:gd name="connsiteX883" fmla="*/ 1220 w 10000"/>
                <a:gd name="connsiteY883" fmla="*/ 9906 h 10000"/>
                <a:gd name="connsiteX884" fmla="*/ 1230 w 10000"/>
                <a:gd name="connsiteY884" fmla="*/ 9951 h 10000"/>
                <a:gd name="connsiteX885" fmla="*/ 1237 w 10000"/>
                <a:gd name="connsiteY885" fmla="*/ 10000 h 10000"/>
                <a:gd name="connsiteX886" fmla="*/ 1237 w 10000"/>
                <a:gd name="connsiteY88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419 w 10000"/>
                <a:gd name="connsiteY780" fmla="*/ 8233 h 10000"/>
                <a:gd name="connsiteX781" fmla="*/ 1149 w 10000"/>
                <a:gd name="connsiteY781" fmla="*/ 8256 h 10000"/>
                <a:gd name="connsiteX782" fmla="*/ 1139 w 10000"/>
                <a:gd name="connsiteY782" fmla="*/ 8249 h 10000"/>
                <a:gd name="connsiteX783" fmla="*/ 1126 w 10000"/>
                <a:gd name="connsiteY783" fmla="*/ 8240 h 10000"/>
                <a:gd name="connsiteX784" fmla="*/ 1114 w 10000"/>
                <a:gd name="connsiteY784" fmla="*/ 8240 h 10000"/>
                <a:gd name="connsiteX785" fmla="*/ 1091 w 10000"/>
                <a:gd name="connsiteY785" fmla="*/ 8242 h 10000"/>
                <a:gd name="connsiteX786" fmla="*/ 1071 w 10000"/>
                <a:gd name="connsiteY786" fmla="*/ 8252 h 10000"/>
                <a:gd name="connsiteX787" fmla="*/ 1048 w 10000"/>
                <a:gd name="connsiteY787" fmla="*/ 8261 h 10000"/>
                <a:gd name="connsiteX788" fmla="*/ 1030 w 10000"/>
                <a:gd name="connsiteY788" fmla="*/ 8273 h 10000"/>
                <a:gd name="connsiteX789" fmla="*/ 1010 w 10000"/>
                <a:gd name="connsiteY789" fmla="*/ 8287 h 10000"/>
                <a:gd name="connsiteX790" fmla="*/ 995 w 10000"/>
                <a:gd name="connsiteY790" fmla="*/ 8303 h 10000"/>
                <a:gd name="connsiteX791" fmla="*/ 975 w 10000"/>
                <a:gd name="connsiteY791" fmla="*/ 8322 h 10000"/>
                <a:gd name="connsiteX792" fmla="*/ 960 w 10000"/>
                <a:gd name="connsiteY792" fmla="*/ 8343 h 10000"/>
                <a:gd name="connsiteX793" fmla="*/ 927 w 10000"/>
                <a:gd name="connsiteY793" fmla="*/ 8380 h 10000"/>
                <a:gd name="connsiteX794" fmla="*/ 891 w 10000"/>
                <a:gd name="connsiteY794" fmla="*/ 8417 h 10000"/>
                <a:gd name="connsiteX795" fmla="*/ 874 w 10000"/>
                <a:gd name="connsiteY795" fmla="*/ 8436 h 10000"/>
                <a:gd name="connsiteX796" fmla="*/ 859 w 10000"/>
                <a:gd name="connsiteY796" fmla="*/ 8450 h 10000"/>
                <a:gd name="connsiteX797" fmla="*/ 838 w 10000"/>
                <a:gd name="connsiteY797" fmla="*/ 8462 h 10000"/>
                <a:gd name="connsiteX798" fmla="*/ 821 w 10000"/>
                <a:gd name="connsiteY798" fmla="*/ 8476 h 10000"/>
                <a:gd name="connsiteX799" fmla="*/ 742 w 10000"/>
                <a:gd name="connsiteY799" fmla="*/ 8562 h 10000"/>
                <a:gd name="connsiteX800" fmla="*/ 672 w 10000"/>
                <a:gd name="connsiteY800" fmla="*/ 8644 h 10000"/>
                <a:gd name="connsiteX801" fmla="*/ 639 w 10000"/>
                <a:gd name="connsiteY801" fmla="*/ 8684 h 10000"/>
                <a:gd name="connsiteX802" fmla="*/ 609 w 10000"/>
                <a:gd name="connsiteY802" fmla="*/ 8731 h 10000"/>
                <a:gd name="connsiteX803" fmla="*/ 583 w 10000"/>
                <a:gd name="connsiteY803" fmla="*/ 8777 h 10000"/>
                <a:gd name="connsiteX804" fmla="*/ 556 w 10000"/>
                <a:gd name="connsiteY804" fmla="*/ 8831 h 10000"/>
                <a:gd name="connsiteX805" fmla="*/ 545 w 10000"/>
                <a:gd name="connsiteY805" fmla="*/ 8852 h 10000"/>
                <a:gd name="connsiteX806" fmla="*/ 525 w 10000"/>
                <a:gd name="connsiteY806" fmla="*/ 8885 h 10000"/>
                <a:gd name="connsiteX807" fmla="*/ 503 w 10000"/>
                <a:gd name="connsiteY807" fmla="*/ 8925 h 10000"/>
                <a:gd name="connsiteX808" fmla="*/ 480 w 10000"/>
                <a:gd name="connsiteY808" fmla="*/ 8962 h 10000"/>
                <a:gd name="connsiteX809" fmla="*/ 465 w 10000"/>
                <a:gd name="connsiteY809" fmla="*/ 8981 h 10000"/>
                <a:gd name="connsiteX810" fmla="*/ 455 w 10000"/>
                <a:gd name="connsiteY810" fmla="*/ 8993 h 10000"/>
                <a:gd name="connsiteX811" fmla="*/ 444 w 10000"/>
                <a:gd name="connsiteY811" fmla="*/ 9000 h 10000"/>
                <a:gd name="connsiteX812" fmla="*/ 434 w 10000"/>
                <a:gd name="connsiteY812" fmla="*/ 9007 h 10000"/>
                <a:gd name="connsiteX813" fmla="*/ 432 w 10000"/>
                <a:gd name="connsiteY813" fmla="*/ 9007 h 10000"/>
                <a:gd name="connsiteX814" fmla="*/ 429 w 10000"/>
                <a:gd name="connsiteY814" fmla="*/ 9004 h 10000"/>
                <a:gd name="connsiteX815" fmla="*/ 427 w 10000"/>
                <a:gd name="connsiteY815" fmla="*/ 8997 h 10000"/>
                <a:gd name="connsiteX816" fmla="*/ 427 w 10000"/>
                <a:gd name="connsiteY816" fmla="*/ 8993 h 10000"/>
                <a:gd name="connsiteX817" fmla="*/ 424 w 10000"/>
                <a:gd name="connsiteY817" fmla="*/ 8976 h 10000"/>
                <a:gd name="connsiteX818" fmla="*/ 427 w 10000"/>
                <a:gd name="connsiteY818" fmla="*/ 8948 h 10000"/>
                <a:gd name="connsiteX819" fmla="*/ 437 w 10000"/>
                <a:gd name="connsiteY819" fmla="*/ 8913 h 10000"/>
                <a:gd name="connsiteX820" fmla="*/ 455 w 10000"/>
                <a:gd name="connsiteY820" fmla="*/ 8859 h 10000"/>
                <a:gd name="connsiteX821" fmla="*/ 462 w 10000"/>
                <a:gd name="connsiteY821" fmla="*/ 8834 h 10000"/>
                <a:gd name="connsiteX822" fmla="*/ 470 w 10000"/>
                <a:gd name="connsiteY822" fmla="*/ 8810 h 10000"/>
                <a:gd name="connsiteX823" fmla="*/ 472 w 10000"/>
                <a:gd name="connsiteY823" fmla="*/ 8794 h 10000"/>
                <a:gd name="connsiteX824" fmla="*/ 472 w 10000"/>
                <a:gd name="connsiteY824" fmla="*/ 8780 h 10000"/>
                <a:gd name="connsiteX825" fmla="*/ 462 w 10000"/>
                <a:gd name="connsiteY825" fmla="*/ 8784 h 10000"/>
                <a:gd name="connsiteX826" fmla="*/ 452 w 10000"/>
                <a:gd name="connsiteY826" fmla="*/ 8787 h 10000"/>
                <a:gd name="connsiteX827" fmla="*/ 437 w 10000"/>
                <a:gd name="connsiteY827" fmla="*/ 8794 h 10000"/>
                <a:gd name="connsiteX828" fmla="*/ 424 w 10000"/>
                <a:gd name="connsiteY828" fmla="*/ 8803 h 10000"/>
                <a:gd name="connsiteX829" fmla="*/ 394 w 10000"/>
                <a:gd name="connsiteY829" fmla="*/ 8829 h 10000"/>
                <a:gd name="connsiteX830" fmla="*/ 364 w 10000"/>
                <a:gd name="connsiteY830" fmla="*/ 8859 h 10000"/>
                <a:gd name="connsiteX831" fmla="*/ 311 w 10000"/>
                <a:gd name="connsiteY831" fmla="*/ 8922 h 10000"/>
                <a:gd name="connsiteX832" fmla="*/ 268 w 10000"/>
                <a:gd name="connsiteY832" fmla="*/ 8964 h 10000"/>
                <a:gd name="connsiteX833" fmla="*/ 205 w 10000"/>
                <a:gd name="connsiteY833" fmla="*/ 9016 h 10000"/>
                <a:gd name="connsiteX834" fmla="*/ 146 w 10000"/>
                <a:gd name="connsiteY834" fmla="*/ 9053 h 10000"/>
                <a:gd name="connsiteX835" fmla="*/ 139 w 10000"/>
                <a:gd name="connsiteY835" fmla="*/ 9063 h 10000"/>
                <a:gd name="connsiteX836" fmla="*/ 129 w 10000"/>
                <a:gd name="connsiteY836" fmla="*/ 9077 h 10000"/>
                <a:gd name="connsiteX837" fmla="*/ 126 w 10000"/>
                <a:gd name="connsiteY837" fmla="*/ 9086 h 10000"/>
                <a:gd name="connsiteX838" fmla="*/ 126 w 10000"/>
                <a:gd name="connsiteY838" fmla="*/ 9102 h 10000"/>
                <a:gd name="connsiteX839" fmla="*/ 129 w 10000"/>
                <a:gd name="connsiteY839" fmla="*/ 9116 h 10000"/>
                <a:gd name="connsiteX840" fmla="*/ 139 w 10000"/>
                <a:gd name="connsiteY840" fmla="*/ 9135 h 10000"/>
                <a:gd name="connsiteX841" fmla="*/ 149 w 10000"/>
                <a:gd name="connsiteY841" fmla="*/ 9151 h 10000"/>
                <a:gd name="connsiteX842" fmla="*/ 164 w 10000"/>
                <a:gd name="connsiteY842" fmla="*/ 9175 h 10000"/>
                <a:gd name="connsiteX843" fmla="*/ 184 w 10000"/>
                <a:gd name="connsiteY843" fmla="*/ 9196 h 10000"/>
                <a:gd name="connsiteX844" fmla="*/ 207 w 10000"/>
                <a:gd name="connsiteY844" fmla="*/ 9215 h 10000"/>
                <a:gd name="connsiteX845" fmla="*/ 227 w 10000"/>
                <a:gd name="connsiteY845" fmla="*/ 9233 h 10000"/>
                <a:gd name="connsiteX846" fmla="*/ 253 w 10000"/>
                <a:gd name="connsiteY846" fmla="*/ 9250 h 10000"/>
                <a:gd name="connsiteX847" fmla="*/ 303 w 10000"/>
                <a:gd name="connsiteY847" fmla="*/ 9282 h 10000"/>
                <a:gd name="connsiteX848" fmla="*/ 351 w 10000"/>
                <a:gd name="connsiteY848" fmla="*/ 9315 h 10000"/>
                <a:gd name="connsiteX849" fmla="*/ 414 w 10000"/>
                <a:gd name="connsiteY849" fmla="*/ 9364 h 10000"/>
                <a:gd name="connsiteX850" fmla="*/ 480 w 10000"/>
                <a:gd name="connsiteY850" fmla="*/ 9416 h 10000"/>
                <a:gd name="connsiteX851" fmla="*/ 513 w 10000"/>
                <a:gd name="connsiteY851" fmla="*/ 9437 h 10000"/>
                <a:gd name="connsiteX852" fmla="*/ 548 w 10000"/>
                <a:gd name="connsiteY852" fmla="*/ 9462 h 10000"/>
                <a:gd name="connsiteX853" fmla="*/ 581 w 10000"/>
                <a:gd name="connsiteY853" fmla="*/ 9483 h 10000"/>
                <a:gd name="connsiteX854" fmla="*/ 614 w 10000"/>
                <a:gd name="connsiteY854" fmla="*/ 9502 h 10000"/>
                <a:gd name="connsiteX855" fmla="*/ 641 w 10000"/>
                <a:gd name="connsiteY855" fmla="*/ 9525 h 10000"/>
                <a:gd name="connsiteX856" fmla="*/ 672 w 10000"/>
                <a:gd name="connsiteY856" fmla="*/ 9549 h 10000"/>
                <a:gd name="connsiteX857" fmla="*/ 702 w 10000"/>
                <a:gd name="connsiteY857" fmla="*/ 9568 h 10000"/>
                <a:gd name="connsiteX858" fmla="*/ 737 w 10000"/>
                <a:gd name="connsiteY858" fmla="*/ 9589 h 10000"/>
                <a:gd name="connsiteX859" fmla="*/ 770 w 10000"/>
                <a:gd name="connsiteY859" fmla="*/ 9605 h 10000"/>
                <a:gd name="connsiteX860" fmla="*/ 808 w 10000"/>
                <a:gd name="connsiteY860" fmla="*/ 9617 h 10000"/>
                <a:gd name="connsiteX861" fmla="*/ 843 w 10000"/>
                <a:gd name="connsiteY861" fmla="*/ 9624 h 10000"/>
                <a:gd name="connsiteX862" fmla="*/ 884 w 10000"/>
                <a:gd name="connsiteY862" fmla="*/ 9628 h 10000"/>
                <a:gd name="connsiteX863" fmla="*/ 902 w 10000"/>
                <a:gd name="connsiteY863" fmla="*/ 9628 h 10000"/>
                <a:gd name="connsiteX864" fmla="*/ 914 w 10000"/>
                <a:gd name="connsiteY864" fmla="*/ 9631 h 10000"/>
                <a:gd name="connsiteX865" fmla="*/ 932 w 10000"/>
                <a:gd name="connsiteY865" fmla="*/ 9638 h 10000"/>
                <a:gd name="connsiteX866" fmla="*/ 942 w 10000"/>
                <a:gd name="connsiteY866" fmla="*/ 9642 h 10000"/>
                <a:gd name="connsiteX867" fmla="*/ 967 w 10000"/>
                <a:gd name="connsiteY867" fmla="*/ 9652 h 10000"/>
                <a:gd name="connsiteX868" fmla="*/ 987 w 10000"/>
                <a:gd name="connsiteY868" fmla="*/ 9668 h 10000"/>
                <a:gd name="connsiteX869" fmla="*/ 1005 w 10000"/>
                <a:gd name="connsiteY869" fmla="*/ 9682 h 10000"/>
                <a:gd name="connsiteX870" fmla="*/ 1025 w 10000"/>
                <a:gd name="connsiteY870" fmla="*/ 9698 h 10000"/>
                <a:gd name="connsiteX871" fmla="*/ 1045 w 10000"/>
                <a:gd name="connsiteY871" fmla="*/ 9712 h 10000"/>
                <a:gd name="connsiteX872" fmla="*/ 1073 w 10000"/>
                <a:gd name="connsiteY872" fmla="*/ 9724 h 10000"/>
                <a:gd name="connsiteX873" fmla="*/ 1098 w 10000"/>
                <a:gd name="connsiteY873" fmla="*/ 9738 h 10000"/>
                <a:gd name="connsiteX874" fmla="*/ 1121 w 10000"/>
                <a:gd name="connsiteY874" fmla="*/ 9750 h 10000"/>
                <a:gd name="connsiteX875" fmla="*/ 1141 w 10000"/>
                <a:gd name="connsiteY875" fmla="*/ 9762 h 10000"/>
                <a:gd name="connsiteX876" fmla="*/ 1159 w 10000"/>
                <a:gd name="connsiteY876" fmla="*/ 9776 h 10000"/>
                <a:gd name="connsiteX877" fmla="*/ 1172 w 10000"/>
                <a:gd name="connsiteY877" fmla="*/ 9787 h 10000"/>
                <a:gd name="connsiteX878" fmla="*/ 1182 w 10000"/>
                <a:gd name="connsiteY878" fmla="*/ 9804 h 10000"/>
                <a:gd name="connsiteX879" fmla="*/ 1194 w 10000"/>
                <a:gd name="connsiteY879" fmla="*/ 9818 h 10000"/>
                <a:gd name="connsiteX880" fmla="*/ 1202 w 10000"/>
                <a:gd name="connsiteY880" fmla="*/ 9834 h 10000"/>
                <a:gd name="connsiteX881" fmla="*/ 1212 w 10000"/>
                <a:gd name="connsiteY881" fmla="*/ 9869 h 10000"/>
                <a:gd name="connsiteX882" fmla="*/ 1220 w 10000"/>
                <a:gd name="connsiteY882" fmla="*/ 9906 h 10000"/>
                <a:gd name="connsiteX883" fmla="*/ 1230 w 10000"/>
                <a:gd name="connsiteY883" fmla="*/ 9951 h 10000"/>
                <a:gd name="connsiteX884" fmla="*/ 1237 w 10000"/>
                <a:gd name="connsiteY884" fmla="*/ 10000 h 10000"/>
                <a:gd name="connsiteX885" fmla="*/ 1237 w 10000"/>
                <a:gd name="connsiteY88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57 w 10000"/>
                <a:gd name="connsiteY778" fmla="*/ 8205 h 10000"/>
                <a:gd name="connsiteX779" fmla="*/ 1434 w 10000"/>
                <a:gd name="connsiteY779" fmla="*/ 8223 h 10000"/>
                <a:gd name="connsiteX780" fmla="*/ 1149 w 10000"/>
                <a:gd name="connsiteY780" fmla="*/ 8256 h 10000"/>
                <a:gd name="connsiteX781" fmla="*/ 1139 w 10000"/>
                <a:gd name="connsiteY781" fmla="*/ 8249 h 10000"/>
                <a:gd name="connsiteX782" fmla="*/ 1126 w 10000"/>
                <a:gd name="connsiteY782" fmla="*/ 8240 h 10000"/>
                <a:gd name="connsiteX783" fmla="*/ 1114 w 10000"/>
                <a:gd name="connsiteY783" fmla="*/ 8240 h 10000"/>
                <a:gd name="connsiteX784" fmla="*/ 1091 w 10000"/>
                <a:gd name="connsiteY784" fmla="*/ 8242 h 10000"/>
                <a:gd name="connsiteX785" fmla="*/ 1071 w 10000"/>
                <a:gd name="connsiteY785" fmla="*/ 8252 h 10000"/>
                <a:gd name="connsiteX786" fmla="*/ 1048 w 10000"/>
                <a:gd name="connsiteY786" fmla="*/ 8261 h 10000"/>
                <a:gd name="connsiteX787" fmla="*/ 1030 w 10000"/>
                <a:gd name="connsiteY787" fmla="*/ 8273 h 10000"/>
                <a:gd name="connsiteX788" fmla="*/ 1010 w 10000"/>
                <a:gd name="connsiteY788" fmla="*/ 8287 h 10000"/>
                <a:gd name="connsiteX789" fmla="*/ 995 w 10000"/>
                <a:gd name="connsiteY789" fmla="*/ 8303 h 10000"/>
                <a:gd name="connsiteX790" fmla="*/ 975 w 10000"/>
                <a:gd name="connsiteY790" fmla="*/ 8322 h 10000"/>
                <a:gd name="connsiteX791" fmla="*/ 960 w 10000"/>
                <a:gd name="connsiteY791" fmla="*/ 8343 h 10000"/>
                <a:gd name="connsiteX792" fmla="*/ 927 w 10000"/>
                <a:gd name="connsiteY792" fmla="*/ 8380 h 10000"/>
                <a:gd name="connsiteX793" fmla="*/ 891 w 10000"/>
                <a:gd name="connsiteY793" fmla="*/ 8417 h 10000"/>
                <a:gd name="connsiteX794" fmla="*/ 874 w 10000"/>
                <a:gd name="connsiteY794" fmla="*/ 8436 h 10000"/>
                <a:gd name="connsiteX795" fmla="*/ 859 w 10000"/>
                <a:gd name="connsiteY795" fmla="*/ 8450 h 10000"/>
                <a:gd name="connsiteX796" fmla="*/ 838 w 10000"/>
                <a:gd name="connsiteY796" fmla="*/ 8462 h 10000"/>
                <a:gd name="connsiteX797" fmla="*/ 821 w 10000"/>
                <a:gd name="connsiteY797" fmla="*/ 8476 h 10000"/>
                <a:gd name="connsiteX798" fmla="*/ 742 w 10000"/>
                <a:gd name="connsiteY798" fmla="*/ 8562 h 10000"/>
                <a:gd name="connsiteX799" fmla="*/ 672 w 10000"/>
                <a:gd name="connsiteY799" fmla="*/ 8644 h 10000"/>
                <a:gd name="connsiteX800" fmla="*/ 639 w 10000"/>
                <a:gd name="connsiteY800" fmla="*/ 8684 h 10000"/>
                <a:gd name="connsiteX801" fmla="*/ 609 w 10000"/>
                <a:gd name="connsiteY801" fmla="*/ 8731 h 10000"/>
                <a:gd name="connsiteX802" fmla="*/ 583 w 10000"/>
                <a:gd name="connsiteY802" fmla="*/ 8777 h 10000"/>
                <a:gd name="connsiteX803" fmla="*/ 556 w 10000"/>
                <a:gd name="connsiteY803" fmla="*/ 8831 h 10000"/>
                <a:gd name="connsiteX804" fmla="*/ 545 w 10000"/>
                <a:gd name="connsiteY804" fmla="*/ 8852 h 10000"/>
                <a:gd name="connsiteX805" fmla="*/ 525 w 10000"/>
                <a:gd name="connsiteY805" fmla="*/ 8885 h 10000"/>
                <a:gd name="connsiteX806" fmla="*/ 503 w 10000"/>
                <a:gd name="connsiteY806" fmla="*/ 8925 h 10000"/>
                <a:gd name="connsiteX807" fmla="*/ 480 w 10000"/>
                <a:gd name="connsiteY807" fmla="*/ 8962 h 10000"/>
                <a:gd name="connsiteX808" fmla="*/ 465 w 10000"/>
                <a:gd name="connsiteY808" fmla="*/ 8981 h 10000"/>
                <a:gd name="connsiteX809" fmla="*/ 455 w 10000"/>
                <a:gd name="connsiteY809" fmla="*/ 8993 h 10000"/>
                <a:gd name="connsiteX810" fmla="*/ 444 w 10000"/>
                <a:gd name="connsiteY810" fmla="*/ 9000 h 10000"/>
                <a:gd name="connsiteX811" fmla="*/ 434 w 10000"/>
                <a:gd name="connsiteY811" fmla="*/ 9007 h 10000"/>
                <a:gd name="connsiteX812" fmla="*/ 432 w 10000"/>
                <a:gd name="connsiteY812" fmla="*/ 9007 h 10000"/>
                <a:gd name="connsiteX813" fmla="*/ 429 w 10000"/>
                <a:gd name="connsiteY813" fmla="*/ 9004 h 10000"/>
                <a:gd name="connsiteX814" fmla="*/ 427 w 10000"/>
                <a:gd name="connsiteY814" fmla="*/ 8997 h 10000"/>
                <a:gd name="connsiteX815" fmla="*/ 427 w 10000"/>
                <a:gd name="connsiteY815" fmla="*/ 8993 h 10000"/>
                <a:gd name="connsiteX816" fmla="*/ 424 w 10000"/>
                <a:gd name="connsiteY816" fmla="*/ 8976 h 10000"/>
                <a:gd name="connsiteX817" fmla="*/ 427 w 10000"/>
                <a:gd name="connsiteY817" fmla="*/ 8948 h 10000"/>
                <a:gd name="connsiteX818" fmla="*/ 437 w 10000"/>
                <a:gd name="connsiteY818" fmla="*/ 8913 h 10000"/>
                <a:gd name="connsiteX819" fmla="*/ 455 w 10000"/>
                <a:gd name="connsiteY819" fmla="*/ 8859 h 10000"/>
                <a:gd name="connsiteX820" fmla="*/ 462 w 10000"/>
                <a:gd name="connsiteY820" fmla="*/ 8834 h 10000"/>
                <a:gd name="connsiteX821" fmla="*/ 470 w 10000"/>
                <a:gd name="connsiteY821" fmla="*/ 8810 h 10000"/>
                <a:gd name="connsiteX822" fmla="*/ 472 w 10000"/>
                <a:gd name="connsiteY822" fmla="*/ 8794 h 10000"/>
                <a:gd name="connsiteX823" fmla="*/ 472 w 10000"/>
                <a:gd name="connsiteY823" fmla="*/ 8780 h 10000"/>
                <a:gd name="connsiteX824" fmla="*/ 462 w 10000"/>
                <a:gd name="connsiteY824" fmla="*/ 8784 h 10000"/>
                <a:gd name="connsiteX825" fmla="*/ 452 w 10000"/>
                <a:gd name="connsiteY825" fmla="*/ 8787 h 10000"/>
                <a:gd name="connsiteX826" fmla="*/ 437 w 10000"/>
                <a:gd name="connsiteY826" fmla="*/ 8794 h 10000"/>
                <a:gd name="connsiteX827" fmla="*/ 424 w 10000"/>
                <a:gd name="connsiteY827" fmla="*/ 8803 h 10000"/>
                <a:gd name="connsiteX828" fmla="*/ 394 w 10000"/>
                <a:gd name="connsiteY828" fmla="*/ 8829 h 10000"/>
                <a:gd name="connsiteX829" fmla="*/ 364 w 10000"/>
                <a:gd name="connsiteY829" fmla="*/ 8859 h 10000"/>
                <a:gd name="connsiteX830" fmla="*/ 311 w 10000"/>
                <a:gd name="connsiteY830" fmla="*/ 8922 h 10000"/>
                <a:gd name="connsiteX831" fmla="*/ 268 w 10000"/>
                <a:gd name="connsiteY831" fmla="*/ 8964 h 10000"/>
                <a:gd name="connsiteX832" fmla="*/ 205 w 10000"/>
                <a:gd name="connsiteY832" fmla="*/ 9016 h 10000"/>
                <a:gd name="connsiteX833" fmla="*/ 146 w 10000"/>
                <a:gd name="connsiteY833" fmla="*/ 9053 h 10000"/>
                <a:gd name="connsiteX834" fmla="*/ 139 w 10000"/>
                <a:gd name="connsiteY834" fmla="*/ 9063 h 10000"/>
                <a:gd name="connsiteX835" fmla="*/ 129 w 10000"/>
                <a:gd name="connsiteY835" fmla="*/ 9077 h 10000"/>
                <a:gd name="connsiteX836" fmla="*/ 126 w 10000"/>
                <a:gd name="connsiteY836" fmla="*/ 9086 h 10000"/>
                <a:gd name="connsiteX837" fmla="*/ 126 w 10000"/>
                <a:gd name="connsiteY837" fmla="*/ 9102 h 10000"/>
                <a:gd name="connsiteX838" fmla="*/ 129 w 10000"/>
                <a:gd name="connsiteY838" fmla="*/ 9116 h 10000"/>
                <a:gd name="connsiteX839" fmla="*/ 139 w 10000"/>
                <a:gd name="connsiteY839" fmla="*/ 9135 h 10000"/>
                <a:gd name="connsiteX840" fmla="*/ 149 w 10000"/>
                <a:gd name="connsiteY840" fmla="*/ 9151 h 10000"/>
                <a:gd name="connsiteX841" fmla="*/ 164 w 10000"/>
                <a:gd name="connsiteY841" fmla="*/ 9175 h 10000"/>
                <a:gd name="connsiteX842" fmla="*/ 184 w 10000"/>
                <a:gd name="connsiteY842" fmla="*/ 9196 h 10000"/>
                <a:gd name="connsiteX843" fmla="*/ 207 w 10000"/>
                <a:gd name="connsiteY843" fmla="*/ 9215 h 10000"/>
                <a:gd name="connsiteX844" fmla="*/ 227 w 10000"/>
                <a:gd name="connsiteY844" fmla="*/ 9233 h 10000"/>
                <a:gd name="connsiteX845" fmla="*/ 253 w 10000"/>
                <a:gd name="connsiteY845" fmla="*/ 9250 h 10000"/>
                <a:gd name="connsiteX846" fmla="*/ 303 w 10000"/>
                <a:gd name="connsiteY846" fmla="*/ 9282 h 10000"/>
                <a:gd name="connsiteX847" fmla="*/ 351 w 10000"/>
                <a:gd name="connsiteY847" fmla="*/ 9315 h 10000"/>
                <a:gd name="connsiteX848" fmla="*/ 414 w 10000"/>
                <a:gd name="connsiteY848" fmla="*/ 9364 h 10000"/>
                <a:gd name="connsiteX849" fmla="*/ 480 w 10000"/>
                <a:gd name="connsiteY849" fmla="*/ 9416 h 10000"/>
                <a:gd name="connsiteX850" fmla="*/ 513 w 10000"/>
                <a:gd name="connsiteY850" fmla="*/ 9437 h 10000"/>
                <a:gd name="connsiteX851" fmla="*/ 548 w 10000"/>
                <a:gd name="connsiteY851" fmla="*/ 9462 h 10000"/>
                <a:gd name="connsiteX852" fmla="*/ 581 w 10000"/>
                <a:gd name="connsiteY852" fmla="*/ 9483 h 10000"/>
                <a:gd name="connsiteX853" fmla="*/ 614 w 10000"/>
                <a:gd name="connsiteY853" fmla="*/ 9502 h 10000"/>
                <a:gd name="connsiteX854" fmla="*/ 641 w 10000"/>
                <a:gd name="connsiteY854" fmla="*/ 9525 h 10000"/>
                <a:gd name="connsiteX855" fmla="*/ 672 w 10000"/>
                <a:gd name="connsiteY855" fmla="*/ 9549 h 10000"/>
                <a:gd name="connsiteX856" fmla="*/ 702 w 10000"/>
                <a:gd name="connsiteY856" fmla="*/ 9568 h 10000"/>
                <a:gd name="connsiteX857" fmla="*/ 737 w 10000"/>
                <a:gd name="connsiteY857" fmla="*/ 9589 h 10000"/>
                <a:gd name="connsiteX858" fmla="*/ 770 w 10000"/>
                <a:gd name="connsiteY858" fmla="*/ 9605 h 10000"/>
                <a:gd name="connsiteX859" fmla="*/ 808 w 10000"/>
                <a:gd name="connsiteY859" fmla="*/ 9617 h 10000"/>
                <a:gd name="connsiteX860" fmla="*/ 843 w 10000"/>
                <a:gd name="connsiteY860" fmla="*/ 9624 h 10000"/>
                <a:gd name="connsiteX861" fmla="*/ 884 w 10000"/>
                <a:gd name="connsiteY861" fmla="*/ 9628 h 10000"/>
                <a:gd name="connsiteX862" fmla="*/ 902 w 10000"/>
                <a:gd name="connsiteY862" fmla="*/ 9628 h 10000"/>
                <a:gd name="connsiteX863" fmla="*/ 914 w 10000"/>
                <a:gd name="connsiteY863" fmla="*/ 9631 h 10000"/>
                <a:gd name="connsiteX864" fmla="*/ 932 w 10000"/>
                <a:gd name="connsiteY864" fmla="*/ 9638 h 10000"/>
                <a:gd name="connsiteX865" fmla="*/ 942 w 10000"/>
                <a:gd name="connsiteY865" fmla="*/ 9642 h 10000"/>
                <a:gd name="connsiteX866" fmla="*/ 967 w 10000"/>
                <a:gd name="connsiteY866" fmla="*/ 9652 h 10000"/>
                <a:gd name="connsiteX867" fmla="*/ 987 w 10000"/>
                <a:gd name="connsiteY867" fmla="*/ 9668 h 10000"/>
                <a:gd name="connsiteX868" fmla="*/ 1005 w 10000"/>
                <a:gd name="connsiteY868" fmla="*/ 9682 h 10000"/>
                <a:gd name="connsiteX869" fmla="*/ 1025 w 10000"/>
                <a:gd name="connsiteY869" fmla="*/ 9698 h 10000"/>
                <a:gd name="connsiteX870" fmla="*/ 1045 w 10000"/>
                <a:gd name="connsiteY870" fmla="*/ 9712 h 10000"/>
                <a:gd name="connsiteX871" fmla="*/ 1073 w 10000"/>
                <a:gd name="connsiteY871" fmla="*/ 9724 h 10000"/>
                <a:gd name="connsiteX872" fmla="*/ 1098 w 10000"/>
                <a:gd name="connsiteY872" fmla="*/ 9738 h 10000"/>
                <a:gd name="connsiteX873" fmla="*/ 1121 w 10000"/>
                <a:gd name="connsiteY873" fmla="*/ 9750 h 10000"/>
                <a:gd name="connsiteX874" fmla="*/ 1141 w 10000"/>
                <a:gd name="connsiteY874" fmla="*/ 9762 h 10000"/>
                <a:gd name="connsiteX875" fmla="*/ 1159 w 10000"/>
                <a:gd name="connsiteY875" fmla="*/ 9776 h 10000"/>
                <a:gd name="connsiteX876" fmla="*/ 1172 w 10000"/>
                <a:gd name="connsiteY876" fmla="*/ 9787 h 10000"/>
                <a:gd name="connsiteX877" fmla="*/ 1182 w 10000"/>
                <a:gd name="connsiteY877" fmla="*/ 9804 h 10000"/>
                <a:gd name="connsiteX878" fmla="*/ 1194 w 10000"/>
                <a:gd name="connsiteY878" fmla="*/ 9818 h 10000"/>
                <a:gd name="connsiteX879" fmla="*/ 1202 w 10000"/>
                <a:gd name="connsiteY879" fmla="*/ 9834 h 10000"/>
                <a:gd name="connsiteX880" fmla="*/ 1212 w 10000"/>
                <a:gd name="connsiteY880" fmla="*/ 9869 h 10000"/>
                <a:gd name="connsiteX881" fmla="*/ 1220 w 10000"/>
                <a:gd name="connsiteY881" fmla="*/ 9906 h 10000"/>
                <a:gd name="connsiteX882" fmla="*/ 1230 w 10000"/>
                <a:gd name="connsiteY882" fmla="*/ 9951 h 10000"/>
                <a:gd name="connsiteX883" fmla="*/ 1237 w 10000"/>
                <a:gd name="connsiteY883" fmla="*/ 10000 h 10000"/>
                <a:gd name="connsiteX884" fmla="*/ 1237 w 10000"/>
                <a:gd name="connsiteY88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10 w 10000"/>
                <a:gd name="connsiteY765" fmla="*/ 8499 h 10000"/>
                <a:gd name="connsiteX766" fmla="*/ 1702 w 10000"/>
                <a:gd name="connsiteY766" fmla="*/ 8476 h 10000"/>
                <a:gd name="connsiteX767" fmla="*/ 1684 w 10000"/>
                <a:gd name="connsiteY767" fmla="*/ 8429 h 10000"/>
                <a:gd name="connsiteX768" fmla="*/ 1674 w 10000"/>
                <a:gd name="connsiteY768" fmla="*/ 8380 h 10000"/>
                <a:gd name="connsiteX769" fmla="*/ 1667 w 10000"/>
                <a:gd name="connsiteY769" fmla="*/ 8329 h 10000"/>
                <a:gd name="connsiteX770" fmla="*/ 1659 w 10000"/>
                <a:gd name="connsiteY770" fmla="*/ 8282 h 10000"/>
                <a:gd name="connsiteX771" fmla="*/ 1657 w 10000"/>
                <a:gd name="connsiteY771" fmla="*/ 8235 h 10000"/>
                <a:gd name="connsiteX772" fmla="*/ 1657 w 10000"/>
                <a:gd name="connsiteY772" fmla="*/ 8195 h 10000"/>
                <a:gd name="connsiteX773" fmla="*/ 1652 w 10000"/>
                <a:gd name="connsiteY773" fmla="*/ 8191 h 10000"/>
                <a:gd name="connsiteX774" fmla="*/ 1586 w 10000"/>
                <a:gd name="connsiteY774" fmla="*/ 8188 h 10000"/>
                <a:gd name="connsiteX775" fmla="*/ 1525 w 10000"/>
                <a:gd name="connsiteY775" fmla="*/ 8186 h 10000"/>
                <a:gd name="connsiteX776" fmla="*/ 1500 w 10000"/>
                <a:gd name="connsiteY776" fmla="*/ 8191 h 10000"/>
                <a:gd name="connsiteX777" fmla="*/ 1472 w 10000"/>
                <a:gd name="connsiteY777" fmla="*/ 8198 h 10000"/>
                <a:gd name="connsiteX778" fmla="*/ 1434 w 10000"/>
                <a:gd name="connsiteY778" fmla="*/ 8223 h 10000"/>
                <a:gd name="connsiteX779" fmla="*/ 1149 w 10000"/>
                <a:gd name="connsiteY779" fmla="*/ 8256 h 10000"/>
                <a:gd name="connsiteX780" fmla="*/ 1139 w 10000"/>
                <a:gd name="connsiteY780" fmla="*/ 8249 h 10000"/>
                <a:gd name="connsiteX781" fmla="*/ 1126 w 10000"/>
                <a:gd name="connsiteY781" fmla="*/ 8240 h 10000"/>
                <a:gd name="connsiteX782" fmla="*/ 1114 w 10000"/>
                <a:gd name="connsiteY782" fmla="*/ 8240 h 10000"/>
                <a:gd name="connsiteX783" fmla="*/ 1091 w 10000"/>
                <a:gd name="connsiteY783" fmla="*/ 8242 h 10000"/>
                <a:gd name="connsiteX784" fmla="*/ 1071 w 10000"/>
                <a:gd name="connsiteY784" fmla="*/ 8252 h 10000"/>
                <a:gd name="connsiteX785" fmla="*/ 1048 w 10000"/>
                <a:gd name="connsiteY785" fmla="*/ 8261 h 10000"/>
                <a:gd name="connsiteX786" fmla="*/ 1030 w 10000"/>
                <a:gd name="connsiteY786" fmla="*/ 8273 h 10000"/>
                <a:gd name="connsiteX787" fmla="*/ 1010 w 10000"/>
                <a:gd name="connsiteY787" fmla="*/ 8287 h 10000"/>
                <a:gd name="connsiteX788" fmla="*/ 995 w 10000"/>
                <a:gd name="connsiteY788" fmla="*/ 8303 h 10000"/>
                <a:gd name="connsiteX789" fmla="*/ 975 w 10000"/>
                <a:gd name="connsiteY789" fmla="*/ 8322 h 10000"/>
                <a:gd name="connsiteX790" fmla="*/ 960 w 10000"/>
                <a:gd name="connsiteY790" fmla="*/ 8343 h 10000"/>
                <a:gd name="connsiteX791" fmla="*/ 927 w 10000"/>
                <a:gd name="connsiteY791" fmla="*/ 8380 h 10000"/>
                <a:gd name="connsiteX792" fmla="*/ 891 w 10000"/>
                <a:gd name="connsiteY792" fmla="*/ 8417 h 10000"/>
                <a:gd name="connsiteX793" fmla="*/ 874 w 10000"/>
                <a:gd name="connsiteY793" fmla="*/ 8436 h 10000"/>
                <a:gd name="connsiteX794" fmla="*/ 859 w 10000"/>
                <a:gd name="connsiteY794" fmla="*/ 8450 h 10000"/>
                <a:gd name="connsiteX795" fmla="*/ 838 w 10000"/>
                <a:gd name="connsiteY795" fmla="*/ 8462 h 10000"/>
                <a:gd name="connsiteX796" fmla="*/ 821 w 10000"/>
                <a:gd name="connsiteY796" fmla="*/ 8476 h 10000"/>
                <a:gd name="connsiteX797" fmla="*/ 742 w 10000"/>
                <a:gd name="connsiteY797" fmla="*/ 8562 h 10000"/>
                <a:gd name="connsiteX798" fmla="*/ 672 w 10000"/>
                <a:gd name="connsiteY798" fmla="*/ 8644 h 10000"/>
                <a:gd name="connsiteX799" fmla="*/ 639 w 10000"/>
                <a:gd name="connsiteY799" fmla="*/ 8684 h 10000"/>
                <a:gd name="connsiteX800" fmla="*/ 609 w 10000"/>
                <a:gd name="connsiteY800" fmla="*/ 8731 h 10000"/>
                <a:gd name="connsiteX801" fmla="*/ 583 w 10000"/>
                <a:gd name="connsiteY801" fmla="*/ 8777 h 10000"/>
                <a:gd name="connsiteX802" fmla="*/ 556 w 10000"/>
                <a:gd name="connsiteY802" fmla="*/ 8831 h 10000"/>
                <a:gd name="connsiteX803" fmla="*/ 545 w 10000"/>
                <a:gd name="connsiteY803" fmla="*/ 8852 h 10000"/>
                <a:gd name="connsiteX804" fmla="*/ 525 w 10000"/>
                <a:gd name="connsiteY804" fmla="*/ 8885 h 10000"/>
                <a:gd name="connsiteX805" fmla="*/ 503 w 10000"/>
                <a:gd name="connsiteY805" fmla="*/ 8925 h 10000"/>
                <a:gd name="connsiteX806" fmla="*/ 480 w 10000"/>
                <a:gd name="connsiteY806" fmla="*/ 8962 h 10000"/>
                <a:gd name="connsiteX807" fmla="*/ 465 w 10000"/>
                <a:gd name="connsiteY807" fmla="*/ 8981 h 10000"/>
                <a:gd name="connsiteX808" fmla="*/ 455 w 10000"/>
                <a:gd name="connsiteY808" fmla="*/ 8993 h 10000"/>
                <a:gd name="connsiteX809" fmla="*/ 444 w 10000"/>
                <a:gd name="connsiteY809" fmla="*/ 9000 h 10000"/>
                <a:gd name="connsiteX810" fmla="*/ 434 w 10000"/>
                <a:gd name="connsiteY810" fmla="*/ 9007 h 10000"/>
                <a:gd name="connsiteX811" fmla="*/ 432 w 10000"/>
                <a:gd name="connsiteY811" fmla="*/ 9007 h 10000"/>
                <a:gd name="connsiteX812" fmla="*/ 429 w 10000"/>
                <a:gd name="connsiteY812" fmla="*/ 9004 h 10000"/>
                <a:gd name="connsiteX813" fmla="*/ 427 w 10000"/>
                <a:gd name="connsiteY813" fmla="*/ 8997 h 10000"/>
                <a:gd name="connsiteX814" fmla="*/ 427 w 10000"/>
                <a:gd name="connsiteY814" fmla="*/ 8993 h 10000"/>
                <a:gd name="connsiteX815" fmla="*/ 424 w 10000"/>
                <a:gd name="connsiteY815" fmla="*/ 8976 h 10000"/>
                <a:gd name="connsiteX816" fmla="*/ 427 w 10000"/>
                <a:gd name="connsiteY816" fmla="*/ 8948 h 10000"/>
                <a:gd name="connsiteX817" fmla="*/ 437 w 10000"/>
                <a:gd name="connsiteY817" fmla="*/ 8913 h 10000"/>
                <a:gd name="connsiteX818" fmla="*/ 455 w 10000"/>
                <a:gd name="connsiteY818" fmla="*/ 8859 h 10000"/>
                <a:gd name="connsiteX819" fmla="*/ 462 w 10000"/>
                <a:gd name="connsiteY819" fmla="*/ 8834 h 10000"/>
                <a:gd name="connsiteX820" fmla="*/ 470 w 10000"/>
                <a:gd name="connsiteY820" fmla="*/ 8810 h 10000"/>
                <a:gd name="connsiteX821" fmla="*/ 472 w 10000"/>
                <a:gd name="connsiteY821" fmla="*/ 8794 h 10000"/>
                <a:gd name="connsiteX822" fmla="*/ 472 w 10000"/>
                <a:gd name="connsiteY822" fmla="*/ 8780 h 10000"/>
                <a:gd name="connsiteX823" fmla="*/ 462 w 10000"/>
                <a:gd name="connsiteY823" fmla="*/ 8784 h 10000"/>
                <a:gd name="connsiteX824" fmla="*/ 452 w 10000"/>
                <a:gd name="connsiteY824" fmla="*/ 8787 h 10000"/>
                <a:gd name="connsiteX825" fmla="*/ 437 w 10000"/>
                <a:gd name="connsiteY825" fmla="*/ 8794 h 10000"/>
                <a:gd name="connsiteX826" fmla="*/ 424 w 10000"/>
                <a:gd name="connsiteY826" fmla="*/ 8803 h 10000"/>
                <a:gd name="connsiteX827" fmla="*/ 394 w 10000"/>
                <a:gd name="connsiteY827" fmla="*/ 8829 h 10000"/>
                <a:gd name="connsiteX828" fmla="*/ 364 w 10000"/>
                <a:gd name="connsiteY828" fmla="*/ 8859 h 10000"/>
                <a:gd name="connsiteX829" fmla="*/ 311 w 10000"/>
                <a:gd name="connsiteY829" fmla="*/ 8922 h 10000"/>
                <a:gd name="connsiteX830" fmla="*/ 268 w 10000"/>
                <a:gd name="connsiteY830" fmla="*/ 8964 h 10000"/>
                <a:gd name="connsiteX831" fmla="*/ 205 w 10000"/>
                <a:gd name="connsiteY831" fmla="*/ 9016 h 10000"/>
                <a:gd name="connsiteX832" fmla="*/ 146 w 10000"/>
                <a:gd name="connsiteY832" fmla="*/ 9053 h 10000"/>
                <a:gd name="connsiteX833" fmla="*/ 139 w 10000"/>
                <a:gd name="connsiteY833" fmla="*/ 9063 h 10000"/>
                <a:gd name="connsiteX834" fmla="*/ 129 w 10000"/>
                <a:gd name="connsiteY834" fmla="*/ 9077 h 10000"/>
                <a:gd name="connsiteX835" fmla="*/ 126 w 10000"/>
                <a:gd name="connsiteY835" fmla="*/ 9086 h 10000"/>
                <a:gd name="connsiteX836" fmla="*/ 126 w 10000"/>
                <a:gd name="connsiteY836" fmla="*/ 9102 h 10000"/>
                <a:gd name="connsiteX837" fmla="*/ 129 w 10000"/>
                <a:gd name="connsiteY837" fmla="*/ 9116 h 10000"/>
                <a:gd name="connsiteX838" fmla="*/ 139 w 10000"/>
                <a:gd name="connsiteY838" fmla="*/ 9135 h 10000"/>
                <a:gd name="connsiteX839" fmla="*/ 149 w 10000"/>
                <a:gd name="connsiteY839" fmla="*/ 9151 h 10000"/>
                <a:gd name="connsiteX840" fmla="*/ 164 w 10000"/>
                <a:gd name="connsiteY840" fmla="*/ 9175 h 10000"/>
                <a:gd name="connsiteX841" fmla="*/ 184 w 10000"/>
                <a:gd name="connsiteY841" fmla="*/ 9196 h 10000"/>
                <a:gd name="connsiteX842" fmla="*/ 207 w 10000"/>
                <a:gd name="connsiteY842" fmla="*/ 9215 h 10000"/>
                <a:gd name="connsiteX843" fmla="*/ 227 w 10000"/>
                <a:gd name="connsiteY843" fmla="*/ 9233 h 10000"/>
                <a:gd name="connsiteX844" fmla="*/ 253 w 10000"/>
                <a:gd name="connsiteY844" fmla="*/ 9250 h 10000"/>
                <a:gd name="connsiteX845" fmla="*/ 303 w 10000"/>
                <a:gd name="connsiteY845" fmla="*/ 9282 h 10000"/>
                <a:gd name="connsiteX846" fmla="*/ 351 w 10000"/>
                <a:gd name="connsiteY846" fmla="*/ 9315 h 10000"/>
                <a:gd name="connsiteX847" fmla="*/ 414 w 10000"/>
                <a:gd name="connsiteY847" fmla="*/ 9364 h 10000"/>
                <a:gd name="connsiteX848" fmla="*/ 480 w 10000"/>
                <a:gd name="connsiteY848" fmla="*/ 9416 h 10000"/>
                <a:gd name="connsiteX849" fmla="*/ 513 w 10000"/>
                <a:gd name="connsiteY849" fmla="*/ 9437 h 10000"/>
                <a:gd name="connsiteX850" fmla="*/ 548 w 10000"/>
                <a:gd name="connsiteY850" fmla="*/ 9462 h 10000"/>
                <a:gd name="connsiteX851" fmla="*/ 581 w 10000"/>
                <a:gd name="connsiteY851" fmla="*/ 9483 h 10000"/>
                <a:gd name="connsiteX852" fmla="*/ 614 w 10000"/>
                <a:gd name="connsiteY852" fmla="*/ 9502 h 10000"/>
                <a:gd name="connsiteX853" fmla="*/ 641 w 10000"/>
                <a:gd name="connsiteY853" fmla="*/ 9525 h 10000"/>
                <a:gd name="connsiteX854" fmla="*/ 672 w 10000"/>
                <a:gd name="connsiteY854" fmla="*/ 9549 h 10000"/>
                <a:gd name="connsiteX855" fmla="*/ 702 w 10000"/>
                <a:gd name="connsiteY855" fmla="*/ 9568 h 10000"/>
                <a:gd name="connsiteX856" fmla="*/ 737 w 10000"/>
                <a:gd name="connsiteY856" fmla="*/ 9589 h 10000"/>
                <a:gd name="connsiteX857" fmla="*/ 770 w 10000"/>
                <a:gd name="connsiteY857" fmla="*/ 9605 h 10000"/>
                <a:gd name="connsiteX858" fmla="*/ 808 w 10000"/>
                <a:gd name="connsiteY858" fmla="*/ 9617 h 10000"/>
                <a:gd name="connsiteX859" fmla="*/ 843 w 10000"/>
                <a:gd name="connsiteY859" fmla="*/ 9624 h 10000"/>
                <a:gd name="connsiteX860" fmla="*/ 884 w 10000"/>
                <a:gd name="connsiteY860" fmla="*/ 9628 h 10000"/>
                <a:gd name="connsiteX861" fmla="*/ 902 w 10000"/>
                <a:gd name="connsiteY861" fmla="*/ 9628 h 10000"/>
                <a:gd name="connsiteX862" fmla="*/ 914 w 10000"/>
                <a:gd name="connsiteY862" fmla="*/ 9631 h 10000"/>
                <a:gd name="connsiteX863" fmla="*/ 932 w 10000"/>
                <a:gd name="connsiteY863" fmla="*/ 9638 h 10000"/>
                <a:gd name="connsiteX864" fmla="*/ 942 w 10000"/>
                <a:gd name="connsiteY864" fmla="*/ 9642 h 10000"/>
                <a:gd name="connsiteX865" fmla="*/ 967 w 10000"/>
                <a:gd name="connsiteY865" fmla="*/ 9652 h 10000"/>
                <a:gd name="connsiteX866" fmla="*/ 987 w 10000"/>
                <a:gd name="connsiteY866" fmla="*/ 9668 h 10000"/>
                <a:gd name="connsiteX867" fmla="*/ 1005 w 10000"/>
                <a:gd name="connsiteY867" fmla="*/ 9682 h 10000"/>
                <a:gd name="connsiteX868" fmla="*/ 1025 w 10000"/>
                <a:gd name="connsiteY868" fmla="*/ 9698 h 10000"/>
                <a:gd name="connsiteX869" fmla="*/ 1045 w 10000"/>
                <a:gd name="connsiteY869" fmla="*/ 9712 h 10000"/>
                <a:gd name="connsiteX870" fmla="*/ 1073 w 10000"/>
                <a:gd name="connsiteY870" fmla="*/ 9724 h 10000"/>
                <a:gd name="connsiteX871" fmla="*/ 1098 w 10000"/>
                <a:gd name="connsiteY871" fmla="*/ 9738 h 10000"/>
                <a:gd name="connsiteX872" fmla="*/ 1121 w 10000"/>
                <a:gd name="connsiteY872" fmla="*/ 9750 h 10000"/>
                <a:gd name="connsiteX873" fmla="*/ 1141 w 10000"/>
                <a:gd name="connsiteY873" fmla="*/ 9762 h 10000"/>
                <a:gd name="connsiteX874" fmla="*/ 1159 w 10000"/>
                <a:gd name="connsiteY874" fmla="*/ 9776 h 10000"/>
                <a:gd name="connsiteX875" fmla="*/ 1172 w 10000"/>
                <a:gd name="connsiteY875" fmla="*/ 9787 h 10000"/>
                <a:gd name="connsiteX876" fmla="*/ 1182 w 10000"/>
                <a:gd name="connsiteY876" fmla="*/ 9804 h 10000"/>
                <a:gd name="connsiteX877" fmla="*/ 1194 w 10000"/>
                <a:gd name="connsiteY877" fmla="*/ 9818 h 10000"/>
                <a:gd name="connsiteX878" fmla="*/ 1202 w 10000"/>
                <a:gd name="connsiteY878" fmla="*/ 9834 h 10000"/>
                <a:gd name="connsiteX879" fmla="*/ 1212 w 10000"/>
                <a:gd name="connsiteY879" fmla="*/ 9869 h 10000"/>
                <a:gd name="connsiteX880" fmla="*/ 1220 w 10000"/>
                <a:gd name="connsiteY880" fmla="*/ 9906 h 10000"/>
                <a:gd name="connsiteX881" fmla="*/ 1230 w 10000"/>
                <a:gd name="connsiteY881" fmla="*/ 9951 h 10000"/>
                <a:gd name="connsiteX882" fmla="*/ 1237 w 10000"/>
                <a:gd name="connsiteY882" fmla="*/ 10000 h 10000"/>
                <a:gd name="connsiteX883" fmla="*/ 1237 w 10000"/>
                <a:gd name="connsiteY88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702 w 10000"/>
                <a:gd name="connsiteY765" fmla="*/ 8476 h 10000"/>
                <a:gd name="connsiteX766" fmla="*/ 1684 w 10000"/>
                <a:gd name="connsiteY766" fmla="*/ 8429 h 10000"/>
                <a:gd name="connsiteX767" fmla="*/ 1674 w 10000"/>
                <a:gd name="connsiteY767" fmla="*/ 8380 h 10000"/>
                <a:gd name="connsiteX768" fmla="*/ 1667 w 10000"/>
                <a:gd name="connsiteY768" fmla="*/ 8329 h 10000"/>
                <a:gd name="connsiteX769" fmla="*/ 1659 w 10000"/>
                <a:gd name="connsiteY769" fmla="*/ 8282 h 10000"/>
                <a:gd name="connsiteX770" fmla="*/ 1657 w 10000"/>
                <a:gd name="connsiteY770" fmla="*/ 8235 h 10000"/>
                <a:gd name="connsiteX771" fmla="*/ 1657 w 10000"/>
                <a:gd name="connsiteY771" fmla="*/ 8195 h 10000"/>
                <a:gd name="connsiteX772" fmla="*/ 1652 w 10000"/>
                <a:gd name="connsiteY772" fmla="*/ 8191 h 10000"/>
                <a:gd name="connsiteX773" fmla="*/ 1586 w 10000"/>
                <a:gd name="connsiteY773" fmla="*/ 8188 h 10000"/>
                <a:gd name="connsiteX774" fmla="*/ 1525 w 10000"/>
                <a:gd name="connsiteY774" fmla="*/ 8186 h 10000"/>
                <a:gd name="connsiteX775" fmla="*/ 1500 w 10000"/>
                <a:gd name="connsiteY775" fmla="*/ 8191 h 10000"/>
                <a:gd name="connsiteX776" fmla="*/ 1472 w 10000"/>
                <a:gd name="connsiteY776" fmla="*/ 8198 h 10000"/>
                <a:gd name="connsiteX777" fmla="*/ 1434 w 10000"/>
                <a:gd name="connsiteY777" fmla="*/ 8223 h 10000"/>
                <a:gd name="connsiteX778" fmla="*/ 1149 w 10000"/>
                <a:gd name="connsiteY778" fmla="*/ 8256 h 10000"/>
                <a:gd name="connsiteX779" fmla="*/ 1139 w 10000"/>
                <a:gd name="connsiteY779" fmla="*/ 8249 h 10000"/>
                <a:gd name="connsiteX780" fmla="*/ 1126 w 10000"/>
                <a:gd name="connsiteY780" fmla="*/ 8240 h 10000"/>
                <a:gd name="connsiteX781" fmla="*/ 1114 w 10000"/>
                <a:gd name="connsiteY781" fmla="*/ 8240 h 10000"/>
                <a:gd name="connsiteX782" fmla="*/ 1091 w 10000"/>
                <a:gd name="connsiteY782" fmla="*/ 8242 h 10000"/>
                <a:gd name="connsiteX783" fmla="*/ 1071 w 10000"/>
                <a:gd name="connsiteY783" fmla="*/ 8252 h 10000"/>
                <a:gd name="connsiteX784" fmla="*/ 1048 w 10000"/>
                <a:gd name="connsiteY784" fmla="*/ 8261 h 10000"/>
                <a:gd name="connsiteX785" fmla="*/ 1030 w 10000"/>
                <a:gd name="connsiteY785" fmla="*/ 8273 h 10000"/>
                <a:gd name="connsiteX786" fmla="*/ 1010 w 10000"/>
                <a:gd name="connsiteY786" fmla="*/ 8287 h 10000"/>
                <a:gd name="connsiteX787" fmla="*/ 995 w 10000"/>
                <a:gd name="connsiteY787" fmla="*/ 8303 h 10000"/>
                <a:gd name="connsiteX788" fmla="*/ 975 w 10000"/>
                <a:gd name="connsiteY788" fmla="*/ 8322 h 10000"/>
                <a:gd name="connsiteX789" fmla="*/ 960 w 10000"/>
                <a:gd name="connsiteY789" fmla="*/ 8343 h 10000"/>
                <a:gd name="connsiteX790" fmla="*/ 927 w 10000"/>
                <a:gd name="connsiteY790" fmla="*/ 8380 h 10000"/>
                <a:gd name="connsiteX791" fmla="*/ 891 w 10000"/>
                <a:gd name="connsiteY791" fmla="*/ 8417 h 10000"/>
                <a:gd name="connsiteX792" fmla="*/ 874 w 10000"/>
                <a:gd name="connsiteY792" fmla="*/ 8436 h 10000"/>
                <a:gd name="connsiteX793" fmla="*/ 859 w 10000"/>
                <a:gd name="connsiteY793" fmla="*/ 8450 h 10000"/>
                <a:gd name="connsiteX794" fmla="*/ 838 w 10000"/>
                <a:gd name="connsiteY794" fmla="*/ 8462 h 10000"/>
                <a:gd name="connsiteX795" fmla="*/ 821 w 10000"/>
                <a:gd name="connsiteY795" fmla="*/ 8476 h 10000"/>
                <a:gd name="connsiteX796" fmla="*/ 742 w 10000"/>
                <a:gd name="connsiteY796" fmla="*/ 8562 h 10000"/>
                <a:gd name="connsiteX797" fmla="*/ 672 w 10000"/>
                <a:gd name="connsiteY797" fmla="*/ 8644 h 10000"/>
                <a:gd name="connsiteX798" fmla="*/ 639 w 10000"/>
                <a:gd name="connsiteY798" fmla="*/ 8684 h 10000"/>
                <a:gd name="connsiteX799" fmla="*/ 609 w 10000"/>
                <a:gd name="connsiteY799" fmla="*/ 8731 h 10000"/>
                <a:gd name="connsiteX800" fmla="*/ 583 w 10000"/>
                <a:gd name="connsiteY800" fmla="*/ 8777 h 10000"/>
                <a:gd name="connsiteX801" fmla="*/ 556 w 10000"/>
                <a:gd name="connsiteY801" fmla="*/ 8831 h 10000"/>
                <a:gd name="connsiteX802" fmla="*/ 545 w 10000"/>
                <a:gd name="connsiteY802" fmla="*/ 8852 h 10000"/>
                <a:gd name="connsiteX803" fmla="*/ 525 w 10000"/>
                <a:gd name="connsiteY803" fmla="*/ 8885 h 10000"/>
                <a:gd name="connsiteX804" fmla="*/ 503 w 10000"/>
                <a:gd name="connsiteY804" fmla="*/ 8925 h 10000"/>
                <a:gd name="connsiteX805" fmla="*/ 480 w 10000"/>
                <a:gd name="connsiteY805" fmla="*/ 8962 h 10000"/>
                <a:gd name="connsiteX806" fmla="*/ 465 w 10000"/>
                <a:gd name="connsiteY806" fmla="*/ 8981 h 10000"/>
                <a:gd name="connsiteX807" fmla="*/ 455 w 10000"/>
                <a:gd name="connsiteY807" fmla="*/ 8993 h 10000"/>
                <a:gd name="connsiteX808" fmla="*/ 444 w 10000"/>
                <a:gd name="connsiteY808" fmla="*/ 9000 h 10000"/>
                <a:gd name="connsiteX809" fmla="*/ 434 w 10000"/>
                <a:gd name="connsiteY809" fmla="*/ 9007 h 10000"/>
                <a:gd name="connsiteX810" fmla="*/ 432 w 10000"/>
                <a:gd name="connsiteY810" fmla="*/ 9007 h 10000"/>
                <a:gd name="connsiteX811" fmla="*/ 429 w 10000"/>
                <a:gd name="connsiteY811" fmla="*/ 9004 h 10000"/>
                <a:gd name="connsiteX812" fmla="*/ 427 w 10000"/>
                <a:gd name="connsiteY812" fmla="*/ 8997 h 10000"/>
                <a:gd name="connsiteX813" fmla="*/ 427 w 10000"/>
                <a:gd name="connsiteY813" fmla="*/ 8993 h 10000"/>
                <a:gd name="connsiteX814" fmla="*/ 424 w 10000"/>
                <a:gd name="connsiteY814" fmla="*/ 8976 h 10000"/>
                <a:gd name="connsiteX815" fmla="*/ 427 w 10000"/>
                <a:gd name="connsiteY815" fmla="*/ 8948 h 10000"/>
                <a:gd name="connsiteX816" fmla="*/ 437 w 10000"/>
                <a:gd name="connsiteY816" fmla="*/ 8913 h 10000"/>
                <a:gd name="connsiteX817" fmla="*/ 455 w 10000"/>
                <a:gd name="connsiteY817" fmla="*/ 8859 h 10000"/>
                <a:gd name="connsiteX818" fmla="*/ 462 w 10000"/>
                <a:gd name="connsiteY818" fmla="*/ 8834 h 10000"/>
                <a:gd name="connsiteX819" fmla="*/ 470 w 10000"/>
                <a:gd name="connsiteY819" fmla="*/ 8810 h 10000"/>
                <a:gd name="connsiteX820" fmla="*/ 472 w 10000"/>
                <a:gd name="connsiteY820" fmla="*/ 8794 h 10000"/>
                <a:gd name="connsiteX821" fmla="*/ 472 w 10000"/>
                <a:gd name="connsiteY821" fmla="*/ 8780 h 10000"/>
                <a:gd name="connsiteX822" fmla="*/ 462 w 10000"/>
                <a:gd name="connsiteY822" fmla="*/ 8784 h 10000"/>
                <a:gd name="connsiteX823" fmla="*/ 452 w 10000"/>
                <a:gd name="connsiteY823" fmla="*/ 8787 h 10000"/>
                <a:gd name="connsiteX824" fmla="*/ 437 w 10000"/>
                <a:gd name="connsiteY824" fmla="*/ 8794 h 10000"/>
                <a:gd name="connsiteX825" fmla="*/ 424 w 10000"/>
                <a:gd name="connsiteY825" fmla="*/ 8803 h 10000"/>
                <a:gd name="connsiteX826" fmla="*/ 394 w 10000"/>
                <a:gd name="connsiteY826" fmla="*/ 8829 h 10000"/>
                <a:gd name="connsiteX827" fmla="*/ 364 w 10000"/>
                <a:gd name="connsiteY827" fmla="*/ 8859 h 10000"/>
                <a:gd name="connsiteX828" fmla="*/ 311 w 10000"/>
                <a:gd name="connsiteY828" fmla="*/ 8922 h 10000"/>
                <a:gd name="connsiteX829" fmla="*/ 268 w 10000"/>
                <a:gd name="connsiteY829" fmla="*/ 8964 h 10000"/>
                <a:gd name="connsiteX830" fmla="*/ 205 w 10000"/>
                <a:gd name="connsiteY830" fmla="*/ 9016 h 10000"/>
                <a:gd name="connsiteX831" fmla="*/ 146 w 10000"/>
                <a:gd name="connsiteY831" fmla="*/ 9053 h 10000"/>
                <a:gd name="connsiteX832" fmla="*/ 139 w 10000"/>
                <a:gd name="connsiteY832" fmla="*/ 9063 h 10000"/>
                <a:gd name="connsiteX833" fmla="*/ 129 w 10000"/>
                <a:gd name="connsiteY833" fmla="*/ 9077 h 10000"/>
                <a:gd name="connsiteX834" fmla="*/ 126 w 10000"/>
                <a:gd name="connsiteY834" fmla="*/ 9086 h 10000"/>
                <a:gd name="connsiteX835" fmla="*/ 126 w 10000"/>
                <a:gd name="connsiteY835" fmla="*/ 9102 h 10000"/>
                <a:gd name="connsiteX836" fmla="*/ 129 w 10000"/>
                <a:gd name="connsiteY836" fmla="*/ 9116 h 10000"/>
                <a:gd name="connsiteX837" fmla="*/ 139 w 10000"/>
                <a:gd name="connsiteY837" fmla="*/ 9135 h 10000"/>
                <a:gd name="connsiteX838" fmla="*/ 149 w 10000"/>
                <a:gd name="connsiteY838" fmla="*/ 9151 h 10000"/>
                <a:gd name="connsiteX839" fmla="*/ 164 w 10000"/>
                <a:gd name="connsiteY839" fmla="*/ 9175 h 10000"/>
                <a:gd name="connsiteX840" fmla="*/ 184 w 10000"/>
                <a:gd name="connsiteY840" fmla="*/ 9196 h 10000"/>
                <a:gd name="connsiteX841" fmla="*/ 207 w 10000"/>
                <a:gd name="connsiteY841" fmla="*/ 9215 h 10000"/>
                <a:gd name="connsiteX842" fmla="*/ 227 w 10000"/>
                <a:gd name="connsiteY842" fmla="*/ 9233 h 10000"/>
                <a:gd name="connsiteX843" fmla="*/ 253 w 10000"/>
                <a:gd name="connsiteY843" fmla="*/ 9250 h 10000"/>
                <a:gd name="connsiteX844" fmla="*/ 303 w 10000"/>
                <a:gd name="connsiteY844" fmla="*/ 9282 h 10000"/>
                <a:gd name="connsiteX845" fmla="*/ 351 w 10000"/>
                <a:gd name="connsiteY845" fmla="*/ 9315 h 10000"/>
                <a:gd name="connsiteX846" fmla="*/ 414 w 10000"/>
                <a:gd name="connsiteY846" fmla="*/ 9364 h 10000"/>
                <a:gd name="connsiteX847" fmla="*/ 480 w 10000"/>
                <a:gd name="connsiteY847" fmla="*/ 9416 h 10000"/>
                <a:gd name="connsiteX848" fmla="*/ 513 w 10000"/>
                <a:gd name="connsiteY848" fmla="*/ 9437 h 10000"/>
                <a:gd name="connsiteX849" fmla="*/ 548 w 10000"/>
                <a:gd name="connsiteY849" fmla="*/ 9462 h 10000"/>
                <a:gd name="connsiteX850" fmla="*/ 581 w 10000"/>
                <a:gd name="connsiteY850" fmla="*/ 9483 h 10000"/>
                <a:gd name="connsiteX851" fmla="*/ 614 w 10000"/>
                <a:gd name="connsiteY851" fmla="*/ 9502 h 10000"/>
                <a:gd name="connsiteX852" fmla="*/ 641 w 10000"/>
                <a:gd name="connsiteY852" fmla="*/ 9525 h 10000"/>
                <a:gd name="connsiteX853" fmla="*/ 672 w 10000"/>
                <a:gd name="connsiteY853" fmla="*/ 9549 h 10000"/>
                <a:gd name="connsiteX854" fmla="*/ 702 w 10000"/>
                <a:gd name="connsiteY854" fmla="*/ 9568 h 10000"/>
                <a:gd name="connsiteX855" fmla="*/ 737 w 10000"/>
                <a:gd name="connsiteY855" fmla="*/ 9589 h 10000"/>
                <a:gd name="connsiteX856" fmla="*/ 770 w 10000"/>
                <a:gd name="connsiteY856" fmla="*/ 9605 h 10000"/>
                <a:gd name="connsiteX857" fmla="*/ 808 w 10000"/>
                <a:gd name="connsiteY857" fmla="*/ 9617 h 10000"/>
                <a:gd name="connsiteX858" fmla="*/ 843 w 10000"/>
                <a:gd name="connsiteY858" fmla="*/ 9624 h 10000"/>
                <a:gd name="connsiteX859" fmla="*/ 884 w 10000"/>
                <a:gd name="connsiteY859" fmla="*/ 9628 h 10000"/>
                <a:gd name="connsiteX860" fmla="*/ 902 w 10000"/>
                <a:gd name="connsiteY860" fmla="*/ 9628 h 10000"/>
                <a:gd name="connsiteX861" fmla="*/ 914 w 10000"/>
                <a:gd name="connsiteY861" fmla="*/ 9631 h 10000"/>
                <a:gd name="connsiteX862" fmla="*/ 932 w 10000"/>
                <a:gd name="connsiteY862" fmla="*/ 9638 h 10000"/>
                <a:gd name="connsiteX863" fmla="*/ 942 w 10000"/>
                <a:gd name="connsiteY863" fmla="*/ 9642 h 10000"/>
                <a:gd name="connsiteX864" fmla="*/ 967 w 10000"/>
                <a:gd name="connsiteY864" fmla="*/ 9652 h 10000"/>
                <a:gd name="connsiteX865" fmla="*/ 987 w 10000"/>
                <a:gd name="connsiteY865" fmla="*/ 9668 h 10000"/>
                <a:gd name="connsiteX866" fmla="*/ 1005 w 10000"/>
                <a:gd name="connsiteY866" fmla="*/ 9682 h 10000"/>
                <a:gd name="connsiteX867" fmla="*/ 1025 w 10000"/>
                <a:gd name="connsiteY867" fmla="*/ 9698 h 10000"/>
                <a:gd name="connsiteX868" fmla="*/ 1045 w 10000"/>
                <a:gd name="connsiteY868" fmla="*/ 9712 h 10000"/>
                <a:gd name="connsiteX869" fmla="*/ 1073 w 10000"/>
                <a:gd name="connsiteY869" fmla="*/ 9724 h 10000"/>
                <a:gd name="connsiteX870" fmla="*/ 1098 w 10000"/>
                <a:gd name="connsiteY870" fmla="*/ 9738 h 10000"/>
                <a:gd name="connsiteX871" fmla="*/ 1121 w 10000"/>
                <a:gd name="connsiteY871" fmla="*/ 9750 h 10000"/>
                <a:gd name="connsiteX872" fmla="*/ 1141 w 10000"/>
                <a:gd name="connsiteY872" fmla="*/ 9762 h 10000"/>
                <a:gd name="connsiteX873" fmla="*/ 1159 w 10000"/>
                <a:gd name="connsiteY873" fmla="*/ 9776 h 10000"/>
                <a:gd name="connsiteX874" fmla="*/ 1172 w 10000"/>
                <a:gd name="connsiteY874" fmla="*/ 9787 h 10000"/>
                <a:gd name="connsiteX875" fmla="*/ 1182 w 10000"/>
                <a:gd name="connsiteY875" fmla="*/ 9804 h 10000"/>
                <a:gd name="connsiteX876" fmla="*/ 1194 w 10000"/>
                <a:gd name="connsiteY876" fmla="*/ 9818 h 10000"/>
                <a:gd name="connsiteX877" fmla="*/ 1202 w 10000"/>
                <a:gd name="connsiteY877" fmla="*/ 9834 h 10000"/>
                <a:gd name="connsiteX878" fmla="*/ 1212 w 10000"/>
                <a:gd name="connsiteY878" fmla="*/ 9869 h 10000"/>
                <a:gd name="connsiteX879" fmla="*/ 1220 w 10000"/>
                <a:gd name="connsiteY879" fmla="*/ 9906 h 10000"/>
                <a:gd name="connsiteX880" fmla="*/ 1230 w 10000"/>
                <a:gd name="connsiteY880" fmla="*/ 9951 h 10000"/>
                <a:gd name="connsiteX881" fmla="*/ 1237 w 10000"/>
                <a:gd name="connsiteY881" fmla="*/ 10000 h 10000"/>
                <a:gd name="connsiteX882" fmla="*/ 1237 w 10000"/>
                <a:gd name="connsiteY88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74 w 10000"/>
                <a:gd name="connsiteY766" fmla="*/ 8380 h 10000"/>
                <a:gd name="connsiteX767" fmla="*/ 1667 w 10000"/>
                <a:gd name="connsiteY767" fmla="*/ 8329 h 10000"/>
                <a:gd name="connsiteX768" fmla="*/ 1659 w 10000"/>
                <a:gd name="connsiteY768" fmla="*/ 8282 h 10000"/>
                <a:gd name="connsiteX769" fmla="*/ 1657 w 10000"/>
                <a:gd name="connsiteY769" fmla="*/ 8235 h 10000"/>
                <a:gd name="connsiteX770" fmla="*/ 1657 w 10000"/>
                <a:gd name="connsiteY770" fmla="*/ 8195 h 10000"/>
                <a:gd name="connsiteX771" fmla="*/ 1652 w 10000"/>
                <a:gd name="connsiteY771" fmla="*/ 8191 h 10000"/>
                <a:gd name="connsiteX772" fmla="*/ 1586 w 10000"/>
                <a:gd name="connsiteY772" fmla="*/ 8188 h 10000"/>
                <a:gd name="connsiteX773" fmla="*/ 1525 w 10000"/>
                <a:gd name="connsiteY773" fmla="*/ 8186 h 10000"/>
                <a:gd name="connsiteX774" fmla="*/ 1500 w 10000"/>
                <a:gd name="connsiteY774" fmla="*/ 8191 h 10000"/>
                <a:gd name="connsiteX775" fmla="*/ 1472 w 10000"/>
                <a:gd name="connsiteY775" fmla="*/ 8198 h 10000"/>
                <a:gd name="connsiteX776" fmla="*/ 1434 w 10000"/>
                <a:gd name="connsiteY776" fmla="*/ 8223 h 10000"/>
                <a:gd name="connsiteX777" fmla="*/ 1149 w 10000"/>
                <a:gd name="connsiteY777" fmla="*/ 8256 h 10000"/>
                <a:gd name="connsiteX778" fmla="*/ 1139 w 10000"/>
                <a:gd name="connsiteY778" fmla="*/ 8249 h 10000"/>
                <a:gd name="connsiteX779" fmla="*/ 1126 w 10000"/>
                <a:gd name="connsiteY779" fmla="*/ 8240 h 10000"/>
                <a:gd name="connsiteX780" fmla="*/ 1114 w 10000"/>
                <a:gd name="connsiteY780" fmla="*/ 8240 h 10000"/>
                <a:gd name="connsiteX781" fmla="*/ 1091 w 10000"/>
                <a:gd name="connsiteY781" fmla="*/ 8242 h 10000"/>
                <a:gd name="connsiteX782" fmla="*/ 1071 w 10000"/>
                <a:gd name="connsiteY782" fmla="*/ 8252 h 10000"/>
                <a:gd name="connsiteX783" fmla="*/ 1048 w 10000"/>
                <a:gd name="connsiteY783" fmla="*/ 8261 h 10000"/>
                <a:gd name="connsiteX784" fmla="*/ 1030 w 10000"/>
                <a:gd name="connsiteY784" fmla="*/ 8273 h 10000"/>
                <a:gd name="connsiteX785" fmla="*/ 1010 w 10000"/>
                <a:gd name="connsiteY785" fmla="*/ 8287 h 10000"/>
                <a:gd name="connsiteX786" fmla="*/ 995 w 10000"/>
                <a:gd name="connsiteY786" fmla="*/ 8303 h 10000"/>
                <a:gd name="connsiteX787" fmla="*/ 975 w 10000"/>
                <a:gd name="connsiteY787" fmla="*/ 8322 h 10000"/>
                <a:gd name="connsiteX788" fmla="*/ 960 w 10000"/>
                <a:gd name="connsiteY788" fmla="*/ 8343 h 10000"/>
                <a:gd name="connsiteX789" fmla="*/ 927 w 10000"/>
                <a:gd name="connsiteY789" fmla="*/ 8380 h 10000"/>
                <a:gd name="connsiteX790" fmla="*/ 891 w 10000"/>
                <a:gd name="connsiteY790" fmla="*/ 8417 h 10000"/>
                <a:gd name="connsiteX791" fmla="*/ 874 w 10000"/>
                <a:gd name="connsiteY791" fmla="*/ 8436 h 10000"/>
                <a:gd name="connsiteX792" fmla="*/ 859 w 10000"/>
                <a:gd name="connsiteY792" fmla="*/ 8450 h 10000"/>
                <a:gd name="connsiteX793" fmla="*/ 838 w 10000"/>
                <a:gd name="connsiteY793" fmla="*/ 8462 h 10000"/>
                <a:gd name="connsiteX794" fmla="*/ 821 w 10000"/>
                <a:gd name="connsiteY794" fmla="*/ 8476 h 10000"/>
                <a:gd name="connsiteX795" fmla="*/ 742 w 10000"/>
                <a:gd name="connsiteY795" fmla="*/ 8562 h 10000"/>
                <a:gd name="connsiteX796" fmla="*/ 672 w 10000"/>
                <a:gd name="connsiteY796" fmla="*/ 8644 h 10000"/>
                <a:gd name="connsiteX797" fmla="*/ 639 w 10000"/>
                <a:gd name="connsiteY797" fmla="*/ 8684 h 10000"/>
                <a:gd name="connsiteX798" fmla="*/ 609 w 10000"/>
                <a:gd name="connsiteY798" fmla="*/ 8731 h 10000"/>
                <a:gd name="connsiteX799" fmla="*/ 583 w 10000"/>
                <a:gd name="connsiteY799" fmla="*/ 8777 h 10000"/>
                <a:gd name="connsiteX800" fmla="*/ 556 w 10000"/>
                <a:gd name="connsiteY800" fmla="*/ 8831 h 10000"/>
                <a:gd name="connsiteX801" fmla="*/ 545 w 10000"/>
                <a:gd name="connsiteY801" fmla="*/ 8852 h 10000"/>
                <a:gd name="connsiteX802" fmla="*/ 525 w 10000"/>
                <a:gd name="connsiteY802" fmla="*/ 8885 h 10000"/>
                <a:gd name="connsiteX803" fmla="*/ 503 w 10000"/>
                <a:gd name="connsiteY803" fmla="*/ 8925 h 10000"/>
                <a:gd name="connsiteX804" fmla="*/ 480 w 10000"/>
                <a:gd name="connsiteY804" fmla="*/ 8962 h 10000"/>
                <a:gd name="connsiteX805" fmla="*/ 465 w 10000"/>
                <a:gd name="connsiteY805" fmla="*/ 8981 h 10000"/>
                <a:gd name="connsiteX806" fmla="*/ 455 w 10000"/>
                <a:gd name="connsiteY806" fmla="*/ 8993 h 10000"/>
                <a:gd name="connsiteX807" fmla="*/ 444 w 10000"/>
                <a:gd name="connsiteY807" fmla="*/ 9000 h 10000"/>
                <a:gd name="connsiteX808" fmla="*/ 434 w 10000"/>
                <a:gd name="connsiteY808" fmla="*/ 9007 h 10000"/>
                <a:gd name="connsiteX809" fmla="*/ 432 w 10000"/>
                <a:gd name="connsiteY809" fmla="*/ 9007 h 10000"/>
                <a:gd name="connsiteX810" fmla="*/ 429 w 10000"/>
                <a:gd name="connsiteY810" fmla="*/ 9004 h 10000"/>
                <a:gd name="connsiteX811" fmla="*/ 427 w 10000"/>
                <a:gd name="connsiteY811" fmla="*/ 8997 h 10000"/>
                <a:gd name="connsiteX812" fmla="*/ 427 w 10000"/>
                <a:gd name="connsiteY812" fmla="*/ 8993 h 10000"/>
                <a:gd name="connsiteX813" fmla="*/ 424 w 10000"/>
                <a:gd name="connsiteY813" fmla="*/ 8976 h 10000"/>
                <a:gd name="connsiteX814" fmla="*/ 427 w 10000"/>
                <a:gd name="connsiteY814" fmla="*/ 8948 h 10000"/>
                <a:gd name="connsiteX815" fmla="*/ 437 w 10000"/>
                <a:gd name="connsiteY815" fmla="*/ 8913 h 10000"/>
                <a:gd name="connsiteX816" fmla="*/ 455 w 10000"/>
                <a:gd name="connsiteY816" fmla="*/ 8859 h 10000"/>
                <a:gd name="connsiteX817" fmla="*/ 462 w 10000"/>
                <a:gd name="connsiteY817" fmla="*/ 8834 h 10000"/>
                <a:gd name="connsiteX818" fmla="*/ 470 w 10000"/>
                <a:gd name="connsiteY818" fmla="*/ 8810 h 10000"/>
                <a:gd name="connsiteX819" fmla="*/ 472 w 10000"/>
                <a:gd name="connsiteY819" fmla="*/ 8794 h 10000"/>
                <a:gd name="connsiteX820" fmla="*/ 472 w 10000"/>
                <a:gd name="connsiteY820" fmla="*/ 8780 h 10000"/>
                <a:gd name="connsiteX821" fmla="*/ 462 w 10000"/>
                <a:gd name="connsiteY821" fmla="*/ 8784 h 10000"/>
                <a:gd name="connsiteX822" fmla="*/ 452 w 10000"/>
                <a:gd name="connsiteY822" fmla="*/ 8787 h 10000"/>
                <a:gd name="connsiteX823" fmla="*/ 437 w 10000"/>
                <a:gd name="connsiteY823" fmla="*/ 8794 h 10000"/>
                <a:gd name="connsiteX824" fmla="*/ 424 w 10000"/>
                <a:gd name="connsiteY824" fmla="*/ 8803 h 10000"/>
                <a:gd name="connsiteX825" fmla="*/ 394 w 10000"/>
                <a:gd name="connsiteY825" fmla="*/ 8829 h 10000"/>
                <a:gd name="connsiteX826" fmla="*/ 364 w 10000"/>
                <a:gd name="connsiteY826" fmla="*/ 8859 h 10000"/>
                <a:gd name="connsiteX827" fmla="*/ 311 w 10000"/>
                <a:gd name="connsiteY827" fmla="*/ 8922 h 10000"/>
                <a:gd name="connsiteX828" fmla="*/ 268 w 10000"/>
                <a:gd name="connsiteY828" fmla="*/ 8964 h 10000"/>
                <a:gd name="connsiteX829" fmla="*/ 205 w 10000"/>
                <a:gd name="connsiteY829" fmla="*/ 9016 h 10000"/>
                <a:gd name="connsiteX830" fmla="*/ 146 w 10000"/>
                <a:gd name="connsiteY830" fmla="*/ 9053 h 10000"/>
                <a:gd name="connsiteX831" fmla="*/ 139 w 10000"/>
                <a:gd name="connsiteY831" fmla="*/ 9063 h 10000"/>
                <a:gd name="connsiteX832" fmla="*/ 129 w 10000"/>
                <a:gd name="connsiteY832" fmla="*/ 9077 h 10000"/>
                <a:gd name="connsiteX833" fmla="*/ 126 w 10000"/>
                <a:gd name="connsiteY833" fmla="*/ 9086 h 10000"/>
                <a:gd name="connsiteX834" fmla="*/ 126 w 10000"/>
                <a:gd name="connsiteY834" fmla="*/ 9102 h 10000"/>
                <a:gd name="connsiteX835" fmla="*/ 129 w 10000"/>
                <a:gd name="connsiteY835" fmla="*/ 9116 h 10000"/>
                <a:gd name="connsiteX836" fmla="*/ 139 w 10000"/>
                <a:gd name="connsiteY836" fmla="*/ 9135 h 10000"/>
                <a:gd name="connsiteX837" fmla="*/ 149 w 10000"/>
                <a:gd name="connsiteY837" fmla="*/ 9151 h 10000"/>
                <a:gd name="connsiteX838" fmla="*/ 164 w 10000"/>
                <a:gd name="connsiteY838" fmla="*/ 9175 h 10000"/>
                <a:gd name="connsiteX839" fmla="*/ 184 w 10000"/>
                <a:gd name="connsiteY839" fmla="*/ 9196 h 10000"/>
                <a:gd name="connsiteX840" fmla="*/ 207 w 10000"/>
                <a:gd name="connsiteY840" fmla="*/ 9215 h 10000"/>
                <a:gd name="connsiteX841" fmla="*/ 227 w 10000"/>
                <a:gd name="connsiteY841" fmla="*/ 9233 h 10000"/>
                <a:gd name="connsiteX842" fmla="*/ 253 w 10000"/>
                <a:gd name="connsiteY842" fmla="*/ 9250 h 10000"/>
                <a:gd name="connsiteX843" fmla="*/ 303 w 10000"/>
                <a:gd name="connsiteY843" fmla="*/ 9282 h 10000"/>
                <a:gd name="connsiteX844" fmla="*/ 351 w 10000"/>
                <a:gd name="connsiteY844" fmla="*/ 9315 h 10000"/>
                <a:gd name="connsiteX845" fmla="*/ 414 w 10000"/>
                <a:gd name="connsiteY845" fmla="*/ 9364 h 10000"/>
                <a:gd name="connsiteX846" fmla="*/ 480 w 10000"/>
                <a:gd name="connsiteY846" fmla="*/ 9416 h 10000"/>
                <a:gd name="connsiteX847" fmla="*/ 513 w 10000"/>
                <a:gd name="connsiteY847" fmla="*/ 9437 h 10000"/>
                <a:gd name="connsiteX848" fmla="*/ 548 w 10000"/>
                <a:gd name="connsiteY848" fmla="*/ 9462 h 10000"/>
                <a:gd name="connsiteX849" fmla="*/ 581 w 10000"/>
                <a:gd name="connsiteY849" fmla="*/ 9483 h 10000"/>
                <a:gd name="connsiteX850" fmla="*/ 614 w 10000"/>
                <a:gd name="connsiteY850" fmla="*/ 9502 h 10000"/>
                <a:gd name="connsiteX851" fmla="*/ 641 w 10000"/>
                <a:gd name="connsiteY851" fmla="*/ 9525 h 10000"/>
                <a:gd name="connsiteX852" fmla="*/ 672 w 10000"/>
                <a:gd name="connsiteY852" fmla="*/ 9549 h 10000"/>
                <a:gd name="connsiteX853" fmla="*/ 702 w 10000"/>
                <a:gd name="connsiteY853" fmla="*/ 9568 h 10000"/>
                <a:gd name="connsiteX854" fmla="*/ 737 w 10000"/>
                <a:gd name="connsiteY854" fmla="*/ 9589 h 10000"/>
                <a:gd name="connsiteX855" fmla="*/ 770 w 10000"/>
                <a:gd name="connsiteY855" fmla="*/ 9605 h 10000"/>
                <a:gd name="connsiteX856" fmla="*/ 808 w 10000"/>
                <a:gd name="connsiteY856" fmla="*/ 9617 h 10000"/>
                <a:gd name="connsiteX857" fmla="*/ 843 w 10000"/>
                <a:gd name="connsiteY857" fmla="*/ 9624 h 10000"/>
                <a:gd name="connsiteX858" fmla="*/ 884 w 10000"/>
                <a:gd name="connsiteY858" fmla="*/ 9628 h 10000"/>
                <a:gd name="connsiteX859" fmla="*/ 902 w 10000"/>
                <a:gd name="connsiteY859" fmla="*/ 9628 h 10000"/>
                <a:gd name="connsiteX860" fmla="*/ 914 w 10000"/>
                <a:gd name="connsiteY860" fmla="*/ 9631 h 10000"/>
                <a:gd name="connsiteX861" fmla="*/ 932 w 10000"/>
                <a:gd name="connsiteY861" fmla="*/ 9638 h 10000"/>
                <a:gd name="connsiteX862" fmla="*/ 942 w 10000"/>
                <a:gd name="connsiteY862" fmla="*/ 9642 h 10000"/>
                <a:gd name="connsiteX863" fmla="*/ 967 w 10000"/>
                <a:gd name="connsiteY863" fmla="*/ 9652 h 10000"/>
                <a:gd name="connsiteX864" fmla="*/ 987 w 10000"/>
                <a:gd name="connsiteY864" fmla="*/ 9668 h 10000"/>
                <a:gd name="connsiteX865" fmla="*/ 1005 w 10000"/>
                <a:gd name="connsiteY865" fmla="*/ 9682 h 10000"/>
                <a:gd name="connsiteX866" fmla="*/ 1025 w 10000"/>
                <a:gd name="connsiteY866" fmla="*/ 9698 h 10000"/>
                <a:gd name="connsiteX867" fmla="*/ 1045 w 10000"/>
                <a:gd name="connsiteY867" fmla="*/ 9712 h 10000"/>
                <a:gd name="connsiteX868" fmla="*/ 1073 w 10000"/>
                <a:gd name="connsiteY868" fmla="*/ 9724 h 10000"/>
                <a:gd name="connsiteX869" fmla="*/ 1098 w 10000"/>
                <a:gd name="connsiteY869" fmla="*/ 9738 h 10000"/>
                <a:gd name="connsiteX870" fmla="*/ 1121 w 10000"/>
                <a:gd name="connsiteY870" fmla="*/ 9750 h 10000"/>
                <a:gd name="connsiteX871" fmla="*/ 1141 w 10000"/>
                <a:gd name="connsiteY871" fmla="*/ 9762 h 10000"/>
                <a:gd name="connsiteX872" fmla="*/ 1159 w 10000"/>
                <a:gd name="connsiteY872" fmla="*/ 9776 h 10000"/>
                <a:gd name="connsiteX873" fmla="*/ 1172 w 10000"/>
                <a:gd name="connsiteY873" fmla="*/ 9787 h 10000"/>
                <a:gd name="connsiteX874" fmla="*/ 1182 w 10000"/>
                <a:gd name="connsiteY874" fmla="*/ 9804 h 10000"/>
                <a:gd name="connsiteX875" fmla="*/ 1194 w 10000"/>
                <a:gd name="connsiteY875" fmla="*/ 9818 h 10000"/>
                <a:gd name="connsiteX876" fmla="*/ 1202 w 10000"/>
                <a:gd name="connsiteY876" fmla="*/ 9834 h 10000"/>
                <a:gd name="connsiteX877" fmla="*/ 1212 w 10000"/>
                <a:gd name="connsiteY877" fmla="*/ 9869 h 10000"/>
                <a:gd name="connsiteX878" fmla="*/ 1220 w 10000"/>
                <a:gd name="connsiteY878" fmla="*/ 9906 h 10000"/>
                <a:gd name="connsiteX879" fmla="*/ 1230 w 10000"/>
                <a:gd name="connsiteY879" fmla="*/ 9951 h 10000"/>
                <a:gd name="connsiteX880" fmla="*/ 1237 w 10000"/>
                <a:gd name="connsiteY880" fmla="*/ 10000 h 10000"/>
                <a:gd name="connsiteX881" fmla="*/ 1237 w 10000"/>
                <a:gd name="connsiteY88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67 w 10000"/>
                <a:gd name="connsiteY766" fmla="*/ 8329 h 10000"/>
                <a:gd name="connsiteX767" fmla="*/ 1659 w 10000"/>
                <a:gd name="connsiteY767" fmla="*/ 8282 h 10000"/>
                <a:gd name="connsiteX768" fmla="*/ 1657 w 10000"/>
                <a:gd name="connsiteY768" fmla="*/ 8235 h 10000"/>
                <a:gd name="connsiteX769" fmla="*/ 1657 w 10000"/>
                <a:gd name="connsiteY769" fmla="*/ 8195 h 10000"/>
                <a:gd name="connsiteX770" fmla="*/ 1652 w 10000"/>
                <a:gd name="connsiteY770" fmla="*/ 8191 h 10000"/>
                <a:gd name="connsiteX771" fmla="*/ 1586 w 10000"/>
                <a:gd name="connsiteY771" fmla="*/ 8188 h 10000"/>
                <a:gd name="connsiteX772" fmla="*/ 1525 w 10000"/>
                <a:gd name="connsiteY772" fmla="*/ 8186 h 10000"/>
                <a:gd name="connsiteX773" fmla="*/ 1500 w 10000"/>
                <a:gd name="connsiteY773" fmla="*/ 8191 h 10000"/>
                <a:gd name="connsiteX774" fmla="*/ 1472 w 10000"/>
                <a:gd name="connsiteY774" fmla="*/ 8198 h 10000"/>
                <a:gd name="connsiteX775" fmla="*/ 1434 w 10000"/>
                <a:gd name="connsiteY775" fmla="*/ 8223 h 10000"/>
                <a:gd name="connsiteX776" fmla="*/ 1149 w 10000"/>
                <a:gd name="connsiteY776" fmla="*/ 8256 h 10000"/>
                <a:gd name="connsiteX777" fmla="*/ 1139 w 10000"/>
                <a:gd name="connsiteY777" fmla="*/ 8249 h 10000"/>
                <a:gd name="connsiteX778" fmla="*/ 1126 w 10000"/>
                <a:gd name="connsiteY778" fmla="*/ 8240 h 10000"/>
                <a:gd name="connsiteX779" fmla="*/ 1114 w 10000"/>
                <a:gd name="connsiteY779" fmla="*/ 8240 h 10000"/>
                <a:gd name="connsiteX780" fmla="*/ 1091 w 10000"/>
                <a:gd name="connsiteY780" fmla="*/ 8242 h 10000"/>
                <a:gd name="connsiteX781" fmla="*/ 1071 w 10000"/>
                <a:gd name="connsiteY781" fmla="*/ 8252 h 10000"/>
                <a:gd name="connsiteX782" fmla="*/ 1048 w 10000"/>
                <a:gd name="connsiteY782" fmla="*/ 8261 h 10000"/>
                <a:gd name="connsiteX783" fmla="*/ 1030 w 10000"/>
                <a:gd name="connsiteY783" fmla="*/ 8273 h 10000"/>
                <a:gd name="connsiteX784" fmla="*/ 1010 w 10000"/>
                <a:gd name="connsiteY784" fmla="*/ 8287 h 10000"/>
                <a:gd name="connsiteX785" fmla="*/ 995 w 10000"/>
                <a:gd name="connsiteY785" fmla="*/ 8303 h 10000"/>
                <a:gd name="connsiteX786" fmla="*/ 975 w 10000"/>
                <a:gd name="connsiteY786" fmla="*/ 8322 h 10000"/>
                <a:gd name="connsiteX787" fmla="*/ 960 w 10000"/>
                <a:gd name="connsiteY787" fmla="*/ 8343 h 10000"/>
                <a:gd name="connsiteX788" fmla="*/ 927 w 10000"/>
                <a:gd name="connsiteY788" fmla="*/ 8380 h 10000"/>
                <a:gd name="connsiteX789" fmla="*/ 891 w 10000"/>
                <a:gd name="connsiteY789" fmla="*/ 8417 h 10000"/>
                <a:gd name="connsiteX790" fmla="*/ 874 w 10000"/>
                <a:gd name="connsiteY790" fmla="*/ 8436 h 10000"/>
                <a:gd name="connsiteX791" fmla="*/ 859 w 10000"/>
                <a:gd name="connsiteY791" fmla="*/ 8450 h 10000"/>
                <a:gd name="connsiteX792" fmla="*/ 838 w 10000"/>
                <a:gd name="connsiteY792" fmla="*/ 8462 h 10000"/>
                <a:gd name="connsiteX793" fmla="*/ 821 w 10000"/>
                <a:gd name="connsiteY793" fmla="*/ 8476 h 10000"/>
                <a:gd name="connsiteX794" fmla="*/ 742 w 10000"/>
                <a:gd name="connsiteY794" fmla="*/ 8562 h 10000"/>
                <a:gd name="connsiteX795" fmla="*/ 672 w 10000"/>
                <a:gd name="connsiteY795" fmla="*/ 8644 h 10000"/>
                <a:gd name="connsiteX796" fmla="*/ 639 w 10000"/>
                <a:gd name="connsiteY796" fmla="*/ 8684 h 10000"/>
                <a:gd name="connsiteX797" fmla="*/ 609 w 10000"/>
                <a:gd name="connsiteY797" fmla="*/ 8731 h 10000"/>
                <a:gd name="connsiteX798" fmla="*/ 583 w 10000"/>
                <a:gd name="connsiteY798" fmla="*/ 8777 h 10000"/>
                <a:gd name="connsiteX799" fmla="*/ 556 w 10000"/>
                <a:gd name="connsiteY799" fmla="*/ 8831 h 10000"/>
                <a:gd name="connsiteX800" fmla="*/ 545 w 10000"/>
                <a:gd name="connsiteY800" fmla="*/ 8852 h 10000"/>
                <a:gd name="connsiteX801" fmla="*/ 525 w 10000"/>
                <a:gd name="connsiteY801" fmla="*/ 8885 h 10000"/>
                <a:gd name="connsiteX802" fmla="*/ 503 w 10000"/>
                <a:gd name="connsiteY802" fmla="*/ 8925 h 10000"/>
                <a:gd name="connsiteX803" fmla="*/ 480 w 10000"/>
                <a:gd name="connsiteY803" fmla="*/ 8962 h 10000"/>
                <a:gd name="connsiteX804" fmla="*/ 465 w 10000"/>
                <a:gd name="connsiteY804" fmla="*/ 8981 h 10000"/>
                <a:gd name="connsiteX805" fmla="*/ 455 w 10000"/>
                <a:gd name="connsiteY805" fmla="*/ 8993 h 10000"/>
                <a:gd name="connsiteX806" fmla="*/ 444 w 10000"/>
                <a:gd name="connsiteY806" fmla="*/ 9000 h 10000"/>
                <a:gd name="connsiteX807" fmla="*/ 434 w 10000"/>
                <a:gd name="connsiteY807" fmla="*/ 9007 h 10000"/>
                <a:gd name="connsiteX808" fmla="*/ 432 w 10000"/>
                <a:gd name="connsiteY808" fmla="*/ 9007 h 10000"/>
                <a:gd name="connsiteX809" fmla="*/ 429 w 10000"/>
                <a:gd name="connsiteY809" fmla="*/ 9004 h 10000"/>
                <a:gd name="connsiteX810" fmla="*/ 427 w 10000"/>
                <a:gd name="connsiteY810" fmla="*/ 8997 h 10000"/>
                <a:gd name="connsiteX811" fmla="*/ 427 w 10000"/>
                <a:gd name="connsiteY811" fmla="*/ 8993 h 10000"/>
                <a:gd name="connsiteX812" fmla="*/ 424 w 10000"/>
                <a:gd name="connsiteY812" fmla="*/ 8976 h 10000"/>
                <a:gd name="connsiteX813" fmla="*/ 427 w 10000"/>
                <a:gd name="connsiteY813" fmla="*/ 8948 h 10000"/>
                <a:gd name="connsiteX814" fmla="*/ 437 w 10000"/>
                <a:gd name="connsiteY814" fmla="*/ 8913 h 10000"/>
                <a:gd name="connsiteX815" fmla="*/ 455 w 10000"/>
                <a:gd name="connsiteY815" fmla="*/ 8859 h 10000"/>
                <a:gd name="connsiteX816" fmla="*/ 462 w 10000"/>
                <a:gd name="connsiteY816" fmla="*/ 8834 h 10000"/>
                <a:gd name="connsiteX817" fmla="*/ 470 w 10000"/>
                <a:gd name="connsiteY817" fmla="*/ 8810 h 10000"/>
                <a:gd name="connsiteX818" fmla="*/ 472 w 10000"/>
                <a:gd name="connsiteY818" fmla="*/ 8794 h 10000"/>
                <a:gd name="connsiteX819" fmla="*/ 472 w 10000"/>
                <a:gd name="connsiteY819" fmla="*/ 8780 h 10000"/>
                <a:gd name="connsiteX820" fmla="*/ 462 w 10000"/>
                <a:gd name="connsiteY820" fmla="*/ 8784 h 10000"/>
                <a:gd name="connsiteX821" fmla="*/ 452 w 10000"/>
                <a:gd name="connsiteY821" fmla="*/ 8787 h 10000"/>
                <a:gd name="connsiteX822" fmla="*/ 437 w 10000"/>
                <a:gd name="connsiteY822" fmla="*/ 8794 h 10000"/>
                <a:gd name="connsiteX823" fmla="*/ 424 w 10000"/>
                <a:gd name="connsiteY823" fmla="*/ 8803 h 10000"/>
                <a:gd name="connsiteX824" fmla="*/ 394 w 10000"/>
                <a:gd name="connsiteY824" fmla="*/ 8829 h 10000"/>
                <a:gd name="connsiteX825" fmla="*/ 364 w 10000"/>
                <a:gd name="connsiteY825" fmla="*/ 8859 h 10000"/>
                <a:gd name="connsiteX826" fmla="*/ 311 w 10000"/>
                <a:gd name="connsiteY826" fmla="*/ 8922 h 10000"/>
                <a:gd name="connsiteX827" fmla="*/ 268 w 10000"/>
                <a:gd name="connsiteY827" fmla="*/ 8964 h 10000"/>
                <a:gd name="connsiteX828" fmla="*/ 205 w 10000"/>
                <a:gd name="connsiteY828" fmla="*/ 9016 h 10000"/>
                <a:gd name="connsiteX829" fmla="*/ 146 w 10000"/>
                <a:gd name="connsiteY829" fmla="*/ 9053 h 10000"/>
                <a:gd name="connsiteX830" fmla="*/ 139 w 10000"/>
                <a:gd name="connsiteY830" fmla="*/ 9063 h 10000"/>
                <a:gd name="connsiteX831" fmla="*/ 129 w 10000"/>
                <a:gd name="connsiteY831" fmla="*/ 9077 h 10000"/>
                <a:gd name="connsiteX832" fmla="*/ 126 w 10000"/>
                <a:gd name="connsiteY832" fmla="*/ 9086 h 10000"/>
                <a:gd name="connsiteX833" fmla="*/ 126 w 10000"/>
                <a:gd name="connsiteY833" fmla="*/ 9102 h 10000"/>
                <a:gd name="connsiteX834" fmla="*/ 129 w 10000"/>
                <a:gd name="connsiteY834" fmla="*/ 9116 h 10000"/>
                <a:gd name="connsiteX835" fmla="*/ 139 w 10000"/>
                <a:gd name="connsiteY835" fmla="*/ 9135 h 10000"/>
                <a:gd name="connsiteX836" fmla="*/ 149 w 10000"/>
                <a:gd name="connsiteY836" fmla="*/ 9151 h 10000"/>
                <a:gd name="connsiteX837" fmla="*/ 164 w 10000"/>
                <a:gd name="connsiteY837" fmla="*/ 9175 h 10000"/>
                <a:gd name="connsiteX838" fmla="*/ 184 w 10000"/>
                <a:gd name="connsiteY838" fmla="*/ 9196 h 10000"/>
                <a:gd name="connsiteX839" fmla="*/ 207 w 10000"/>
                <a:gd name="connsiteY839" fmla="*/ 9215 h 10000"/>
                <a:gd name="connsiteX840" fmla="*/ 227 w 10000"/>
                <a:gd name="connsiteY840" fmla="*/ 9233 h 10000"/>
                <a:gd name="connsiteX841" fmla="*/ 253 w 10000"/>
                <a:gd name="connsiteY841" fmla="*/ 9250 h 10000"/>
                <a:gd name="connsiteX842" fmla="*/ 303 w 10000"/>
                <a:gd name="connsiteY842" fmla="*/ 9282 h 10000"/>
                <a:gd name="connsiteX843" fmla="*/ 351 w 10000"/>
                <a:gd name="connsiteY843" fmla="*/ 9315 h 10000"/>
                <a:gd name="connsiteX844" fmla="*/ 414 w 10000"/>
                <a:gd name="connsiteY844" fmla="*/ 9364 h 10000"/>
                <a:gd name="connsiteX845" fmla="*/ 480 w 10000"/>
                <a:gd name="connsiteY845" fmla="*/ 9416 h 10000"/>
                <a:gd name="connsiteX846" fmla="*/ 513 w 10000"/>
                <a:gd name="connsiteY846" fmla="*/ 9437 h 10000"/>
                <a:gd name="connsiteX847" fmla="*/ 548 w 10000"/>
                <a:gd name="connsiteY847" fmla="*/ 9462 h 10000"/>
                <a:gd name="connsiteX848" fmla="*/ 581 w 10000"/>
                <a:gd name="connsiteY848" fmla="*/ 9483 h 10000"/>
                <a:gd name="connsiteX849" fmla="*/ 614 w 10000"/>
                <a:gd name="connsiteY849" fmla="*/ 9502 h 10000"/>
                <a:gd name="connsiteX850" fmla="*/ 641 w 10000"/>
                <a:gd name="connsiteY850" fmla="*/ 9525 h 10000"/>
                <a:gd name="connsiteX851" fmla="*/ 672 w 10000"/>
                <a:gd name="connsiteY851" fmla="*/ 9549 h 10000"/>
                <a:gd name="connsiteX852" fmla="*/ 702 w 10000"/>
                <a:gd name="connsiteY852" fmla="*/ 9568 h 10000"/>
                <a:gd name="connsiteX853" fmla="*/ 737 w 10000"/>
                <a:gd name="connsiteY853" fmla="*/ 9589 h 10000"/>
                <a:gd name="connsiteX854" fmla="*/ 770 w 10000"/>
                <a:gd name="connsiteY854" fmla="*/ 9605 h 10000"/>
                <a:gd name="connsiteX855" fmla="*/ 808 w 10000"/>
                <a:gd name="connsiteY855" fmla="*/ 9617 h 10000"/>
                <a:gd name="connsiteX856" fmla="*/ 843 w 10000"/>
                <a:gd name="connsiteY856" fmla="*/ 9624 h 10000"/>
                <a:gd name="connsiteX857" fmla="*/ 884 w 10000"/>
                <a:gd name="connsiteY857" fmla="*/ 9628 h 10000"/>
                <a:gd name="connsiteX858" fmla="*/ 902 w 10000"/>
                <a:gd name="connsiteY858" fmla="*/ 9628 h 10000"/>
                <a:gd name="connsiteX859" fmla="*/ 914 w 10000"/>
                <a:gd name="connsiteY859" fmla="*/ 9631 h 10000"/>
                <a:gd name="connsiteX860" fmla="*/ 932 w 10000"/>
                <a:gd name="connsiteY860" fmla="*/ 9638 h 10000"/>
                <a:gd name="connsiteX861" fmla="*/ 942 w 10000"/>
                <a:gd name="connsiteY861" fmla="*/ 9642 h 10000"/>
                <a:gd name="connsiteX862" fmla="*/ 967 w 10000"/>
                <a:gd name="connsiteY862" fmla="*/ 9652 h 10000"/>
                <a:gd name="connsiteX863" fmla="*/ 987 w 10000"/>
                <a:gd name="connsiteY863" fmla="*/ 9668 h 10000"/>
                <a:gd name="connsiteX864" fmla="*/ 1005 w 10000"/>
                <a:gd name="connsiteY864" fmla="*/ 9682 h 10000"/>
                <a:gd name="connsiteX865" fmla="*/ 1025 w 10000"/>
                <a:gd name="connsiteY865" fmla="*/ 9698 h 10000"/>
                <a:gd name="connsiteX866" fmla="*/ 1045 w 10000"/>
                <a:gd name="connsiteY866" fmla="*/ 9712 h 10000"/>
                <a:gd name="connsiteX867" fmla="*/ 1073 w 10000"/>
                <a:gd name="connsiteY867" fmla="*/ 9724 h 10000"/>
                <a:gd name="connsiteX868" fmla="*/ 1098 w 10000"/>
                <a:gd name="connsiteY868" fmla="*/ 9738 h 10000"/>
                <a:gd name="connsiteX869" fmla="*/ 1121 w 10000"/>
                <a:gd name="connsiteY869" fmla="*/ 9750 h 10000"/>
                <a:gd name="connsiteX870" fmla="*/ 1141 w 10000"/>
                <a:gd name="connsiteY870" fmla="*/ 9762 h 10000"/>
                <a:gd name="connsiteX871" fmla="*/ 1159 w 10000"/>
                <a:gd name="connsiteY871" fmla="*/ 9776 h 10000"/>
                <a:gd name="connsiteX872" fmla="*/ 1172 w 10000"/>
                <a:gd name="connsiteY872" fmla="*/ 9787 h 10000"/>
                <a:gd name="connsiteX873" fmla="*/ 1182 w 10000"/>
                <a:gd name="connsiteY873" fmla="*/ 9804 h 10000"/>
                <a:gd name="connsiteX874" fmla="*/ 1194 w 10000"/>
                <a:gd name="connsiteY874" fmla="*/ 9818 h 10000"/>
                <a:gd name="connsiteX875" fmla="*/ 1202 w 10000"/>
                <a:gd name="connsiteY875" fmla="*/ 9834 h 10000"/>
                <a:gd name="connsiteX876" fmla="*/ 1212 w 10000"/>
                <a:gd name="connsiteY876" fmla="*/ 9869 h 10000"/>
                <a:gd name="connsiteX877" fmla="*/ 1220 w 10000"/>
                <a:gd name="connsiteY877" fmla="*/ 9906 h 10000"/>
                <a:gd name="connsiteX878" fmla="*/ 1230 w 10000"/>
                <a:gd name="connsiteY878" fmla="*/ 9951 h 10000"/>
                <a:gd name="connsiteX879" fmla="*/ 1237 w 10000"/>
                <a:gd name="connsiteY879" fmla="*/ 10000 h 10000"/>
                <a:gd name="connsiteX880" fmla="*/ 1237 w 10000"/>
                <a:gd name="connsiteY88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59 w 10000"/>
                <a:gd name="connsiteY766" fmla="*/ 8282 h 10000"/>
                <a:gd name="connsiteX767" fmla="*/ 1657 w 10000"/>
                <a:gd name="connsiteY767" fmla="*/ 8235 h 10000"/>
                <a:gd name="connsiteX768" fmla="*/ 1657 w 10000"/>
                <a:gd name="connsiteY768" fmla="*/ 8195 h 10000"/>
                <a:gd name="connsiteX769" fmla="*/ 1652 w 10000"/>
                <a:gd name="connsiteY769" fmla="*/ 8191 h 10000"/>
                <a:gd name="connsiteX770" fmla="*/ 1586 w 10000"/>
                <a:gd name="connsiteY770" fmla="*/ 8188 h 10000"/>
                <a:gd name="connsiteX771" fmla="*/ 1525 w 10000"/>
                <a:gd name="connsiteY771" fmla="*/ 8186 h 10000"/>
                <a:gd name="connsiteX772" fmla="*/ 1500 w 10000"/>
                <a:gd name="connsiteY772" fmla="*/ 8191 h 10000"/>
                <a:gd name="connsiteX773" fmla="*/ 1472 w 10000"/>
                <a:gd name="connsiteY773" fmla="*/ 8198 h 10000"/>
                <a:gd name="connsiteX774" fmla="*/ 1434 w 10000"/>
                <a:gd name="connsiteY774" fmla="*/ 8223 h 10000"/>
                <a:gd name="connsiteX775" fmla="*/ 1149 w 10000"/>
                <a:gd name="connsiteY775" fmla="*/ 8256 h 10000"/>
                <a:gd name="connsiteX776" fmla="*/ 1139 w 10000"/>
                <a:gd name="connsiteY776" fmla="*/ 8249 h 10000"/>
                <a:gd name="connsiteX777" fmla="*/ 1126 w 10000"/>
                <a:gd name="connsiteY777" fmla="*/ 8240 h 10000"/>
                <a:gd name="connsiteX778" fmla="*/ 1114 w 10000"/>
                <a:gd name="connsiteY778" fmla="*/ 8240 h 10000"/>
                <a:gd name="connsiteX779" fmla="*/ 1091 w 10000"/>
                <a:gd name="connsiteY779" fmla="*/ 8242 h 10000"/>
                <a:gd name="connsiteX780" fmla="*/ 1071 w 10000"/>
                <a:gd name="connsiteY780" fmla="*/ 8252 h 10000"/>
                <a:gd name="connsiteX781" fmla="*/ 1048 w 10000"/>
                <a:gd name="connsiteY781" fmla="*/ 8261 h 10000"/>
                <a:gd name="connsiteX782" fmla="*/ 1030 w 10000"/>
                <a:gd name="connsiteY782" fmla="*/ 8273 h 10000"/>
                <a:gd name="connsiteX783" fmla="*/ 1010 w 10000"/>
                <a:gd name="connsiteY783" fmla="*/ 8287 h 10000"/>
                <a:gd name="connsiteX784" fmla="*/ 995 w 10000"/>
                <a:gd name="connsiteY784" fmla="*/ 8303 h 10000"/>
                <a:gd name="connsiteX785" fmla="*/ 975 w 10000"/>
                <a:gd name="connsiteY785" fmla="*/ 8322 h 10000"/>
                <a:gd name="connsiteX786" fmla="*/ 960 w 10000"/>
                <a:gd name="connsiteY786" fmla="*/ 8343 h 10000"/>
                <a:gd name="connsiteX787" fmla="*/ 927 w 10000"/>
                <a:gd name="connsiteY787" fmla="*/ 8380 h 10000"/>
                <a:gd name="connsiteX788" fmla="*/ 891 w 10000"/>
                <a:gd name="connsiteY788" fmla="*/ 8417 h 10000"/>
                <a:gd name="connsiteX789" fmla="*/ 874 w 10000"/>
                <a:gd name="connsiteY789" fmla="*/ 8436 h 10000"/>
                <a:gd name="connsiteX790" fmla="*/ 859 w 10000"/>
                <a:gd name="connsiteY790" fmla="*/ 8450 h 10000"/>
                <a:gd name="connsiteX791" fmla="*/ 838 w 10000"/>
                <a:gd name="connsiteY791" fmla="*/ 8462 h 10000"/>
                <a:gd name="connsiteX792" fmla="*/ 821 w 10000"/>
                <a:gd name="connsiteY792" fmla="*/ 8476 h 10000"/>
                <a:gd name="connsiteX793" fmla="*/ 742 w 10000"/>
                <a:gd name="connsiteY793" fmla="*/ 8562 h 10000"/>
                <a:gd name="connsiteX794" fmla="*/ 672 w 10000"/>
                <a:gd name="connsiteY794" fmla="*/ 8644 h 10000"/>
                <a:gd name="connsiteX795" fmla="*/ 639 w 10000"/>
                <a:gd name="connsiteY795" fmla="*/ 8684 h 10000"/>
                <a:gd name="connsiteX796" fmla="*/ 609 w 10000"/>
                <a:gd name="connsiteY796" fmla="*/ 8731 h 10000"/>
                <a:gd name="connsiteX797" fmla="*/ 583 w 10000"/>
                <a:gd name="connsiteY797" fmla="*/ 8777 h 10000"/>
                <a:gd name="connsiteX798" fmla="*/ 556 w 10000"/>
                <a:gd name="connsiteY798" fmla="*/ 8831 h 10000"/>
                <a:gd name="connsiteX799" fmla="*/ 545 w 10000"/>
                <a:gd name="connsiteY799" fmla="*/ 8852 h 10000"/>
                <a:gd name="connsiteX800" fmla="*/ 525 w 10000"/>
                <a:gd name="connsiteY800" fmla="*/ 8885 h 10000"/>
                <a:gd name="connsiteX801" fmla="*/ 503 w 10000"/>
                <a:gd name="connsiteY801" fmla="*/ 8925 h 10000"/>
                <a:gd name="connsiteX802" fmla="*/ 480 w 10000"/>
                <a:gd name="connsiteY802" fmla="*/ 8962 h 10000"/>
                <a:gd name="connsiteX803" fmla="*/ 465 w 10000"/>
                <a:gd name="connsiteY803" fmla="*/ 8981 h 10000"/>
                <a:gd name="connsiteX804" fmla="*/ 455 w 10000"/>
                <a:gd name="connsiteY804" fmla="*/ 8993 h 10000"/>
                <a:gd name="connsiteX805" fmla="*/ 444 w 10000"/>
                <a:gd name="connsiteY805" fmla="*/ 9000 h 10000"/>
                <a:gd name="connsiteX806" fmla="*/ 434 w 10000"/>
                <a:gd name="connsiteY806" fmla="*/ 9007 h 10000"/>
                <a:gd name="connsiteX807" fmla="*/ 432 w 10000"/>
                <a:gd name="connsiteY807" fmla="*/ 9007 h 10000"/>
                <a:gd name="connsiteX808" fmla="*/ 429 w 10000"/>
                <a:gd name="connsiteY808" fmla="*/ 9004 h 10000"/>
                <a:gd name="connsiteX809" fmla="*/ 427 w 10000"/>
                <a:gd name="connsiteY809" fmla="*/ 8997 h 10000"/>
                <a:gd name="connsiteX810" fmla="*/ 427 w 10000"/>
                <a:gd name="connsiteY810" fmla="*/ 8993 h 10000"/>
                <a:gd name="connsiteX811" fmla="*/ 424 w 10000"/>
                <a:gd name="connsiteY811" fmla="*/ 8976 h 10000"/>
                <a:gd name="connsiteX812" fmla="*/ 427 w 10000"/>
                <a:gd name="connsiteY812" fmla="*/ 8948 h 10000"/>
                <a:gd name="connsiteX813" fmla="*/ 437 w 10000"/>
                <a:gd name="connsiteY813" fmla="*/ 8913 h 10000"/>
                <a:gd name="connsiteX814" fmla="*/ 455 w 10000"/>
                <a:gd name="connsiteY814" fmla="*/ 8859 h 10000"/>
                <a:gd name="connsiteX815" fmla="*/ 462 w 10000"/>
                <a:gd name="connsiteY815" fmla="*/ 8834 h 10000"/>
                <a:gd name="connsiteX816" fmla="*/ 470 w 10000"/>
                <a:gd name="connsiteY816" fmla="*/ 8810 h 10000"/>
                <a:gd name="connsiteX817" fmla="*/ 472 w 10000"/>
                <a:gd name="connsiteY817" fmla="*/ 8794 h 10000"/>
                <a:gd name="connsiteX818" fmla="*/ 472 w 10000"/>
                <a:gd name="connsiteY818" fmla="*/ 8780 h 10000"/>
                <a:gd name="connsiteX819" fmla="*/ 462 w 10000"/>
                <a:gd name="connsiteY819" fmla="*/ 8784 h 10000"/>
                <a:gd name="connsiteX820" fmla="*/ 452 w 10000"/>
                <a:gd name="connsiteY820" fmla="*/ 8787 h 10000"/>
                <a:gd name="connsiteX821" fmla="*/ 437 w 10000"/>
                <a:gd name="connsiteY821" fmla="*/ 8794 h 10000"/>
                <a:gd name="connsiteX822" fmla="*/ 424 w 10000"/>
                <a:gd name="connsiteY822" fmla="*/ 8803 h 10000"/>
                <a:gd name="connsiteX823" fmla="*/ 394 w 10000"/>
                <a:gd name="connsiteY823" fmla="*/ 8829 h 10000"/>
                <a:gd name="connsiteX824" fmla="*/ 364 w 10000"/>
                <a:gd name="connsiteY824" fmla="*/ 8859 h 10000"/>
                <a:gd name="connsiteX825" fmla="*/ 311 w 10000"/>
                <a:gd name="connsiteY825" fmla="*/ 8922 h 10000"/>
                <a:gd name="connsiteX826" fmla="*/ 268 w 10000"/>
                <a:gd name="connsiteY826" fmla="*/ 8964 h 10000"/>
                <a:gd name="connsiteX827" fmla="*/ 205 w 10000"/>
                <a:gd name="connsiteY827" fmla="*/ 9016 h 10000"/>
                <a:gd name="connsiteX828" fmla="*/ 146 w 10000"/>
                <a:gd name="connsiteY828" fmla="*/ 9053 h 10000"/>
                <a:gd name="connsiteX829" fmla="*/ 139 w 10000"/>
                <a:gd name="connsiteY829" fmla="*/ 9063 h 10000"/>
                <a:gd name="connsiteX830" fmla="*/ 129 w 10000"/>
                <a:gd name="connsiteY830" fmla="*/ 9077 h 10000"/>
                <a:gd name="connsiteX831" fmla="*/ 126 w 10000"/>
                <a:gd name="connsiteY831" fmla="*/ 9086 h 10000"/>
                <a:gd name="connsiteX832" fmla="*/ 126 w 10000"/>
                <a:gd name="connsiteY832" fmla="*/ 9102 h 10000"/>
                <a:gd name="connsiteX833" fmla="*/ 129 w 10000"/>
                <a:gd name="connsiteY833" fmla="*/ 9116 h 10000"/>
                <a:gd name="connsiteX834" fmla="*/ 139 w 10000"/>
                <a:gd name="connsiteY834" fmla="*/ 9135 h 10000"/>
                <a:gd name="connsiteX835" fmla="*/ 149 w 10000"/>
                <a:gd name="connsiteY835" fmla="*/ 9151 h 10000"/>
                <a:gd name="connsiteX836" fmla="*/ 164 w 10000"/>
                <a:gd name="connsiteY836" fmla="*/ 9175 h 10000"/>
                <a:gd name="connsiteX837" fmla="*/ 184 w 10000"/>
                <a:gd name="connsiteY837" fmla="*/ 9196 h 10000"/>
                <a:gd name="connsiteX838" fmla="*/ 207 w 10000"/>
                <a:gd name="connsiteY838" fmla="*/ 9215 h 10000"/>
                <a:gd name="connsiteX839" fmla="*/ 227 w 10000"/>
                <a:gd name="connsiteY839" fmla="*/ 9233 h 10000"/>
                <a:gd name="connsiteX840" fmla="*/ 253 w 10000"/>
                <a:gd name="connsiteY840" fmla="*/ 9250 h 10000"/>
                <a:gd name="connsiteX841" fmla="*/ 303 w 10000"/>
                <a:gd name="connsiteY841" fmla="*/ 9282 h 10000"/>
                <a:gd name="connsiteX842" fmla="*/ 351 w 10000"/>
                <a:gd name="connsiteY842" fmla="*/ 9315 h 10000"/>
                <a:gd name="connsiteX843" fmla="*/ 414 w 10000"/>
                <a:gd name="connsiteY843" fmla="*/ 9364 h 10000"/>
                <a:gd name="connsiteX844" fmla="*/ 480 w 10000"/>
                <a:gd name="connsiteY844" fmla="*/ 9416 h 10000"/>
                <a:gd name="connsiteX845" fmla="*/ 513 w 10000"/>
                <a:gd name="connsiteY845" fmla="*/ 9437 h 10000"/>
                <a:gd name="connsiteX846" fmla="*/ 548 w 10000"/>
                <a:gd name="connsiteY846" fmla="*/ 9462 h 10000"/>
                <a:gd name="connsiteX847" fmla="*/ 581 w 10000"/>
                <a:gd name="connsiteY847" fmla="*/ 9483 h 10000"/>
                <a:gd name="connsiteX848" fmla="*/ 614 w 10000"/>
                <a:gd name="connsiteY848" fmla="*/ 9502 h 10000"/>
                <a:gd name="connsiteX849" fmla="*/ 641 w 10000"/>
                <a:gd name="connsiteY849" fmla="*/ 9525 h 10000"/>
                <a:gd name="connsiteX850" fmla="*/ 672 w 10000"/>
                <a:gd name="connsiteY850" fmla="*/ 9549 h 10000"/>
                <a:gd name="connsiteX851" fmla="*/ 702 w 10000"/>
                <a:gd name="connsiteY851" fmla="*/ 9568 h 10000"/>
                <a:gd name="connsiteX852" fmla="*/ 737 w 10000"/>
                <a:gd name="connsiteY852" fmla="*/ 9589 h 10000"/>
                <a:gd name="connsiteX853" fmla="*/ 770 w 10000"/>
                <a:gd name="connsiteY853" fmla="*/ 9605 h 10000"/>
                <a:gd name="connsiteX854" fmla="*/ 808 w 10000"/>
                <a:gd name="connsiteY854" fmla="*/ 9617 h 10000"/>
                <a:gd name="connsiteX855" fmla="*/ 843 w 10000"/>
                <a:gd name="connsiteY855" fmla="*/ 9624 h 10000"/>
                <a:gd name="connsiteX856" fmla="*/ 884 w 10000"/>
                <a:gd name="connsiteY856" fmla="*/ 9628 h 10000"/>
                <a:gd name="connsiteX857" fmla="*/ 902 w 10000"/>
                <a:gd name="connsiteY857" fmla="*/ 9628 h 10000"/>
                <a:gd name="connsiteX858" fmla="*/ 914 w 10000"/>
                <a:gd name="connsiteY858" fmla="*/ 9631 h 10000"/>
                <a:gd name="connsiteX859" fmla="*/ 932 w 10000"/>
                <a:gd name="connsiteY859" fmla="*/ 9638 h 10000"/>
                <a:gd name="connsiteX860" fmla="*/ 942 w 10000"/>
                <a:gd name="connsiteY860" fmla="*/ 9642 h 10000"/>
                <a:gd name="connsiteX861" fmla="*/ 967 w 10000"/>
                <a:gd name="connsiteY861" fmla="*/ 9652 h 10000"/>
                <a:gd name="connsiteX862" fmla="*/ 987 w 10000"/>
                <a:gd name="connsiteY862" fmla="*/ 9668 h 10000"/>
                <a:gd name="connsiteX863" fmla="*/ 1005 w 10000"/>
                <a:gd name="connsiteY863" fmla="*/ 9682 h 10000"/>
                <a:gd name="connsiteX864" fmla="*/ 1025 w 10000"/>
                <a:gd name="connsiteY864" fmla="*/ 9698 h 10000"/>
                <a:gd name="connsiteX865" fmla="*/ 1045 w 10000"/>
                <a:gd name="connsiteY865" fmla="*/ 9712 h 10000"/>
                <a:gd name="connsiteX866" fmla="*/ 1073 w 10000"/>
                <a:gd name="connsiteY866" fmla="*/ 9724 h 10000"/>
                <a:gd name="connsiteX867" fmla="*/ 1098 w 10000"/>
                <a:gd name="connsiteY867" fmla="*/ 9738 h 10000"/>
                <a:gd name="connsiteX868" fmla="*/ 1121 w 10000"/>
                <a:gd name="connsiteY868" fmla="*/ 9750 h 10000"/>
                <a:gd name="connsiteX869" fmla="*/ 1141 w 10000"/>
                <a:gd name="connsiteY869" fmla="*/ 9762 h 10000"/>
                <a:gd name="connsiteX870" fmla="*/ 1159 w 10000"/>
                <a:gd name="connsiteY870" fmla="*/ 9776 h 10000"/>
                <a:gd name="connsiteX871" fmla="*/ 1172 w 10000"/>
                <a:gd name="connsiteY871" fmla="*/ 9787 h 10000"/>
                <a:gd name="connsiteX872" fmla="*/ 1182 w 10000"/>
                <a:gd name="connsiteY872" fmla="*/ 9804 h 10000"/>
                <a:gd name="connsiteX873" fmla="*/ 1194 w 10000"/>
                <a:gd name="connsiteY873" fmla="*/ 9818 h 10000"/>
                <a:gd name="connsiteX874" fmla="*/ 1202 w 10000"/>
                <a:gd name="connsiteY874" fmla="*/ 9834 h 10000"/>
                <a:gd name="connsiteX875" fmla="*/ 1212 w 10000"/>
                <a:gd name="connsiteY875" fmla="*/ 9869 h 10000"/>
                <a:gd name="connsiteX876" fmla="*/ 1220 w 10000"/>
                <a:gd name="connsiteY876" fmla="*/ 9906 h 10000"/>
                <a:gd name="connsiteX877" fmla="*/ 1230 w 10000"/>
                <a:gd name="connsiteY877" fmla="*/ 9951 h 10000"/>
                <a:gd name="connsiteX878" fmla="*/ 1237 w 10000"/>
                <a:gd name="connsiteY878" fmla="*/ 10000 h 10000"/>
                <a:gd name="connsiteX879" fmla="*/ 1237 w 10000"/>
                <a:gd name="connsiteY87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57 w 10000"/>
                <a:gd name="connsiteY766" fmla="*/ 8235 h 10000"/>
                <a:gd name="connsiteX767" fmla="*/ 1657 w 10000"/>
                <a:gd name="connsiteY767" fmla="*/ 8195 h 10000"/>
                <a:gd name="connsiteX768" fmla="*/ 1652 w 10000"/>
                <a:gd name="connsiteY768" fmla="*/ 8191 h 10000"/>
                <a:gd name="connsiteX769" fmla="*/ 1586 w 10000"/>
                <a:gd name="connsiteY769" fmla="*/ 8188 h 10000"/>
                <a:gd name="connsiteX770" fmla="*/ 1525 w 10000"/>
                <a:gd name="connsiteY770" fmla="*/ 8186 h 10000"/>
                <a:gd name="connsiteX771" fmla="*/ 1500 w 10000"/>
                <a:gd name="connsiteY771" fmla="*/ 8191 h 10000"/>
                <a:gd name="connsiteX772" fmla="*/ 1472 w 10000"/>
                <a:gd name="connsiteY772" fmla="*/ 8198 h 10000"/>
                <a:gd name="connsiteX773" fmla="*/ 1434 w 10000"/>
                <a:gd name="connsiteY773" fmla="*/ 8223 h 10000"/>
                <a:gd name="connsiteX774" fmla="*/ 1149 w 10000"/>
                <a:gd name="connsiteY774" fmla="*/ 8256 h 10000"/>
                <a:gd name="connsiteX775" fmla="*/ 1139 w 10000"/>
                <a:gd name="connsiteY775" fmla="*/ 8249 h 10000"/>
                <a:gd name="connsiteX776" fmla="*/ 1126 w 10000"/>
                <a:gd name="connsiteY776" fmla="*/ 8240 h 10000"/>
                <a:gd name="connsiteX777" fmla="*/ 1114 w 10000"/>
                <a:gd name="connsiteY777" fmla="*/ 8240 h 10000"/>
                <a:gd name="connsiteX778" fmla="*/ 1091 w 10000"/>
                <a:gd name="connsiteY778" fmla="*/ 8242 h 10000"/>
                <a:gd name="connsiteX779" fmla="*/ 1071 w 10000"/>
                <a:gd name="connsiteY779" fmla="*/ 8252 h 10000"/>
                <a:gd name="connsiteX780" fmla="*/ 1048 w 10000"/>
                <a:gd name="connsiteY780" fmla="*/ 8261 h 10000"/>
                <a:gd name="connsiteX781" fmla="*/ 1030 w 10000"/>
                <a:gd name="connsiteY781" fmla="*/ 8273 h 10000"/>
                <a:gd name="connsiteX782" fmla="*/ 1010 w 10000"/>
                <a:gd name="connsiteY782" fmla="*/ 8287 h 10000"/>
                <a:gd name="connsiteX783" fmla="*/ 995 w 10000"/>
                <a:gd name="connsiteY783" fmla="*/ 8303 h 10000"/>
                <a:gd name="connsiteX784" fmla="*/ 975 w 10000"/>
                <a:gd name="connsiteY784" fmla="*/ 8322 h 10000"/>
                <a:gd name="connsiteX785" fmla="*/ 960 w 10000"/>
                <a:gd name="connsiteY785" fmla="*/ 8343 h 10000"/>
                <a:gd name="connsiteX786" fmla="*/ 927 w 10000"/>
                <a:gd name="connsiteY786" fmla="*/ 8380 h 10000"/>
                <a:gd name="connsiteX787" fmla="*/ 891 w 10000"/>
                <a:gd name="connsiteY787" fmla="*/ 8417 h 10000"/>
                <a:gd name="connsiteX788" fmla="*/ 874 w 10000"/>
                <a:gd name="connsiteY788" fmla="*/ 8436 h 10000"/>
                <a:gd name="connsiteX789" fmla="*/ 859 w 10000"/>
                <a:gd name="connsiteY789" fmla="*/ 8450 h 10000"/>
                <a:gd name="connsiteX790" fmla="*/ 838 w 10000"/>
                <a:gd name="connsiteY790" fmla="*/ 8462 h 10000"/>
                <a:gd name="connsiteX791" fmla="*/ 821 w 10000"/>
                <a:gd name="connsiteY791" fmla="*/ 8476 h 10000"/>
                <a:gd name="connsiteX792" fmla="*/ 742 w 10000"/>
                <a:gd name="connsiteY792" fmla="*/ 8562 h 10000"/>
                <a:gd name="connsiteX793" fmla="*/ 672 w 10000"/>
                <a:gd name="connsiteY793" fmla="*/ 8644 h 10000"/>
                <a:gd name="connsiteX794" fmla="*/ 639 w 10000"/>
                <a:gd name="connsiteY794" fmla="*/ 8684 h 10000"/>
                <a:gd name="connsiteX795" fmla="*/ 609 w 10000"/>
                <a:gd name="connsiteY795" fmla="*/ 8731 h 10000"/>
                <a:gd name="connsiteX796" fmla="*/ 583 w 10000"/>
                <a:gd name="connsiteY796" fmla="*/ 8777 h 10000"/>
                <a:gd name="connsiteX797" fmla="*/ 556 w 10000"/>
                <a:gd name="connsiteY797" fmla="*/ 8831 h 10000"/>
                <a:gd name="connsiteX798" fmla="*/ 545 w 10000"/>
                <a:gd name="connsiteY798" fmla="*/ 8852 h 10000"/>
                <a:gd name="connsiteX799" fmla="*/ 525 w 10000"/>
                <a:gd name="connsiteY799" fmla="*/ 8885 h 10000"/>
                <a:gd name="connsiteX800" fmla="*/ 503 w 10000"/>
                <a:gd name="connsiteY800" fmla="*/ 8925 h 10000"/>
                <a:gd name="connsiteX801" fmla="*/ 480 w 10000"/>
                <a:gd name="connsiteY801" fmla="*/ 8962 h 10000"/>
                <a:gd name="connsiteX802" fmla="*/ 465 w 10000"/>
                <a:gd name="connsiteY802" fmla="*/ 8981 h 10000"/>
                <a:gd name="connsiteX803" fmla="*/ 455 w 10000"/>
                <a:gd name="connsiteY803" fmla="*/ 8993 h 10000"/>
                <a:gd name="connsiteX804" fmla="*/ 444 w 10000"/>
                <a:gd name="connsiteY804" fmla="*/ 9000 h 10000"/>
                <a:gd name="connsiteX805" fmla="*/ 434 w 10000"/>
                <a:gd name="connsiteY805" fmla="*/ 9007 h 10000"/>
                <a:gd name="connsiteX806" fmla="*/ 432 w 10000"/>
                <a:gd name="connsiteY806" fmla="*/ 9007 h 10000"/>
                <a:gd name="connsiteX807" fmla="*/ 429 w 10000"/>
                <a:gd name="connsiteY807" fmla="*/ 9004 h 10000"/>
                <a:gd name="connsiteX808" fmla="*/ 427 w 10000"/>
                <a:gd name="connsiteY808" fmla="*/ 8997 h 10000"/>
                <a:gd name="connsiteX809" fmla="*/ 427 w 10000"/>
                <a:gd name="connsiteY809" fmla="*/ 8993 h 10000"/>
                <a:gd name="connsiteX810" fmla="*/ 424 w 10000"/>
                <a:gd name="connsiteY810" fmla="*/ 8976 h 10000"/>
                <a:gd name="connsiteX811" fmla="*/ 427 w 10000"/>
                <a:gd name="connsiteY811" fmla="*/ 8948 h 10000"/>
                <a:gd name="connsiteX812" fmla="*/ 437 w 10000"/>
                <a:gd name="connsiteY812" fmla="*/ 8913 h 10000"/>
                <a:gd name="connsiteX813" fmla="*/ 455 w 10000"/>
                <a:gd name="connsiteY813" fmla="*/ 8859 h 10000"/>
                <a:gd name="connsiteX814" fmla="*/ 462 w 10000"/>
                <a:gd name="connsiteY814" fmla="*/ 8834 h 10000"/>
                <a:gd name="connsiteX815" fmla="*/ 470 w 10000"/>
                <a:gd name="connsiteY815" fmla="*/ 8810 h 10000"/>
                <a:gd name="connsiteX816" fmla="*/ 472 w 10000"/>
                <a:gd name="connsiteY816" fmla="*/ 8794 h 10000"/>
                <a:gd name="connsiteX817" fmla="*/ 472 w 10000"/>
                <a:gd name="connsiteY817" fmla="*/ 8780 h 10000"/>
                <a:gd name="connsiteX818" fmla="*/ 462 w 10000"/>
                <a:gd name="connsiteY818" fmla="*/ 8784 h 10000"/>
                <a:gd name="connsiteX819" fmla="*/ 452 w 10000"/>
                <a:gd name="connsiteY819" fmla="*/ 8787 h 10000"/>
                <a:gd name="connsiteX820" fmla="*/ 437 w 10000"/>
                <a:gd name="connsiteY820" fmla="*/ 8794 h 10000"/>
                <a:gd name="connsiteX821" fmla="*/ 424 w 10000"/>
                <a:gd name="connsiteY821" fmla="*/ 8803 h 10000"/>
                <a:gd name="connsiteX822" fmla="*/ 394 w 10000"/>
                <a:gd name="connsiteY822" fmla="*/ 8829 h 10000"/>
                <a:gd name="connsiteX823" fmla="*/ 364 w 10000"/>
                <a:gd name="connsiteY823" fmla="*/ 8859 h 10000"/>
                <a:gd name="connsiteX824" fmla="*/ 311 w 10000"/>
                <a:gd name="connsiteY824" fmla="*/ 8922 h 10000"/>
                <a:gd name="connsiteX825" fmla="*/ 268 w 10000"/>
                <a:gd name="connsiteY825" fmla="*/ 8964 h 10000"/>
                <a:gd name="connsiteX826" fmla="*/ 205 w 10000"/>
                <a:gd name="connsiteY826" fmla="*/ 9016 h 10000"/>
                <a:gd name="connsiteX827" fmla="*/ 146 w 10000"/>
                <a:gd name="connsiteY827" fmla="*/ 9053 h 10000"/>
                <a:gd name="connsiteX828" fmla="*/ 139 w 10000"/>
                <a:gd name="connsiteY828" fmla="*/ 9063 h 10000"/>
                <a:gd name="connsiteX829" fmla="*/ 129 w 10000"/>
                <a:gd name="connsiteY829" fmla="*/ 9077 h 10000"/>
                <a:gd name="connsiteX830" fmla="*/ 126 w 10000"/>
                <a:gd name="connsiteY830" fmla="*/ 9086 h 10000"/>
                <a:gd name="connsiteX831" fmla="*/ 126 w 10000"/>
                <a:gd name="connsiteY831" fmla="*/ 9102 h 10000"/>
                <a:gd name="connsiteX832" fmla="*/ 129 w 10000"/>
                <a:gd name="connsiteY832" fmla="*/ 9116 h 10000"/>
                <a:gd name="connsiteX833" fmla="*/ 139 w 10000"/>
                <a:gd name="connsiteY833" fmla="*/ 9135 h 10000"/>
                <a:gd name="connsiteX834" fmla="*/ 149 w 10000"/>
                <a:gd name="connsiteY834" fmla="*/ 9151 h 10000"/>
                <a:gd name="connsiteX835" fmla="*/ 164 w 10000"/>
                <a:gd name="connsiteY835" fmla="*/ 9175 h 10000"/>
                <a:gd name="connsiteX836" fmla="*/ 184 w 10000"/>
                <a:gd name="connsiteY836" fmla="*/ 9196 h 10000"/>
                <a:gd name="connsiteX837" fmla="*/ 207 w 10000"/>
                <a:gd name="connsiteY837" fmla="*/ 9215 h 10000"/>
                <a:gd name="connsiteX838" fmla="*/ 227 w 10000"/>
                <a:gd name="connsiteY838" fmla="*/ 9233 h 10000"/>
                <a:gd name="connsiteX839" fmla="*/ 253 w 10000"/>
                <a:gd name="connsiteY839" fmla="*/ 9250 h 10000"/>
                <a:gd name="connsiteX840" fmla="*/ 303 w 10000"/>
                <a:gd name="connsiteY840" fmla="*/ 9282 h 10000"/>
                <a:gd name="connsiteX841" fmla="*/ 351 w 10000"/>
                <a:gd name="connsiteY841" fmla="*/ 9315 h 10000"/>
                <a:gd name="connsiteX842" fmla="*/ 414 w 10000"/>
                <a:gd name="connsiteY842" fmla="*/ 9364 h 10000"/>
                <a:gd name="connsiteX843" fmla="*/ 480 w 10000"/>
                <a:gd name="connsiteY843" fmla="*/ 9416 h 10000"/>
                <a:gd name="connsiteX844" fmla="*/ 513 w 10000"/>
                <a:gd name="connsiteY844" fmla="*/ 9437 h 10000"/>
                <a:gd name="connsiteX845" fmla="*/ 548 w 10000"/>
                <a:gd name="connsiteY845" fmla="*/ 9462 h 10000"/>
                <a:gd name="connsiteX846" fmla="*/ 581 w 10000"/>
                <a:gd name="connsiteY846" fmla="*/ 9483 h 10000"/>
                <a:gd name="connsiteX847" fmla="*/ 614 w 10000"/>
                <a:gd name="connsiteY847" fmla="*/ 9502 h 10000"/>
                <a:gd name="connsiteX848" fmla="*/ 641 w 10000"/>
                <a:gd name="connsiteY848" fmla="*/ 9525 h 10000"/>
                <a:gd name="connsiteX849" fmla="*/ 672 w 10000"/>
                <a:gd name="connsiteY849" fmla="*/ 9549 h 10000"/>
                <a:gd name="connsiteX850" fmla="*/ 702 w 10000"/>
                <a:gd name="connsiteY850" fmla="*/ 9568 h 10000"/>
                <a:gd name="connsiteX851" fmla="*/ 737 w 10000"/>
                <a:gd name="connsiteY851" fmla="*/ 9589 h 10000"/>
                <a:gd name="connsiteX852" fmla="*/ 770 w 10000"/>
                <a:gd name="connsiteY852" fmla="*/ 9605 h 10000"/>
                <a:gd name="connsiteX853" fmla="*/ 808 w 10000"/>
                <a:gd name="connsiteY853" fmla="*/ 9617 h 10000"/>
                <a:gd name="connsiteX854" fmla="*/ 843 w 10000"/>
                <a:gd name="connsiteY854" fmla="*/ 9624 h 10000"/>
                <a:gd name="connsiteX855" fmla="*/ 884 w 10000"/>
                <a:gd name="connsiteY855" fmla="*/ 9628 h 10000"/>
                <a:gd name="connsiteX856" fmla="*/ 902 w 10000"/>
                <a:gd name="connsiteY856" fmla="*/ 9628 h 10000"/>
                <a:gd name="connsiteX857" fmla="*/ 914 w 10000"/>
                <a:gd name="connsiteY857" fmla="*/ 9631 h 10000"/>
                <a:gd name="connsiteX858" fmla="*/ 932 w 10000"/>
                <a:gd name="connsiteY858" fmla="*/ 9638 h 10000"/>
                <a:gd name="connsiteX859" fmla="*/ 942 w 10000"/>
                <a:gd name="connsiteY859" fmla="*/ 9642 h 10000"/>
                <a:gd name="connsiteX860" fmla="*/ 967 w 10000"/>
                <a:gd name="connsiteY860" fmla="*/ 9652 h 10000"/>
                <a:gd name="connsiteX861" fmla="*/ 987 w 10000"/>
                <a:gd name="connsiteY861" fmla="*/ 9668 h 10000"/>
                <a:gd name="connsiteX862" fmla="*/ 1005 w 10000"/>
                <a:gd name="connsiteY862" fmla="*/ 9682 h 10000"/>
                <a:gd name="connsiteX863" fmla="*/ 1025 w 10000"/>
                <a:gd name="connsiteY863" fmla="*/ 9698 h 10000"/>
                <a:gd name="connsiteX864" fmla="*/ 1045 w 10000"/>
                <a:gd name="connsiteY864" fmla="*/ 9712 h 10000"/>
                <a:gd name="connsiteX865" fmla="*/ 1073 w 10000"/>
                <a:gd name="connsiteY865" fmla="*/ 9724 h 10000"/>
                <a:gd name="connsiteX866" fmla="*/ 1098 w 10000"/>
                <a:gd name="connsiteY866" fmla="*/ 9738 h 10000"/>
                <a:gd name="connsiteX867" fmla="*/ 1121 w 10000"/>
                <a:gd name="connsiteY867" fmla="*/ 9750 h 10000"/>
                <a:gd name="connsiteX868" fmla="*/ 1141 w 10000"/>
                <a:gd name="connsiteY868" fmla="*/ 9762 h 10000"/>
                <a:gd name="connsiteX869" fmla="*/ 1159 w 10000"/>
                <a:gd name="connsiteY869" fmla="*/ 9776 h 10000"/>
                <a:gd name="connsiteX870" fmla="*/ 1172 w 10000"/>
                <a:gd name="connsiteY870" fmla="*/ 9787 h 10000"/>
                <a:gd name="connsiteX871" fmla="*/ 1182 w 10000"/>
                <a:gd name="connsiteY871" fmla="*/ 9804 h 10000"/>
                <a:gd name="connsiteX872" fmla="*/ 1194 w 10000"/>
                <a:gd name="connsiteY872" fmla="*/ 9818 h 10000"/>
                <a:gd name="connsiteX873" fmla="*/ 1202 w 10000"/>
                <a:gd name="connsiteY873" fmla="*/ 9834 h 10000"/>
                <a:gd name="connsiteX874" fmla="*/ 1212 w 10000"/>
                <a:gd name="connsiteY874" fmla="*/ 9869 h 10000"/>
                <a:gd name="connsiteX875" fmla="*/ 1220 w 10000"/>
                <a:gd name="connsiteY875" fmla="*/ 9906 h 10000"/>
                <a:gd name="connsiteX876" fmla="*/ 1230 w 10000"/>
                <a:gd name="connsiteY876" fmla="*/ 9951 h 10000"/>
                <a:gd name="connsiteX877" fmla="*/ 1237 w 10000"/>
                <a:gd name="connsiteY877" fmla="*/ 10000 h 10000"/>
                <a:gd name="connsiteX878" fmla="*/ 1237 w 10000"/>
                <a:gd name="connsiteY87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57 w 10000"/>
                <a:gd name="connsiteY766" fmla="*/ 8235 h 10000"/>
                <a:gd name="connsiteX767" fmla="*/ 1657 w 10000"/>
                <a:gd name="connsiteY767" fmla="*/ 8195 h 10000"/>
                <a:gd name="connsiteX768" fmla="*/ 1586 w 10000"/>
                <a:gd name="connsiteY768" fmla="*/ 8188 h 10000"/>
                <a:gd name="connsiteX769" fmla="*/ 1525 w 10000"/>
                <a:gd name="connsiteY769" fmla="*/ 8186 h 10000"/>
                <a:gd name="connsiteX770" fmla="*/ 1500 w 10000"/>
                <a:gd name="connsiteY770" fmla="*/ 8191 h 10000"/>
                <a:gd name="connsiteX771" fmla="*/ 1472 w 10000"/>
                <a:gd name="connsiteY771" fmla="*/ 8198 h 10000"/>
                <a:gd name="connsiteX772" fmla="*/ 1434 w 10000"/>
                <a:gd name="connsiteY772" fmla="*/ 8223 h 10000"/>
                <a:gd name="connsiteX773" fmla="*/ 1149 w 10000"/>
                <a:gd name="connsiteY773" fmla="*/ 8256 h 10000"/>
                <a:gd name="connsiteX774" fmla="*/ 1139 w 10000"/>
                <a:gd name="connsiteY774" fmla="*/ 8249 h 10000"/>
                <a:gd name="connsiteX775" fmla="*/ 1126 w 10000"/>
                <a:gd name="connsiteY775" fmla="*/ 8240 h 10000"/>
                <a:gd name="connsiteX776" fmla="*/ 1114 w 10000"/>
                <a:gd name="connsiteY776" fmla="*/ 8240 h 10000"/>
                <a:gd name="connsiteX777" fmla="*/ 1091 w 10000"/>
                <a:gd name="connsiteY777" fmla="*/ 8242 h 10000"/>
                <a:gd name="connsiteX778" fmla="*/ 1071 w 10000"/>
                <a:gd name="connsiteY778" fmla="*/ 8252 h 10000"/>
                <a:gd name="connsiteX779" fmla="*/ 1048 w 10000"/>
                <a:gd name="connsiteY779" fmla="*/ 8261 h 10000"/>
                <a:gd name="connsiteX780" fmla="*/ 1030 w 10000"/>
                <a:gd name="connsiteY780" fmla="*/ 8273 h 10000"/>
                <a:gd name="connsiteX781" fmla="*/ 1010 w 10000"/>
                <a:gd name="connsiteY781" fmla="*/ 8287 h 10000"/>
                <a:gd name="connsiteX782" fmla="*/ 995 w 10000"/>
                <a:gd name="connsiteY782" fmla="*/ 8303 h 10000"/>
                <a:gd name="connsiteX783" fmla="*/ 975 w 10000"/>
                <a:gd name="connsiteY783" fmla="*/ 8322 h 10000"/>
                <a:gd name="connsiteX784" fmla="*/ 960 w 10000"/>
                <a:gd name="connsiteY784" fmla="*/ 8343 h 10000"/>
                <a:gd name="connsiteX785" fmla="*/ 927 w 10000"/>
                <a:gd name="connsiteY785" fmla="*/ 8380 h 10000"/>
                <a:gd name="connsiteX786" fmla="*/ 891 w 10000"/>
                <a:gd name="connsiteY786" fmla="*/ 8417 h 10000"/>
                <a:gd name="connsiteX787" fmla="*/ 874 w 10000"/>
                <a:gd name="connsiteY787" fmla="*/ 8436 h 10000"/>
                <a:gd name="connsiteX788" fmla="*/ 859 w 10000"/>
                <a:gd name="connsiteY788" fmla="*/ 8450 h 10000"/>
                <a:gd name="connsiteX789" fmla="*/ 838 w 10000"/>
                <a:gd name="connsiteY789" fmla="*/ 8462 h 10000"/>
                <a:gd name="connsiteX790" fmla="*/ 821 w 10000"/>
                <a:gd name="connsiteY790" fmla="*/ 8476 h 10000"/>
                <a:gd name="connsiteX791" fmla="*/ 742 w 10000"/>
                <a:gd name="connsiteY791" fmla="*/ 8562 h 10000"/>
                <a:gd name="connsiteX792" fmla="*/ 672 w 10000"/>
                <a:gd name="connsiteY792" fmla="*/ 8644 h 10000"/>
                <a:gd name="connsiteX793" fmla="*/ 639 w 10000"/>
                <a:gd name="connsiteY793" fmla="*/ 8684 h 10000"/>
                <a:gd name="connsiteX794" fmla="*/ 609 w 10000"/>
                <a:gd name="connsiteY794" fmla="*/ 8731 h 10000"/>
                <a:gd name="connsiteX795" fmla="*/ 583 w 10000"/>
                <a:gd name="connsiteY795" fmla="*/ 8777 h 10000"/>
                <a:gd name="connsiteX796" fmla="*/ 556 w 10000"/>
                <a:gd name="connsiteY796" fmla="*/ 8831 h 10000"/>
                <a:gd name="connsiteX797" fmla="*/ 545 w 10000"/>
                <a:gd name="connsiteY797" fmla="*/ 8852 h 10000"/>
                <a:gd name="connsiteX798" fmla="*/ 525 w 10000"/>
                <a:gd name="connsiteY798" fmla="*/ 8885 h 10000"/>
                <a:gd name="connsiteX799" fmla="*/ 503 w 10000"/>
                <a:gd name="connsiteY799" fmla="*/ 8925 h 10000"/>
                <a:gd name="connsiteX800" fmla="*/ 480 w 10000"/>
                <a:gd name="connsiteY800" fmla="*/ 8962 h 10000"/>
                <a:gd name="connsiteX801" fmla="*/ 465 w 10000"/>
                <a:gd name="connsiteY801" fmla="*/ 8981 h 10000"/>
                <a:gd name="connsiteX802" fmla="*/ 455 w 10000"/>
                <a:gd name="connsiteY802" fmla="*/ 8993 h 10000"/>
                <a:gd name="connsiteX803" fmla="*/ 444 w 10000"/>
                <a:gd name="connsiteY803" fmla="*/ 9000 h 10000"/>
                <a:gd name="connsiteX804" fmla="*/ 434 w 10000"/>
                <a:gd name="connsiteY804" fmla="*/ 9007 h 10000"/>
                <a:gd name="connsiteX805" fmla="*/ 432 w 10000"/>
                <a:gd name="connsiteY805" fmla="*/ 9007 h 10000"/>
                <a:gd name="connsiteX806" fmla="*/ 429 w 10000"/>
                <a:gd name="connsiteY806" fmla="*/ 9004 h 10000"/>
                <a:gd name="connsiteX807" fmla="*/ 427 w 10000"/>
                <a:gd name="connsiteY807" fmla="*/ 8997 h 10000"/>
                <a:gd name="connsiteX808" fmla="*/ 427 w 10000"/>
                <a:gd name="connsiteY808" fmla="*/ 8993 h 10000"/>
                <a:gd name="connsiteX809" fmla="*/ 424 w 10000"/>
                <a:gd name="connsiteY809" fmla="*/ 8976 h 10000"/>
                <a:gd name="connsiteX810" fmla="*/ 427 w 10000"/>
                <a:gd name="connsiteY810" fmla="*/ 8948 h 10000"/>
                <a:gd name="connsiteX811" fmla="*/ 437 w 10000"/>
                <a:gd name="connsiteY811" fmla="*/ 8913 h 10000"/>
                <a:gd name="connsiteX812" fmla="*/ 455 w 10000"/>
                <a:gd name="connsiteY812" fmla="*/ 8859 h 10000"/>
                <a:gd name="connsiteX813" fmla="*/ 462 w 10000"/>
                <a:gd name="connsiteY813" fmla="*/ 8834 h 10000"/>
                <a:gd name="connsiteX814" fmla="*/ 470 w 10000"/>
                <a:gd name="connsiteY814" fmla="*/ 8810 h 10000"/>
                <a:gd name="connsiteX815" fmla="*/ 472 w 10000"/>
                <a:gd name="connsiteY815" fmla="*/ 8794 h 10000"/>
                <a:gd name="connsiteX816" fmla="*/ 472 w 10000"/>
                <a:gd name="connsiteY816" fmla="*/ 8780 h 10000"/>
                <a:gd name="connsiteX817" fmla="*/ 462 w 10000"/>
                <a:gd name="connsiteY817" fmla="*/ 8784 h 10000"/>
                <a:gd name="connsiteX818" fmla="*/ 452 w 10000"/>
                <a:gd name="connsiteY818" fmla="*/ 8787 h 10000"/>
                <a:gd name="connsiteX819" fmla="*/ 437 w 10000"/>
                <a:gd name="connsiteY819" fmla="*/ 8794 h 10000"/>
                <a:gd name="connsiteX820" fmla="*/ 424 w 10000"/>
                <a:gd name="connsiteY820" fmla="*/ 8803 h 10000"/>
                <a:gd name="connsiteX821" fmla="*/ 394 w 10000"/>
                <a:gd name="connsiteY821" fmla="*/ 8829 h 10000"/>
                <a:gd name="connsiteX822" fmla="*/ 364 w 10000"/>
                <a:gd name="connsiteY822" fmla="*/ 8859 h 10000"/>
                <a:gd name="connsiteX823" fmla="*/ 311 w 10000"/>
                <a:gd name="connsiteY823" fmla="*/ 8922 h 10000"/>
                <a:gd name="connsiteX824" fmla="*/ 268 w 10000"/>
                <a:gd name="connsiteY824" fmla="*/ 8964 h 10000"/>
                <a:gd name="connsiteX825" fmla="*/ 205 w 10000"/>
                <a:gd name="connsiteY825" fmla="*/ 9016 h 10000"/>
                <a:gd name="connsiteX826" fmla="*/ 146 w 10000"/>
                <a:gd name="connsiteY826" fmla="*/ 9053 h 10000"/>
                <a:gd name="connsiteX827" fmla="*/ 139 w 10000"/>
                <a:gd name="connsiteY827" fmla="*/ 9063 h 10000"/>
                <a:gd name="connsiteX828" fmla="*/ 129 w 10000"/>
                <a:gd name="connsiteY828" fmla="*/ 9077 h 10000"/>
                <a:gd name="connsiteX829" fmla="*/ 126 w 10000"/>
                <a:gd name="connsiteY829" fmla="*/ 9086 h 10000"/>
                <a:gd name="connsiteX830" fmla="*/ 126 w 10000"/>
                <a:gd name="connsiteY830" fmla="*/ 9102 h 10000"/>
                <a:gd name="connsiteX831" fmla="*/ 129 w 10000"/>
                <a:gd name="connsiteY831" fmla="*/ 9116 h 10000"/>
                <a:gd name="connsiteX832" fmla="*/ 139 w 10000"/>
                <a:gd name="connsiteY832" fmla="*/ 9135 h 10000"/>
                <a:gd name="connsiteX833" fmla="*/ 149 w 10000"/>
                <a:gd name="connsiteY833" fmla="*/ 9151 h 10000"/>
                <a:gd name="connsiteX834" fmla="*/ 164 w 10000"/>
                <a:gd name="connsiteY834" fmla="*/ 9175 h 10000"/>
                <a:gd name="connsiteX835" fmla="*/ 184 w 10000"/>
                <a:gd name="connsiteY835" fmla="*/ 9196 h 10000"/>
                <a:gd name="connsiteX836" fmla="*/ 207 w 10000"/>
                <a:gd name="connsiteY836" fmla="*/ 9215 h 10000"/>
                <a:gd name="connsiteX837" fmla="*/ 227 w 10000"/>
                <a:gd name="connsiteY837" fmla="*/ 9233 h 10000"/>
                <a:gd name="connsiteX838" fmla="*/ 253 w 10000"/>
                <a:gd name="connsiteY838" fmla="*/ 9250 h 10000"/>
                <a:gd name="connsiteX839" fmla="*/ 303 w 10000"/>
                <a:gd name="connsiteY839" fmla="*/ 9282 h 10000"/>
                <a:gd name="connsiteX840" fmla="*/ 351 w 10000"/>
                <a:gd name="connsiteY840" fmla="*/ 9315 h 10000"/>
                <a:gd name="connsiteX841" fmla="*/ 414 w 10000"/>
                <a:gd name="connsiteY841" fmla="*/ 9364 h 10000"/>
                <a:gd name="connsiteX842" fmla="*/ 480 w 10000"/>
                <a:gd name="connsiteY842" fmla="*/ 9416 h 10000"/>
                <a:gd name="connsiteX843" fmla="*/ 513 w 10000"/>
                <a:gd name="connsiteY843" fmla="*/ 9437 h 10000"/>
                <a:gd name="connsiteX844" fmla="*/ 548 w 10000"/>
                <a:gd name="connsiteY844" fmla="*/ 9462 h 10000"/>
                <a:gd name="connsiteX845" fmla="*/ 581 w 10000"/>
                <a:gd name="connsiteY845" fmla="*/ 9483 h 10000"/>
                <a:gd name="connsiteX846" fmla="*/ 614 w 10000"/>
                <a:gd name="connsiteY846" fmla="*/ 9502 h 10000"/>
                <a:gd name="connsiteX847" fmla="*/ 641 w 10000"/>
                <a:gd name="connsiteY847" fmla="*/ 9525 h 10000"/>
                <a:gd name="connsiteX848" fmla="*/ 672 w 10000"/>
                <a:gd name="connsiteY848" fmla="*/ 9549 h 10000"/>
                <a:gd name="connsiteX849" fmla="*/ 702 w 10000"/>
                <a:gd name="connsiteY849" fmla="*/ 9568 h 10000"/>
                <a:gd name="connsiteX850" fmla="*/ 737 w 10000"/>
                <a:gd name="connsiteY850" fmla="*/ 9589 h 10000"/>
                <a:gd name="connsiteX851" fmla="*/ 770 w 10000"/>
                <a:gd name="connsiteY851" fmla="*/ 9605 h 10000"/>
                <a:gd name="connsiteX852" fmla="*/ 808 w 10000"/>
                <a:gd name="connsiteY852" fmla="*/ 9617 h 10000"/>
                <a:gd name="connsiteX853" fmla="*/ 843 w 10000"/>
                <a:gd name="connsiteY853" fmla="*/ 9624 h 10000"/>
                <a:gd name="connsiteX854" fmla="*/ 884 w 10000"/>
                <a:gd name="connsiteY854" fmla="*/ 9628 h 10000"/>
                <a:gd name="connsiteX855" fmla="*/ 902 w 10000"/>
                <a:gd name="connsiteY855" fmla="*/ 9628 h 10000"/>
                <a:gd name="connsiteX856" fmla="*/ 914 w 10000"/>
                <a:gd name="connsiteY856" fmla="*/ 9631 h 10000"/>
                <a:gd name="connsiteX857" fmla="*/ 932 w 10000"/>
                <a:gd name="connsiteY857" fmla="*/ 9638 h 10000"/>
                <a:gd name="connsiteX858" fmla="*/ 942 w 10000"/>
                <a:gd name="connsiteY858" fmla="*/ 9642 h 10000"/>
                <a:gd name="connsiteX859" fmla="*/ 967 w 10000"/>
                <a:gd name="connsiteY859" fmla="*/ 9652 h 10000"/>
                <a:gd name="connsiteX860" fmla="*/ 987 w 10000"/>
                <a:gd name="connsiteY860" fmla="*/ 9668 h 10000"/>
                <a:gd name="connsiteX861" fmla="*/ 1005 w 10000"/>
                <a:gd name="connsiteY861" fmla="*/ 9682 h 10000"/>
                <a:gd name="connsiteX862" fmla="*/ 1025 w 10000"/>
                <a:gd name="connsiteY862" fmla="*/ 9698 h 10000"/>
                <a:gd name="connsiteX863" fmla="*/ 1045 w 10000"/>
                <a:gd name="connsiteY863" fmla="*/ 9712 h 10000"/>
                <a:gd name="connsiteX864" fmla="*/ 1073 w 10000"/>
                <a:gd name="connsiteY864" fmla="*/ 9724 h 10000"/>
                <a:gd name="connsiteX865" fmla="*/ 1098 w 10000"/>
                <a:gd name="connsiteY865" fmla="*/ 9738 h 10000"/>
                <a:gd name="connsiteX866" fmla="*/ 1121 w 10000"/>
                <a:gd name="connsiteY866" fmla="*/ 9750 h 10000"/>
                <a:gd name="connsiteX867" fmla="*/ 1141 w 10000"/>
                <a:gd name="connsiteY867" fmla="*/ 9762 h 10000"/>
                <a:gd name="connsiteX868" fmla="*/ 1159 w 10000"/>
                <a:gd name="connsiteY868" fmla="*/ 9776 h 10000"/>
                <a:gd name="connsiteX869" fmla="*/ 1172 w 10000"/>
                <a:gd name="connsiteY869" fmla="*/ 9787 h 10000"/>
                <a:gd name="connsiteX870" fmla="*/ 1182 w 10000"/>
                <a:gd name="connsiteY870" fmla="*/ 9804 h 10000"/>
                <a:gd name="connsiteX871" fmla="*/ 1194 w 10000"/>
                <a:gd name="connsiteY871" fmla="*/ 9818 h 10000"/>
                <a:gd name="connsiteX872" fmla="*/ 1202 w 10000"/>
                <a:gd name="connsiteY872" fmla="*/ 9834 h 10000"/>
                <a:gd name="connsiteX873" fmla="*/ 1212 w 10000"/>
                <a:gd name="connsiteY873" fmla="*/ 9869 h 10000"/>
                <a:gd name="connsiteX874" fmla="*/ 1220 w 10000"/>
                <a:gd name="connsiteY874" fmla="*/ 9906 h 10000"/>
                <a:gd name="connsiteX875" fmla="*/ 1230 w 10000"/>
                <a:gd name="connsiteY875" fmla="*/ 9951 h 10000"/>
                <a:gd name="connsiteX876" fmla="*/ 1237 w 10000"/>
                <a:gd name="connsiteY876" fmla="*/ 10000 h 10000"/>
                <a:gd name="connsiteX877" fmla="*/ 1237 w 10000"/>
                <a:gd name="connsiteY87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657 w 10000"/>
                <a:gd name="connsiteY766" fmla="*/ 8235 h 10000"/>
                <a:gd name="connsiteX767" fmla="*/ 1586 w 10000"/>
                <a:gd name="connsiteY767" fmla="*/ 8188 h 10000"/>
                <a:gd name="connsiteX768" fmla="*/ 1525 w 10000"/>
                <a:gd name="connsiteY768" fmla="*/ 8186 h 10000"/>
                <a:gd name="connsiteX769" fmla="*/ 1500 w 10000"/>
                <a:gd name="connsiteY769" fmla="*/ 8191 h 10000"/>
                <a:gd name="connsiteX770" fmla="*/ 1472 w 10000"/>
                <a:gd name="connsiteY770" fmla="*/ 8198 h 10000"/>
                <a:gd name="connsiteX771" fmla="*/ 1434 w 10000"/>
                <a:gd name="connsiteY771" fmla="*/ 8223 h 10000"/>
                <a:gd name="connsiteX772" fmla="*/ 1149 w 10000"/>
                <a:gd name="connsiteY772" fmla="*/ 8256 h 10000"/>
                <a:gd name="connsiteX773" fmla="*/ 1139 w 10000"/>
                <a:gd name="connsiteY773" fmla="*/ 8249 h 10000"/>
                <a:gd name="connsiteX774" fmla="*/ 1126 w 10000"/>
                <a:gd name="connsiteY774" fmla="*/ 8240 h 10000"/>
                <a:gd name="connsiteX775" fmla="*/ 1114 w 10000"/>
                <a:gd name="connsiteY775" fmla="*/ 8240 h 10000"/>
                <a:gd name="connsiteX776" fmla="*/ 1091 w 10000"/>
                <a:gd name="connsiteY776" fmla="*/ 8242 h 10000"/>
                <a:gd name="connsiteX777" fmla="*/ 1071 w 10000"/>
                <a:gd name="connsiteY777" fmla="*/ 8252 h 10000"/>
                <a:gd name="connsiteX778" fmla="*/ 1048 w 10000"/>
                <a:gd name="connsiteY778" fmla="*/ 8261 h 10000"/>
                <a:gd name="connsiteX779" fmla="*/ 1030 w 10000"/>
                <a:gd name="connsiteY779" fmla="*/ 8273 h 10000"/>
                <a:gd name="connsiteX780" fmla="*/ 1010 w 10000"/>
                <a:gd name="connsiteY780" fmla="*/ 8287 h 10000"/>
                <a:gd name="connsiteX781" fmla="*/ 995 w 10000"/>
                <a:gd name="connsiteY781" fmla="*/ 8303 h 10000"/>
                <a:gd name="connsiteX782" fmla="*/ 975 w 10000"/>
                <a:gd name="connsiteY782" fmla="*/ 8322 h 10000"/>
                <a:gd name="connsiteX783" fmla="*/ 960 w 10000"/>
                <a:gd name="connsiteY783" fmla="*/ 8343 h 10000"/>
                <a:gd name="connsiteX784" fmla="*/ 927 w 10000"/>
                <a:gd name="connsiteY784" fmla="*/ 8380 h 10000"/>
                <a:gd name="connsiteX785" fmla="*/ 891 w 10000"/>
                <a:gd name="connsiteY785" fmla="*/ 8417 h 10000"/>
                <a:gd name="connsiteX786" fmla="*/ 874 w 10000"/>
                <a:gd name="connsiteY786" fmla="*/ 8436 h 10000"/>
                <a:gd name="connsiteX787" fmla="*/ 859 w 10000"/>
                <a:gd name="connsiteY787" fmla="*/ 8450 h 10000"/>
                <a:gd name="connsiteX788" fmla="*/ 838 w 10000"/>
                <a:gd name="connsiteY788" fmla="*/ 8462 h 10000"/>
                <a:gd name="connsiteX789" fmla="*/ 821 w 10000"/>
                <a:gd name="connsiteY789" fmla="*/ 8476 h 10000"/>
                <a:gd name="connsiteX790" fmla="*/ 742 w 10000"/>
                <a:gd name="connsiteY790" fmla="*/ 8562 h 10000"/>
                <a:gd name="connsiteX791" fmla="*/ 672 w 10000"/>
                <a:gd name="connsiteY791" fmla="*/ 8644 h 10000"/>
                <a:gd name="connsiteX792" fmla="*/ 639 w 10000"/>
                <a:gd name="connsiteY792" fmla="*/ 8684 h 10000"/>
                <a:gd name="connsiteX793" fmla="*/ 609 w 10000"/>
                <a:gd name="connsiteY793" fmla="*/ 8731 h 10000"/>
                <a:gd name="connsiteX794" fmla="*/ 583 w 10000"/>
                <a:gd name="connsiteY794" fmla="*/ 8777 h 10000"/>
                <a:gd name="connsiteX795" fmla="*/ 556 w 10000"/>
                <a:gd name="connsiteY795" fmla="*/ 8831 h 10000"/>
                <a:gd name="connsiteX796" fmla="*/ 545 w 10000"/>
                <a:gd name="connsiteY796" fmla="*/ 8852 h 10000"/>
                <a:gd name="connsiteX797" fmla="*/ 525 w 10000"/>
                <a:gd name="connsiteY797" fmla="*/ 8885 h 10000"/>
                <a:gd name="connsiteX798" fmla="*/ 503 w 10000"/>
                <a:gd name="connsiteY798" fmla="*/ 8925 h 10000"/>
                <a:gd name="connsiteX799" fmla="*/ 480 w 10000"/>
                <a:gd name="connsiteY799" fmla="*/ 8962 h 10000"/>
                <a:gd name="connsiteX800" fmla="*/ 465 w 10000"/>
                <a:gd name="connsiteY800" fmla="*/ 8981 h 10000"/>
                <a:gd name="connsiteX801" fmla="*/ 455 w 10000"/>
                <a:gd name="connsiteY801" fmla="*/ 8993 h 10000"/>
                <a:gd name="connsiteX802" fmla="*/ 444 w 10000"/>
                <a:gd name="connsiteY802" fmla="*/ 9000 h 10000"/>
                <a:gd name="connsiteX803" fmla="*/ 434 w 10000"/>
                <a:gd name="connsiteY803" fmla="*/ 9007 h 10000"/>
                <a:gd name="connsiteX804" fmla="*/ 432 w 10000"/>
                <a:gd name="connsiteY804" fmla="*/ 9007 h 10000"/>
                <a:gd name="connsiteX805" fmla="*/ 429 w 10000"/>
                <a:gd name="connsiteY805" fmla="*/ 9004 h 10000"/>
                <a:gd name="connsiteX806" fmla="*/ 427 w 10000"/>
                <a:gd name="connsiteY806" fmla="*/ 8997 h 10000"/>
                <a:gd name="connsiteX807" fmla="*/ 427 w 10000"/>
                <a:gd name="connsiteY807" fmla="*/ 8993 h 10000"/>
                <a:gd name="connsiteX808" fmla="*/ 424 w 10000"/>
                <a:gd name="connsiteY808" fmla="*/ 8976 h 10000"/>
                <a:gd name="connsiteX809" fmla="*/ 427 w 10000"/>
                <a:gd name="connsiteY809" fmla="*/ 8948 h 10000"/>
                <a:gd name="connsiteX810" fmla="*/ 437 w 10000"/>
                <a:gd name="connsiteY810" fmla="*/ 8913 h 10000"/>
                <a:gd name="connsiteX811" fmla="*/ 455 w 10000"/>
                <a:gd name="connsiteY811" fmla="*/ 8859 h 10000"/>
                <a:gd name="connsiteX812" fmla="*/ 462 w 10000"/>
                <a:gd name="connsiteY812" fmla="*/ 8834 h 10000"/>
                <a:gd name="connsiteX813" fmla="*/ 470 w 10000"/>
                <a:gd name="connsiteY813" fmla="*/ 8810 h 10000"/>
                <a:gd name="connsiteX814" fmla="*/ 472 w 10000"/>
                <a:gd name="connsiteY814" fmla="*/ 8794 h 10000"/>
                <a:gd name="connsiteX815" fmla="*/ 472 w 10000"/>
                <a:gd name="connsiteY815" fmla="*/ 8780 h 10000"/>
                <a:gd name="connsiteX816" fmla="*/ 462 w 10000"/>
                <a:gd name="connsiteY816" fmla="*/ 8784 h 10000"/>
                <a:gd name="connsiteX817" fmla="*/ 452 w 10000"/>
                <a:gd name="connsiteY817" fmla="*/ 8787 h 10000"/>
                <a:gd name="connsiteX818" fmla="*/ 437 w 10000"/>
                <a:gd name="connsiteY818" fmla="*/ 8794 h 10000"/>
                <a:gd name="connsiteX819" fmla="*/ 424 w 10000"/>
                <a:gd name="connsiteY819" fmla="*/ 8803 h 10000"/>
                <a:gd name="connsiteX820" fmla="*/ 394 w 10000"/>
                <a:gd name="connsiteY820" fmla="*/ 8829 h 10000"/>
                <a:gd name="connsiteX821" fmla="*/ 364 w 10000"/>
                <a:gd name="connsiteY821" fmla="*/ 8859 h 10000"/>
                <a:gd name="connsiteX822" fmla="*/ 311 w 10000"/>
                <a:gd name="connsiteY822" fmla="*/ 8922 h 10000"/>
                <a:gd name="connsiteX823" fmla="*/ 268 w 10000"/>
                <a:gd name="connsiteY823" fmla="*/ 8964 h 10000"/>
                <a:gd name="connsiteX824" fmla="*/ 205 w 10000"/>
                <a:gd name="connsiteY824" fmla="*/ 9016 h 10000"/>
                <a:gd name="connsiteX825" fmla="*/ 146 w 10000"/>
                <a:gd name="connsiteY825" fmla="*/ 9053 h 10000"/>
                <a:gd name="connsiteX826" fmla="*/ 139 w 10000"/>
                <a:gd name="connsiteY826" fmla="*/ 9063 h 10000"/>
                <a:gd name="connsiteX827" fmla="*/ 129 w 10000"/>
                <a:gd name="connsiteY827" fmla="*/ 9077 h 10000"/>
                <a:gd name="connsiteX828" fmla="*/ 126 w 10000"/>
                <a:gd name="connsiteY828" fmla="*/ 9086 h 10000"/>
                <a:gd name="connsiteX829" fmla="*/ 126 w 10000"/>
                <a:gd name="connsiteY829" fmla="*/ 9102 h 10000"/>
                <a:gd name="connsiteX830" fmla="*/ 129 w 10000"/>
                <a:gd name="connsiteY830" fmla="*/ 9116 h 10000"/>
                <a:gd name="connsiteX831" fmla="*/ 139 w 10000"/>
                <a:gd name="connsiteY831" fmla="*/ 9135 h 10000"/>
                <a:gd name="connsiteX832" fmla="*/ 149 w 10000"/>
                <a:gd name="connsiteY832" fmla="*/ 9151 h 10000"/>
                <a:gd name="connsiteX833" fmla="*/ 164 w 10000"/>
                <a:gd name="connsiteY833" fmla="*/ 9175 h 10000"/>
                <a:gd name="connsiteX834" fmla="*/ 184 w 10000"/>
                <a:gd name="connsiteY834" fmla="*/ 9196 h 10000"/>
                <a:gd name="connsiteX835" fmla="*/ 207 w 10000"/>
                <a:gd name="connsiteY835" fmla="*/ 9215 h 10000"/>
                <a:gd name="connsiteX836" fmla="*/ 227 w 10000"/>
                <a:gd name="connsiteY836" fmla="*/ 9233 h 10000"/>
                <a:gd name="connsiteX837" fmla="*/ 253 w 10000"/>
                <a:gd name="connsiteY837" fmla="*/ 9250 h 10000"/>
                <a:gd name="connsiteX838" fmla="*/ 303 w 10000"/>
                <a:gd name="connsiteY838" fmla="*/ 9282 h 10000"/>
                <a:gd name="connsiteX839" fmla="*/ 351 w 10000"/>
                <a:gd name="connsiteY839" fmla="*/ 9315 h 10000"/>
                <a:gd name="connsiteX840" fmla="*/ 414 w 10000"/>
                <a:gd name="connsiteY840" fmla="*/ 9364 h 10000"/>
                <a:gd name="connsiteX841" fmla="*/ 480 w 10000"/>
                <a:gd name="connsiteY841" fmla="*/ 9416 h 10000"/>
                <a:gd name="connsiteX842" fmla="*/ 513 w 10000"/>
                <a:gd name="connsiteY842" fmla="*/ 9437 h 10000"/>
                <a:gd name="connsiteX843" fmla="*/ 548 w 10000"/>
                <a:gd name="connsiteY843" fmla="*/ 9462 h 10000"/>
                <a:gd name="connsiteX844" fmla="*/ 581 w 10000"/>
                <a:gd name="connsiteY844" fmla="*/ 9483 h 10000"/>
                <a:gd name="connsiteX845" fmla="*/ 614 w 10000"/>
                <a:gd name="connsiteY845" fmla="*/ 9502 h 10000"/>
                <a:gd name="connsiteX846" fmla="*/ 641 w 10000"/>
                <a:gd name="connsiteY846" fmla="*/ 9525 h 10000"/>
                <a:gd name="connsiteX847" fmla="*/ 672 w 10000"/>
                <a:gd name="connsiteY847" fmla="*/ 9549 h 10000"/>
                <a:gd name="connsiteX848" fmla="*/ 702 w 10000"/>
                <a:gd name="connsiteY848" fmla="*/ 9568 h 10000"/>
                <a:gd name="connsiteX849" fmla="*/ 737 w 10000"/>
                <a:gd name="connsiteY849" fmla="*/ 9589 h 10000"/>
                <a:gd name="connsiteX850" fmla="*/ 770 w 10000"/>
                <a:gd name="connsiteY850" fmla="*/ 9605 h 10000"/>
                <a:gd name="connsiteX851" fmla="*/ 808 w 10000"/>
                <a:gd name="connsiteY851" fmla="*/ 9617 h 10000"/>
                <a:gd name="connsiteX852" fmla="*/ 843 w 10000"/>
                <a:gd name="connsiteY852" fmla="*/ 9624 h 10000"/>
                <a:gd name="connsiteX853" fmla="*/ 884 w 10000"/>
                <a:gd name="connsiteY853" fmla="*/ 9628 h 10000"/>
                <a:gd name="connsiteX854" fmla="*/ 902 w 10000"/>
                <a:gd name="connsiteY854" fmla="*/ 9628 h 10000"/>
                <a:gd name="connsiteX855" fmla="*/ 914 w 10000"/>
                <a:gd name="connsiteY855" fmla="*/ 9631 h 10000"/>
                <a:gd name="connsiteX856" fmla="*/ 932 w 10000"/>
                <a:gd name="connsiteY856" fmla="*/ 9638 h 10000"/>
                <a:gd name="connsiteX857" fmla="*/ 942 w 10000"/>
                <a:gd name="connsiteY857" fmla="*/ 9642 h 10000"/>
                <a:gd name="connsiteX858" fmla="*/ 967 w 10000"/>
                <a:gd name="connsiteY858" fmla="*/ 9652 h 10000"/>
                <a:gd name="connsiteX859" fmla="*/ 987 w 10000"/>
                <a:gd name="connsiteY859" fmla="*/ 9668 h 10000"/>
                <a:gd name="connsiteX860" fmla="*/ 1005 w 10000"/>
                <a:gd name="connsiteY860" fmla="*/ 9682 h 10000"/>
                <a:gd name="connsiteX861" fmla="*/ 1025 w 10000"/>
                <a:gd name="connsiteY861" fmla="*/ 9698 h 10000"/>
                <a:gd name="connsiteX862" fmla="*/ 1045 w 10000"/>
                <a:gd name="connsiteY862" fmla="*/ 9712 h 10000"/>
                <a:gd name="connsiteX863" fmla="*/ 1073 w 10000"/>
                <a:gd name="connsiteY863" fmla="*/ 9724 h 10000"/>
                <a:gd name="connsiteX864" fmla="*/ 1098 w 10000"/>
                <a:gd name="connsiteY864" fmla="*/ 9738 h 10000"/>
                <a:gd name="connsiteX865" fmla="*/ 1121 w 10000"/>
                <a:gd name="connsiteY865" fmla="*/ 9750 h 10000"/>
                <a:gd name="connsiteX866" fmla="*/ 1141 w 10000"/>
                <a:gd name="connsiteY866" fmla="*/ 9762 h 10000"/>
                <a:gd name="connsiteX867" fmla="*/ 1159 w 10000"/>
                <a:gd name="connsiteY867" fmla="*/ 9776 h 10000"/>
                <a:gd name="connsiteX868" fmla="*/ 1172 w 10000"/>
                <a:gd name="connsiteY868" fmla="*/ 9787 h 10000"/>
                <a:gd name="connsiteX869" fmla="*/ 1182 w 10000"/>
                <a:gd name="connsiteY869" fmla="*/ 9804 h 10000"/>
                <a:gd name="connsiteX870" fmla="*/ 1194 w 10000"/>
                <a:gd name="connsiteY870" fmla="*/ 9818 h 10000"/>
                <a:gd name="connsiteX871" fmla="*/ 1202 w 10000"/>
                <a:gd name="connsiteY871" fmla="*/ 9834 h 10000"/>
                <a:gd name="connsiteX872" fmla="*/ 1212 w 10000"/>
                <a:gd name="connsiteY872" fmla="*/ 9869 h 10000"/>
                <a:gd name="connsiteX873" fmla="*/ 1220 w 10000"/>
                <a:gd name="connsiteY873" fmla="*/ 9906 h 10000"/>
                <a:gd name="connsiteX874" fmla="*/ 1230 w 10000"/>
                <a:gd name="connsiteY874" fmla="*/ 9951 h 10000"/>
                <a:gd name="connsiteX875" fmla="*/ 1237 w 10000"/>
                <a:gd name="connsiteY875" fmla="*/ 10000 h 10000"/>
                <a:gd name="connsiteX876" fmla="*/ 1237 w 10000"/>
                <a:gd name="connsiteY87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586 w 10000"/>
                <a:gd name="connsiteY766" fmla="*/ 8188 h 10000"/>
                <a:gd name="connsiteX767" fmla="*/ 1525 w 10000"/>
                <a:gd name="connsiteY767" fmla="*/ 8186 h 10000"/>
                <a:gd name="connsiteX768" fmla="*/ 1500 w 10000"/>
                <a:gd name="connsiteY768" fmla="*/ 8191 h 10000"/>
                <a:gd name="connsiteX769" fmla="*/ 1472 w 10000"/>
                <a:gd name="connsiteY769" fmla="*/ 8198 h 10000"/>
                <a:gd name="connsiteX770" fmla="*/ 1434 w 10000"/>
                <a:gd name="connsiteY770" fmla="*/ 8223 h 10000"/>
                <a:gd name="connsiteX771" fmla="*/ 1149 w 10000"/>
                <a:gd name="connsiteY771" fmla="*/ 8256 h 10000"/>
                <a:gd name="connsiteX772" fmla="*/ 1139 w 10000"/>
                <a:gd name="connsiteY772" fmla="*/ 8249 h 10000"/>
                <a:gd name="connsiteX773" fmla="*/ 1126 w 10000"/>
                <a:gd name="connsiteY773" fmla="*/ 8240 h 10000"/>
                <a:gd name="connsiteX774" fmla="*/ 1114 w 10000"/>
                <a:gd name="connsiteY774" fmla="*/ 8240 h 10000"/>
                <a:gd name="connsiteX775" fmla="*/ 1091 w 10000"/>
                <a:gd name="connsiteY775" fmla="*/ 8242 h 10000"/>
                <a:gd name="connsiteX776" fmla="*/ 1071 w 10000"/>
                <a:gd name="connsiteY776" fmla="*/ 8252 h 10000"/>
                <a:gd name="connsiteX777" fmla="*/ 1048 w 10000"/>
                <a:gd name="connsiteY777" fmla="*/ 8261 h 10000"/>
                <a:gd name="connsiteX778" fmla="*/ 1030 w 10000"/>
                <a:gd name="connsiteY778" fmla="*/ 8273 h 10000"/>
                <a:gd name="connsiteX779" fmla="*/ 1010 w 10000"/>
                <a:gd name="connsiteY779" fmla="*/ 8287 h 10000"/>
                <a:gd name="connsiteX780" fmla="*/ 995 w 10000"/>
                <a:gd name="connsiteY780" fmla="*/ 8303 h 10000"/>
                <a:gd name="connsiteX781" fmla="*/ 975 w 10000"/>
                <a:gd name="connsiteY781" fmla="*/ 8322 h 10000"/>
                <a:gd name="connsiteX782" fmla="*/ 960 w 10000"/>
                <a:gd name="connsiteY782" fmla="*/ 8343 h 10000"/>
                <a:gd name="connsiteX783" fmla="*/ 927 w 10000"/>
                <a:gd name="connsiteY783" fmla="*/ 8380 h 10000"/>
                <a:gd name="connsiteX784" fmla="*/ 891 w 10000"/>
                <a:gd name="connsiteY784" fmla="*/ 8417 h 10000"/>
                <a:gd name="connsiteX785" fmla="*/ 874 w 10000"/>
                <a:gd name="connsiteY785" fmla="*/ 8436 h 10000"/>
                <a:gd name="connsiteX786" fmla="*/ 859 w 10000"/>
                <a:gd name="connsiteY786" fmla="*/ 8450 h 10000"/>
                <a:gd name="connsiteX787" fmla="*/ 838 w 10000"/>
                <a:gd name="connsiteY787" fmla="*/ 8462 h 10000"/>
                <a:gd name="connsiteX788" fmla="*/ 821 w 10000"/>
                <a:gd name="connsiteY788" fmla="*/ 8476 h 10000"/>
                <a:gd name="connsiteX789" fmla="*/ 742 w 10000"/>
                <a:gd name="connsiteY789" fmla="*/ 8562 h 10000"/>
                <a:gd name="connsiteX790" fmla="*/ 672 w 10000"/>
                <a:gd name="connsiteY790" fmla="*/ 8644 h 10000"/>
                <a:gd name="connsiteX791" fmla="*/ 639 w 10000"/>
                <a:gd name="connsiteY791" fmla="*/ 8684 h 10000"/>
                <a:gd name="connsiteX792" fmla="*/ 609 w 10000"/>
                <a:gd name="connsiteY792" fmla="*/ 8731 h 10000"/>
                <a:gd name="connsiteX793" fmla="*/ 583 w 10000"/>
                <a:gd name="connsiteY793" fmla="*/ 8777 h 10000"/>
                <a:gd name="connsiteX794" fmla="*/ 556 w 10000"/>
                <a:gd name="connsiteY794" fmla="*/ 8831 h 10000"/>
                <a:gd name="connsiteX795" fmla="*/ 545 w 10000"/>
                <a:gd name="connsiteY795" fmla="*/ 8852 h 10000"/>
                <a:gd name="connsiteX796" fmla="*/ 525 w 10000"/>
                <a:gd name="connsiteY796" fmla="*/ 8885 h 10000"/>
                <a:gd name="connsiteX797" fmla="*/ 503 w 10000"/>
                <a:gd name="connsiteY797" fmla="*/ 8925 h 10000"/>
                <a:gd name="connsiteX798" fmla="*/ 480 w 10000"/>
                <a:gd name="connsiteY798" fmla="*/ 8962 h 10000"/>
                <a:gd name="connsiteX799" fmla="*/ 465 w 10000"/>
                <a:gd name="connsiteY799" fmla="*/ 8981 h 10000"/>
                <a:gd name="connsiteX800" fmla="*/ 455 w 10000"/>
                <a:gd name="connsiteY800" fmla="*/ 8993 h 10000"/>
                <a:gd name="connsiteX801" fmla="*/ 444 w 10000"/>
                <a:gd name="connsiteY801" fmla="*/ 9000 h 10000"/>
                <a:gd name="connsiteX802" fmla="*/ 434 w 10000"/>
                <a:gd name="connsiteY802" fmla="*/ 9007 h 10000"/>
                <a:gd name="connsiteX803" fmla="*/ 432 w 10000"/>
                <a:gd name="connsiteY803" fmla="*/ 9007 h 10000"/>
                <a:gd name="connsiteX804" fmla="*/ 429 w 10000"/>
                <a:gd name="connsiteY804" fmla="*/ 9004 h 10000"/>
                <a:gd name="connsiteX805" fmla="*/ 427 w 10000"/>
                <a:gd name="connsiteY805" fmla="*/ 8997 h 10000"/>
                <a:gd name="connsiteX806" fmla="*/ 427 w 10000"/>
                <a:gd name="connsiteY806" fmla="*/ 8993 h 10000"/>
                <a:gd name="connsiteX807" fmla="*/ 424 w 10000"/>
                <a:gd name="connsiteY807" fmla="*/ 8976 h 10000"/>
                <a:gd name="connsiteX808" fmla="*/ 427 w 10000"/>
                <a:gd name="connsiteY808" fmla="*/ 8948 h 10000"/>
                <a:gd name="connsiteX809" fmla="*/ 437 w 10000"/>
                <a:gd name="connsiteY809" fmla="*/ 8913 h 10000"/>
                <a:gd name="connsiteX810" fmla="*/ 455 w 10000"/>
                <a:gd name="connsiteY810" fmla="*/ 8859 h 10000"/>
                <a:gd name="connsiteX811" fmla="*/ 462 w 10000"/>
                <a:gd name="connsiteY811" fmla="*/ 8834 h 10000"/>
                <a:gd name="connsiteX812" fmla="*/ 470 w 10000"/>
                <a:gd name="connsiteY812" fmla="*/ 8810 h 10000"/>
                <a:gd name="connsiteX813" fmla="*/ 472 w 10000"/>
                <a:gd name="connsiteY813" fmla="*/ 8794 h 10000"/>
                <a:gd name="connsiteX814" fmla="*/ 472 w 10000"/>
                <a:gd name="connsiteY814" fmla="*/ 8780 h 10000"/>
                <a:gd name="connsiteX815" fmla="*/ 462 w 10000"/>
                <a:gd name="connsiteY815" fmla="*/ 8784 h 10000"/>
                <a:gd name="connsiteX816" fmla="*/ 452 w 10000"/>
                <a:gd name="connsiteY816" fmla="*/ 8787 h 10000"/>
                <a:gd name="connsiteX817" fmla="*/ 437 w 10000"/>
                <a:gd name="connsiteY817" fmla="*/ 8794 h 10000"/>
                <a:gd name="connsiteX818" fmla="*/ 424 w 10000"/>
                <a:gd name="connsiteY818" fmla="*/ 8803 h 10000"/>
                <a:gd name="connsiteX819" fmla="*/ 394 w 10000"/>
                <a:gd name="connsiteY819" fmla="*/ 8829 h 10000"/>
                <a:gd name="connsiteX820" fmla="*/ 364 w 10000"/>
                <a:gd name="connsiteY820" fmla="*/ 8859 h 10000"/>
                <a:gd name="connsiteX821" fmla="*/ 311 w 10000"/>
                <a:gd name="connsiteY821" fmla="*/ 8922 h 10000"/>
                <a:gd name="connsiteX822" fmla="*/ 268 w 10000"/>
                <a:gd name="connsiteY822" fmla="*/ 8964 h 10000"/>
                <a:gd name="connsiteX823" fmla="*/ 205 w 10000"/>
                <a:gd name="connsiteY823" fmla="*/ 9016 h 10000"/>
                <a:gd name="connsiteX824" fmla="*/ 146 w 10000"/>
                <a:gd name="connsiteY824" fmla="*/ 9053 h 10000"/>
                <a:gd name="connsiteX825" fmla="*/ 139 w 10000"/>
                <a:gd name="connsiteY825" fmla="*/ 9063 h 10000"/>
                <a:gd name="connsiteX826" fmla="*/ 129 w 10000"/>
                <a:gd name="connsiteY826" fmla="*/ 9077 h 10000"/>
                <a:gd name="connsiteX827" fmla="*/ 126 w 10000"/>
                <a:gd name="connsiteY827" fmla="*/ 9086 h 10000"/>
                <a:gd name="connsiteX828" fmla="*/ 126 w 10000"/>
                <a:gd name="connsiteY828" fmla="*/ 9102 h 10000"/>
                <a:gd name="connsiteX829" fmla="*/ 129 w 10000"/>
                <a:gd name="connsiteY829" fmla="*/ 9116 h 10000"/>
                <a:gd name="connsiteX830" fmla="*/ 139 w 10000"/>
                <a:gd name="connsiteY830" fmla="*/ 9135 h 10000"/>
                <a:gd name="connsiteX831" fmla="*/ 149 w 10000"/>
                <a:gd name="connsiteY831" fmla="*/ 9151 h 10000"/>
                <a:gd name="connsiteX832" fmla="*/ 164 w 10000"/>
                <a:gd name="connsiteY832" fmla="*/ 9175 h 10000"/>
                <a:gd name="connsiteX833" fmla="*/ 184 w 10000"/>
                <a:gd name="connsiteY833" fmla="*/ 9196 h 10000"/>
                <a:gd name="connsiteX834" fmla="*/ 207 w 10000"/>
                <a:gd name="connsiteY834" fmla="*/ 9215 h 10000"/>
                <a:gd name="connsiteX835" fmla="*/ 227 w 10000"/>
                <a:gd name="connsiteY835" fmla="*/ 9233 h 10000"/>
                <a:gd name="connsiteX836" fmla="*/ 253 w 10000"/>
                <a:gd name="connsiteY836" fmla="*/ 9250 h 10000"/>
                <a:gd name="connsiteX837" fmla="*/ 303 w 10000"/>
                <a:gd name="connsiteY837" fmla="*/ 9282 h 10000"/>
                <a:gd name="connsiteX838" fmla="*/ 351 w 10000"/>
                <a:gd name="connsiteY838" fmla="*/ 9315 h 10000"/>
                <a:gd name="connsiteX839" fmla="*/ 414 w 10000"/>
                <a:gd name="connsiteY839" fmla="*/ 9364 h 10000"/>
                <a:gd name="connsiteX840" fmla="*/ 480 w 10000"/>
                <a:gd name="connsiteY840" fmla="*/ 9416 h 10000"/>
                <a:gd name="connsiteX841" fmla="*/ 513 w 10000"/>
                <a:gd name="connsiteY841" fmla="*/ 9437 h 10000"/>
                <a:gd name="connsiteX842" fmla="*/ 548 w 10000"/>
                <a:gd name="connsiteY842" fmla="*/ 9462 h 10000"/>
                <a:gd name="connsiteX843" fmla="*/ 581 w 10000"/>
                <a:gd name="connsiteY843" fmla="*/ 9483 h 10000"/>
                <a:gd name="connsiteX844" fmla="*/ 614 w 10000"/>
                <a:gd name="connsiteY844" fmla="*/ 9502 h 10000"/>
                <a:gd name="connsiteX845" fmla="*/ 641 w 10000"/>
                <a:gd name="connsiteY845" fmla="*/ 9525 h 10000"/>
                <a:gd name="connsiteX846" fmla="*/ 672 w 10000"/>
                <a:gd name="connsiteY846" fmla="*/ 9549 h 10000"/>
                <a:gd name="connsiteX847" fmla="*/ 702 w 10000"/>
                <a:gd name="connsiteY847" fmla="*/ 9568 h 10000"/>
                <a:gd name="connsiteX848" fmla="*/ 737 w 10000"/>
                <a:gd name="connsiteY848" fmla="*/ 9589 h 10000"/>
                <a:gd name="connsiteX849" fmla="*/ 770 w 10000"/>
                <a:gd name="connsiteY849" fmla="*/ 9605 h 10000"/>
                <a:gd name="connsiteX850" fmla="*/ 808 w 10000"/>
                <a:gd name="connsiteY850" fmla="*/ 9617 h 10000"/>
                <a:gd name="connsiteX851" fmla="*/ 843 w 10000"/>
                <a:gd name="connsiteY851" fmla="*/ 9624 h 10000"/>
                <a:gd name="connsiteX852" fmla="*/ 884 w 10000"/>
                <a:gd name="connsiteY852" fmla="*/ 9628 h 10000"/>
                <a:gd name="connsiteX853" fmla="*/ 902 w 10000"/>
                <a:gd name="connsiteY853" fmla="*/ 9628 h 10000"/>
                <a:gd name="connsiteX854" fmla="*/ 914 w 10000"/>
                <a:gd name="connsiteY854" fmla="*/ 9631 h 10000"/>
                <a:gd name="connsiteX855" fmla="*/ 932 w 10000"/>
                <a:gd name="connsiteY855" fmla="*/ 9638 h 10000"/>
                <a:gd name="connsiteX856" fmla="*/ 942 w 10000"/>
                <a:gd name="connsiteY856" fmla="*/ 9642 h 10000"/>
                <a:gd name="connsiteX857" fmla="*/ 967 w 10000"/>
                <a:gd name="connsiteY857" fmla="*/ 9652 h 10000"/>
                <a:gd name="connsiteX858" fmla="*/ 987 w 10000"/>
                <a:gd name="connsiteY858" fmla="*/ 9668 h 10000"/>
                <a:gd name="connsiteX859" fmla="*/ 1005 w 10000"/>
                <a:gd name="connsiteY859" fmla="*/ 9682 h 10000"/>
                <a:gd name="connsiteX860" fmla="*/ 1025 w 10000"/>
                <a:gd name="connsiteY860" fmla="*/ 9698 h 10000"/>
                <a:gd name="connsiteX861" fmla="*/ 1045 w 10000"/>
                <a:gd name="connsiteY861" fmla="*/ 9712 h 10000"/>
                <a:gd name="connsiteX862" fmla="*/ 1073 w 10000"/>
                <a:gd name="connsiteY862" fmla="*/ 9724 h 10000"/>
                <a:gd name="connsiteX863" fmla="*/ 1098 w 10000"/>
                <a:gd name="connsiteY863" fmla="*/ 9738 h 10000"/>
                <a:gd name="connsiteX864" fmla="*/ 1121 w 10000"/>
                <a:gd name="connsiteY864" fmla="*/ 9750 h 10000"/>
                <a:gd name="connsiteX865" fmla="*/ 1141 w 10000"/>
                <a:gd name="connsiteY865" fmla="*/ 9762 h 10000"/>
                <a:gd name="connsiteX866" fmla="*/ 1159 w 10000"/>
                <a:gd name="connsiteY866" fmla="*/ 9776 h 10000"/>
                <a:gd name="connsiteX867" fmla="*/ 1172 w 10000"/>
                <a:gd name="connsiteY867" fmla="*/ 9787 h 10000"/>
                <a:gd name="connsiteX868" fmla="*/ 1182 w 10000"/>
                <a:gd name="connsiteY868" fmla="*/ 9804 h 10000"/>
                <a:gd name="connsiteX869" fmla="*/ 1194 w 10000"/>
                <a:gd name="connsiteY869" fmla="*/ 9818 h 10000"/>
                <a:gd name="connsiteX870" fmla="*/ 1202 w 10000"/>
                <a:gd name="connsiteY870" fmla="*/ 9834 h 10000"/>
                <a:gd name="connsiteX871" fmla="*/ 1212 w 10000"/>
                <a:gd name="connsiteY871" fmla="*/ 9869 h 10000"/>
                <a:gd name="connsiteX872" fmla="*/ 1220 w 10000"/>
                <a:gd name="connsiteY872" fmla="*/ 9906 h 10000"/>
                <a:gd name="connsiteX873" fmla="*/ 1230 w 10000"/>
                <a:gd name="connsiteY873" fmla="*/ 9951 h 10000"/>
                <a:gd name="connsiteX874" fmla="*/ 1237 w 10000"/>
                <a:gd name="connsiteY874" fmla="*/ 10000 h 10000"/>
                <a:gd name="connsiteX875" fmla="*/ 1237 w 10000"/>
                <a:gd name="connsiteY87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518 w 10000"/>
                <a:gd name="connsiteY737" fmla="*/ 7693 h 10000"/>
                <a:gd name="connsiteX738" fmla="*/ 2167 w 10000"/>
                <a:gd name="connsiteY738" fmla="*/ 7742 h 10000"/>
                <a:gd name="connsiteX739" fmla="*/ 2159 w 10000"/>
                <a:gd name="connsiteY739" fmla="*/ 7833 h 10000"/>
                <a:gd name="connsiteX740" fmla="*/ 2157 w 10000"/>
                <a:gd name="connsiteY740" fmla="*/ 7882 h 10000"/>
                <a:gd name="connsiteX741" fmla="*/ 2157 w 10000"/>
                <a:gd name="connsiteY741" fmla="*/ 7938 h 10000"/>
                <a:gd name="connsiteX742" fmla="*/ 2159 w 10000"/>
                <a:gd name="connsiteY742" fmla="*/ 8006 h 10000"/>
                <a:gd name="connsiteX743" fmla="*/ 2162 w 10000"/>
                <a:gd name="connsiteY743" fmla="*/ 8079 h 10000"/>
                <a:gd name="connsiteX744" fmla="*/ 2159 w 10000"/>
                <a:gd name="connsiteY744" fmla="*/ 8156 h 10000"/>
                <a:gd name="connsiteX745" fmla="*/ 2157 w 10000"/>
                <a:gd name="connsiteY745" fmla="*/ 8193 h 10000"/>
                <a:gd name="connsiteX746" fmla="*/ 2154 w 10000"/>
                <a:gd name="connsiteY746" fmla="*/ 8228 h 10000"/>
                <a:gd name="connsiteX747" fmla="*/ 2146 w 10000"/>
                <a:gd name="connsiteY747" fmla="*/ 8261 h 10000"/>
                <a:gd name="connsiteX748" fmla="*/ 2136 w 10000"/>
                <a:gd name="connsiteY748" fmla="*/ 8291 h 10000"/>
                <a:gd name="connsiteX749" fmla="*/ 2124 w 10000"/>
                <a:gd name="connsiteY749" fmla="*/ 8319 h 10000"/>
                <a:gd name="connsiteX750" fmla="*/ 2109 w 10000"/>
                <a:gd name="connsiteY750" fmla="*/ 8345 h 10000"/>
                <a:gd name="connsiteX751" fmla="*/ 2098 w 10000"/>
                <a:gd name="connsiteY751" fmla="*/ 8354 h 10000"/>
                <a:gd name="connsiteX752" fmla="*/ 2088 w 10000"/>
                <a:gd name="connsiteY752" fmla="*/ 8364 h 10000"/>
                <a:gd name="connsiteX753" fmla="*/ 2078 w 10000"/>
                <a:gd name="connsiteY753" fmla="*/ 8373 h 10000"/>
                <a:gd name="connsiteX754" fmla="*/ 2063 w 10000"/>
                <a:gd name="connsiteY754" fmla="*/ 8380 h 10000"/>
                <a:gd name="connsiteX755" fmla="*/ 1990 w 10000"/>
                <a:gd name="connsiteY755" fmla="*/ 8422 h 10000"/>
                <a:gd name="connsiteX756" fmla="*/ 1904 w 10000"/>
                <a:gd name="connsiteY756" fmla="*/ 8481 h 10000"/>
                <a:gd name="connsiteX757" fmla="*/ 1856 w 10000"/>
                <a:gd name="connsiteY757" fmla="*/ 8506 h 10000"/>
                <a:gd name="connsiteX758" fmla="*/ 1816 w 10000"/>
                <a:gd name="connsiteY758" fmla="*/ 8527 h 10000"/>
                <a:gd name="connsiteX759" fmla="*/ 1793 w 10000"/>
                <a:gd name="connsiteY759" fmla="*/ 8539 h 10000"/>
                <a:gd name="connsiteX760" fmla="*/ 1775 w 10000"/>
                <a:gd name="connsiteY760" fmla="*/ 8546 h 10000"/>
                <a:gd name="connsiteX761" fmla="*/ 1758 w 10000"/>
                <a:gd name="connsiteY761" fmla="*/ 8548 h 10000"/>
                <a:gd name="connsiteX762" fmla="*/ 1742 w 10000"/>
                <a:gd name="connsiteY762" fmla="*/ 8551 h 10000"/>
                <a:gd name="connsiteX763" fmla="*/ 1727 w 10000"/>
                <a:gd name="connsiteY763" fmla="*/ 8537 h 10000"/>
                <a:gd name="connsiteX764" fmla="*/ 1717 w 10000"/>
                <a:gd name="connsiteY764" fmla="*/ 8518 h 10000"/>
                <a:gd name="connsiteX765" fmla="*/ 1684 w 10000"/>
                <a:gd name="connsiteY765" fmla="*/ 8429 h 10000"/>
                <a:gd name="connsiteX766" fmla="*/ 1525 w 10000"/>
                <a:gd name="connsiteY766" fmla="*/ 8186 h 10000"/>
                <a:gd name="connsiteX767" fmla="*/ 1500 w 10000"/>
                <a:gd name="connsiteY767" fmla="*/ 8191 h 10000"/>
                <a:gd name="connsiteX768" fmla="*/ 1472 w 10000"/>
                <a:gd name="connsiteY768" fmla="*/ 8198 h 10000"/>
                <a:gd name="connsiteX769" fmla="*/ 1434 w 10000"/>
                <a:gd name="connsiteY769" fmla="*/ 8223 h 10000"/>
                <a:gd name="connsiteX770" fmla="*/ 1149 w 10000"/>
                <a:gd name="connsiteY770" fmla="*/ 8256 h 10000"/>
                <a:gd name="connsiteX771" fmla="*/ 1139 w 10000"/>
                <a:gd name="connsiteY771" fmla="*/ 8249 h 10000"/>
                <a:gd name="connsiteX772" fmla="*/ 1126 w 10000"/>
                <a:gd name="connsiteY772" fmla="*/ 8240 h 10000"/>
                <a:gd name="connsiteX773" fmla="*/ 1114 w 10000"/>
                <a:gd name="connsiteY773" fmla="*/ 8240 h 10000"/>
                <a:gd name="connsiteX774" fmla="*/ 1091 w 10000"/>
                <a:gd name="connsiteY774" fmla="*/ 8242 h 10000"/>
                <a:gd name="connsiteX775" fmla="*/ 1071 w 10000"/>
                <a:gd name="connsiteY775" fmla="*/ 8252 h 10000"/>
                <a:gd name="connsiteX776" fmla="*/ 1048 w 10000"/>
                <a:gd name="connsiteY776" fmla="*/ 8261 h 10000"/>
                <a:gd name="connsiteX777" fmla="*/ 1030 w 10000"/>
                <a:gd name="connsiteY777" fmla="*/ 8273 h 10000"/>
                <a:gd name="connsiteX778" fmla="*/ 1010 w 10000"/>
                <a:gd name="connsiteY778" fmla="*/ 8287 h 10000"/>
                <a:gd name="connsiteX779" fmla="*/ 995 w 10000"/>
                <a:gd name="connsiteY779" fmla="*/ 8303 h 10000"/>
                <a:gd name="connsiteX780" fmla="*/ 975 w 10000"/>
                <a:gd name="connsiteY780" fmla="*/ 8322 h 10000"/>
                <a:gd name="connsiteX781" fmla="*/ 960 w 10000"/>
                <a:gd name="connsiteY781" fmla="*/ 8343 h 10000"/>
                <a:gd name="connsiteX782" fmla="*/ 927 w 10000"/>
                <a:gd name="connsiteY782" fmla="*/ 8380 h 10000"/>
                <a:gd name="connsiteX783" fmla="*/ 891 w 10000"/>
                <a:gd name="connsiteY783" fmla="*/ 8417 h 10000"/>
                <a:gd name="connsiteX784" fmla="*/ 874 w 10000"/>
                <a:gd name="connsiteY784" fmla="*/ 8436 h 10000"/>
                <a:gd name="connsiteX785" fmla="*/ 859 w 10000"/>
                <a:gd name="connsiteY785" fmla="*/ 8450 h 10000"/>
                <a:gd name="connsiteX786" fmla="*/ 838 w 10000"/>
                <a:gd name="connsiteY786" fmla="*/ 8462 h 10000"/>
                <a:gd name="connsiteX787" fmla="*/ 821 w 10000"/>
                <a:gd name="connsiteY787" fmla="*/ 8476 h 10000"/>
                <a:gd name="connsiteX788" fmla="*/ 742 w 10000"/>
                <a:gd name="connsiteY788" fmla="*/ 8562 h 10000"/>
                <a:gd name="connsiteX789" fmla="*/ 672 w 10000"/>
                <a:gd name="connsiteY789" fmla="*/ 8644 h 10000"/>
                <a:gd name="connsiteX790" fmla="*/ 639 w 10000"/>
                <a:gd name="connsiteY790" fmla="*/ 8684 h 10000"/>
                <a:gd name="connsiteX791" fmla="*/ 609 w 10000"/>
                <a:gd name="connsiteY791" fmla="*/ 8731 h 10000"/>
                <a:gd name="connsiteX792" fmla="*/ 583 w 10000"/>
                <a:gd name="connsiteY792" fmla="*/ 8777 h 10000"/>
                <a:gd name="connsiteX793" fmla="*/ 556 w 10000"/>
                <a:gd name="connsiteY793" fmla="*/ 8831 h 10000"/>
                <a:gd name="connsiteX794" fmla="*/ 545 w 10000"/>
                <a:gd name="connsiteY794" fmla="*/ 8852 h 10000"/>
                <a:gd name="connsiteX795" fmla="*/ 525 w 10000"/>
                <a:gd name="connsiteY795" fmla="*/ 8885 h 10000"/>
                <a:gd name="connsiteX796" fmla="*/ 503 w 10000"/>
                <a:gd name="connsiteY796" fmla="*/ 8925 h 10000"/>
                <a:gd name="connsiteX797" fmla="*/ 480 w 10000"/>
                <a:gd name="connsiteY797" fmla="*/ 8962 h 10000"/>
                <a:gd name="connsiteX798" fmla="*/ 465 w 10000"/>
                <a:gd name="connsiteY798" fmla="*/ 8981 h 10000"/>
                <a:gd name="connsiteX799" fmla="*/ 455 w 10000"/>
                <a:gd name="connsiteY799" fmla="*/ 8993 h 10000"/>
                <a:gd name="connsiteX800" fmla="*/ 444 w 10000"/>
                <a:gd name="connsiteY800" fmla="*/ 9000 h 10000"/>
                <a:gd name="connsiteX801" fmla="*/ 434 w 10000"/>
                <a:gd name="connsiteY801" fmla="*/ 9007 h 10000"/>
                <a:gd name="connsiteX802" fmla="*/ 432 w 10000"/>
                <a:gd name="connsiteY802" fmla="*/ 9007 h 10000"/>
                <a:gd name="connsiteX803" fmla="*/ 429 w 10000"/>
                <a:gd name="connsiteY803" fmla="*/ 9004 h 10000"/>
                <a:gd name="connsiteX804" fmla="*/ 427 w 10000"/>
                <a:gd name="connsiteY804" fmla="*/ 8997 h 10000"/>
                <a:gd name="connsiteX805" fmla="*/ 427 w 10000"/>
                <a:gd name="connsiteY805" fmla="*/ 8993 h 10000"/>
                <a:gd name="connsiteX806" fmla="*/ 424 w 10000"/>
                <a:gd name="connsiteY806" fmla="*/ 8976 h 10000"/>
                <a:gd name="connsiteX807" fmla="*/ 427 w 10000"/>
                <a:gd name="connsiteY807" fmla="*/ 8948 h 10000"/>
                <a:gd name="connsiteX808" fmla="*/ 437 w 10000"/>
                <a:gd name="connsiteY808" fmla="*/ 8913 h 10000"/>
                <a:gd name="connsiteX809" fmla="*/ 455 w 10000"/>
                <a:gd name="connsiteY809" fmla="*/ 8859 h 10000"/>
                <a:gd name="connsiteX810" fmla="*/ 462 w 10000"/>
                <a:gd name="connsiteY810" fmla="*/ 8834 h 10000"/>
                <a:gd name="connsiteX811" fmla="*/ 470 w 10000"/>
                <a:gd name="connsiteY811" fmla="*/ 8810 h 10000"/>
                <a:gd name="connsiteX812" fmla="*/ 472 w 10000"/>
                <a:gd name="connsiteY812" fmla="*/ 8794 h 10000"/>
                <a:gd name="connsiteX813" fmla="*/ 472 w 10000"/>
                <a:gd name="connsiteY813" fmla="*/ 8780 h 10000"/>
                <a:gd name="connsiteX814" fmla="*/ 462 w 10000"/>
                <a:gd name="connsiteY814" fmla="*/ 8784 h 10000"/>
                <a:gd name="connsiteX815" fmla="*/ 452 w 10000"/>
                <a:gd name="connsiteY815" fmla="*/ 8787 h 10000"/>
                <a:gd name="connsiteX816" fmla="*/ 437 w 10000"/>
                <a:gd name="connsiteY816" fmla="*/ 8794 h 10000"/>
                <a:gd name="connsiteX817" fmla="*/ 424 w 10000"/>
                <a:gd name="connsiteY817" fmla="*/ 8803 h 10000"/>
                <a:gd name="connsiteX818" fmla="*/ 394 w 10000"/>
                <a:gd name="connsiteY818" fmla="*/ 8829 h 10000"/>
                <a:gd name="connsiteX819" fmla="*/ 364 w 10000"/>
                <a:gd name="connsiteY819" fmla="*/ 8859 h 10000"/>
                <a:gd name="connsiteX820" fmla="*/ 311 w 10000"/>
                <a:gd name="connsiteY820" fmla="*/ 8922 h 10000"/>
                <a:gd name="connsiteX821" fmla="*/ 268 w 10000"/>
                <a:gd name="connsiteY821" fmla="*/ 8964 h 10000"/>
                <a:gd name="connsiteX822" fmla="*/ 205 w 10000"/>
                <a:gd name="connsiteY822" fmla="*/ 9016 h 10000"/>
                <a:gd name="connsiteX823" fmla="*/ 146 w 10000"/>
                <a:gd name="connsiteY823" fmla="*/ 9053 h 10000"/>
                <a:gd name="connsiteX824" fmla="*/ 139 w 10000"/>
                <a:gd name="connsiteY824" fmla="*/ 9063 h 10000"/>
                <a:gd name="connsiteX825" fmla="*/ 129 w 10000"/>
                <a:gd name="connsiteY825" fmla="*/ 9077 h 10000"/>
                <a:gd name="connsiteX826" fmla="*/ 126 w 10000"/>
                <a:gd name="connsiteY826" fmla="*/ 9086 h 10000"/>
                <a:gd name="connsiteX827" fmla="*/ 126 w 10000"/>
                <a:gd name="connsiteY827" fmla="*/ 9102 h 10000"/>
                <a:gd name="connsiteX828" fmla="*/ 129 w 10000"/>
                <a:gd name="connsiteY828" fmla="*/ 9116 h 10000"/>
                <a:gd name="connsiteX829" fmla="*/ 139 w 10000"/>
                <a:gd name="connsiteY829" fmla="*/ 9135 h 10000"/>
                <a:gd name="connsiteX830" fmla="*/ 149 w 10000"/>
                <a:gd name="connsiteY830" fmla="*/ 9151 h 10000"/>
                <a:gd name="connsiteX831" fmla="*/ 164 w 10000"/>
                <a:gd name="connsiteY831" fmla="*/ 9175 h 10000"/>
                <a:gd name="connsiteX832" fmla="*/ 184 w 10000"/>
                <a:gd name="connsiteY832" fmla="*/ 9196 h 10000"/>
                <a:gd name="connsiteX833" fmla="*/ 207 w 10000"/>
                <a:gd name="connsiteY833" fmla="*/ 9215 h 10000"/>
                <a:gd name="connsiteX834" fmla="*/ 227 w 10000"/>
                <a:gd name="connsiteY834" fmla="*/ 9233 h 10000"/>
                <a:gd name="connsiteX835" fmla="*/ 253 w 10000"/>
                <a:gd name="connsiteY835" fmla="*/ 9250 h 10000"/>
                <a:gd name="connsiteX836" fmla="*/ 303 w 10000"/>
                <a:gd name="connsiteY836" fmla="*/ 9282 h 10000"/>
                <a:gd name="connsiteX837" fmla="*/ 351 w 10000"/>
                <a:gd name="connsiteY837" fmla="*/ 9315 h 10000"/>
                <a:gd name="connsiteX838" fmla="*/ 414 w 10000"/>
                <a:gd name="connsiteY838" fmla="*/ 9364 h 10000"/>
                <a:gd name="connsiteX839" fmla="*/ 480 w 10000"/>
                <a:gd name="connsiteY839" fmla="*/ 9416 h 10000"/>
                <a:gd name="connsiteX840" fmla="*/ 513 w 10000"/>
                <a:gd name="connsiteY840" fmla="*/ 9437 h 10000"/>
                <a:gd name="connsiteX841" fmla="*/ 548 w 10000"/>
                <a:gd name="connsiteY841" fmla="*/ 9462 h 10000"/>
                <a:gd name="connsiteX842" fmla="*/ 581 w 10000"/>
                <a:gd name="connsiteY842" fmla="*/ 9483 h 10000"/>
                <a:gd name="connsiteX843" fmla="*/ 614 w 10000"/>
                <a:gd name="connsiteY843" fmla="*/ 9502 h 10000"/>
                <a:gd name="connsiteX844" fmla="*/ 641 w 10000"/>
                <a:gd name="connsiteY844" fmla="*/ 9525 h 10000"/>
                <a:gd name="connsiteX845" fmla="*/ 672 w 10000"/>
                <a:gd name="connsiteY845" fmla="*/ 9549 h 10000"/>
                <a:gd name="connsiteX846" fmla="*/ 702 w 10000"/>
                <a:gd name="connsiteY846" fmla="*/ 9568 h 10000"/>
                <a:gd name="connsiteX847" fmla="*/ 737 w 10000"/>
                <a:gd name="connsiteY847" fmla="*/ 9589 h 10000"/>
                <a:gd name="connsiteX848" fmla="*/ 770 w 10000"/>
                <a:gd name="connsiteY848" fmla="*/ 9605 h 10000"/>
                <a:gd name="connsiteX849" fmla="*/ 808 w 10000"/>
                <a:gd name="connsiteY849" fmla="*/ 9617 h 10000"/>
                <a:gd name="connsiteX850" fmla="*/ 843 w 10000"/>
                <a:gd name="connsiteY850" fmla="*/ 9624 h 10000"/>
                <a:gd name="connsiteX851" fmla="*/ 884 w 10000"/>
                <a:gd name="connsiteY851" fmla="*/ 9628 h 10000"/>
                <a:gd name="connsiteX852" fmla="*/ 902 w 10000"/>
                <a:gd name="connsiteY852" fmla="*/ 9628 h 10000"/>
                <a:gd name="connsiteX853" fmla="*/ 914 w 10000"/>
                <a:gd name="connsiteY853" fmla="*/ 9631 h 10000"/>
                <a:gd name="connsiteX854" fmla="*/ 932 w 10000"/>
                <a:gd name="connsiteY854" fmla="*/ 9638 h 10000"/>
                <a:gd name="connsiteX855" fmla="*/ 942 w 10000"/>
                <a:gd name="connsiteY855" fmla="*/ 9642 h 10000"/>
                <a:gd name="connsiteX856" fmla="*/ 967 w 10000"/>
                <a:gd name="connsiteY856" fmla="*/ 9652 h 10000"/>
                <a:gd name="connsiteX857" fmla="*/ 987 w 10000"/>
                <a:gd name="connsiteY857" fmla="*/ 9668 h 10000"/>
                <a:gd name="connsiteX858" fmla="*/ 1005 w 10000"/>
                <a:gd name="connsiteY858" fmla="*/ 9682 h 10000"/>
                <a:gd name="connsiteX859" fmla="*/ 1025 w 10000"/>
                <a:gd name="connsiteY859" fmla="*/ 9698 h 10000"/>
                <a:gd name="connsiteX860" fmla="*/ 1045 w 10000"/>
                <a:gd name="connsiteY860" fmla="*/ 9712 h 10000"/>
                <a:gd name="connsiteX861" fmla="*/ 1073 w 10000"/>
                <a:gd name="connsiteY861" fmla="*/ 9724 h 10000"/>
                <a:gd name="connsiteX862" fmla="*/ 1098 w 10000"/>
                <a:gd name="connsiteY862" fmla="*/ 9738 h 10000"/>
                <a:gd name="connsiteX863" fmla="*/ 1121 w 10000"/>
                <a:gd name="connsiteY863" fmla="*/ 9750 h 10000"/>
                <a:gd name="connsiteX864" fmla="*/ 1141 w 10000"/>
                <a:gd name="connsiteY864" fmla="*/ 9762 h 10000"/>
                <a:gd name="connsiteX865" fmla="*/ 1159 w 10000"/>
                <a:gd name="connsiteY865" fmla="*/ 9776 h 10000"/>
                <a:gd name="connsiteX866" fmla="*/ 1172 w 10000"/>
                <a:gd name="connsiteY866" fmla="*/ 9787 h 10000"/>
                <a:gd name="connsiteX867" fmla="*/ 1182 w 10000"/>
                <a:gd name="connsiteY867" fmla="*/ 9804 h 10000"/>
                <a:gd name="connsiteX868" fmla="*/ 1194 w 10000"/>
                <a:gd name="connsiteY868" fmla="*/ 9818 h 10000"/>
                <a:gd name="connsiteX869" fmla="*/ 1202 w 10000"/>
                <a:gd name="connsiteY869" fmla="*/ 9834 h 10000"/>
                <a:gd name="connsiteX870" fmla="*/ 1212 w 10000"/>
                <a:gd name="connsiteY870" fmla="*/ 9869 h 10000"/>
                <a:gd name="connsiteX871" fmla="*/ 1220 w 10000"/>
                <a:gd name="connsiteY871" fmla="*/ 9906 h 10000"/>
                <a:gd name="connsiteX872" fmla="*/ 1230 w 10000"/>
                <a:gd name="connsiteY872" fmla="*/ 9951 h 10000"/>
                <a:gd name="connsiteX873" fmla="*/ 1237 w 10000"/>
                <a:gd name="connsiteY873" fmla="*/ 10000 h 10000"/>
                <a:gd name="connsiteX874" fmla="*/ 1237 w 10000"/>
                <a:gd name="connsiteY87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684 w 10000"/>
                <a:gd name="connsiteY736" fmla="*/ 7637 h 10000"/>
                <a:gd name="connsiteX737" fmla="*/ 2167 w 10000"/>
                <a:gd name="connsiteY737" fmla="*/ 7742 h 10000"/>
                <a:gd name="connsiteX738" fmla="*/ 2159 w 10000"/>
                <a:gd name="connsiteY738" fmla="*/ 7833 h 10000"/>
                <a:gd name="connsiteX739" fmla="*/ 2157 w 10000"/>
                <a:gd name="connsiteY739" fmla="*/ 7882 h 10000"/>
                <a:gd name="connsiteX740" fmla="*/ 2157 w 10000"/>
                <a:gd name="connsiteY740" fmla="*/ 7938 h 10000"/>
                <a:gd name="connsiteX741" fmla="*/ 2159 w 10000"/>
                <a:gd name="connsiteY741" fmla="*/ 8006 h 10000"/>
                <a:gd name="connsiteX742" fmla="*/ 2162 w 10000"/>
                <a:gd name="connsiteY742" fmla="*/ 8079 h 10000"/>
                <a:gd name="connsiteX743" fmla="*/ 2159 w 10000"/>
                <a:gd name="connsiteY743" fmla="*/ 8156 h 10000"/>
                <a:gd name="connsiteX744" fmla="*/ 2157 w 10000"/>
                <a:gd name="connsiteY744" fmla="*/ 8193 h 10000"/>
                <a:gd name="connsiteX745" fmla="*/ 2154 w 10000"/>
                <a:gd name="connsiteY745" fmla="*/ 8228 h 10000"/>
                <a:gd name="connsiteX746" fmla="*/ 2146 w 10000"/>
                <a:gd name="connsiteY746" fmla="*/ 8261 h 10000"/>
                <a:gd name="connsiteX747" fmla="*/ 2136 w 10000"/>
                <a:gd name="connsiteY747" fmla="*/ 8291 h 10000"/>
                <a:gd name="connsiteX748" fmla="*/ 2124 w 10000"/>
                <a:gd name="connsiteY748" fmla="*/ 8319 h 10000"/>
                <a:gd name="connsiteX749" fmla="*/ 2109 w 10000"/>
                <a:gd name="connsiteY749" fmla="*/ 8345 h 10000"/>
                <a:gd name="connsiteX750" fmla="*/ 2098 w 10000"/>
                <a:gd name="connsiteY750" fmla="*/ 8354 h 10000"/>
                <a:gd name="connsiteX751" fmla="*/ 2088 w 10000"/>
                <a:gd name="connsiteY751" fmla="*/ 8364 h 10000"/>
                <a:gd name="connsiteX752" fmla="*/ 2078 w 10000"/>
                <a:gd name="connsiteY752" fmla="*/ 8373 h 10000"/>
                <a:gd name="connsiteX753" fmla="*/ 2063 w 10000"/>
                <a:gd name="connsiteY753" fmla="*/ 8380 h 10000"/>
                <a:gd name="connsiteX754" fmla="*/ 1990 w 10000"/>
                <a:gd name="connsiteY754" fmla="*/ 8422 h 10000"/>
                <a:gd name="connsiteX755" fmla="*/ 1904 w 10000"/>
                <a:gd name="connsiteY755" fmla="*/ 8481 h 10000"/>
                <a:gd name="connsiteX756" fmla="*/ 1856 w 10000"/>
                <a:gd name="connsiteY756" fmla="*/ 8506 h 10000"/>
                <a:gd name="connsiteX757" fmla="*/ 1816 w 10000"/>
                <a:gd name="connsiteY757" fmla="*/ 8527 h 10000"/>
                <a:gd name="connsiteX758" fmla="*/ 1793 w 10000"/>
                <a:gd name="connsiteY758" fmla="*/ 8539 h 10000"/>
                <a:gd name="connsiteX759" fmla="*/ 1775 w 10000"/>
                <a:gd name="connsiteY759" fmla="*/ 8546 h 10000"/>
                <a:gd name="connsiteX760" fmla="*/ 1758 w 10000"/>
                <a:gd name="connsiteY760" fmla="*/ 8548 h 10000"/>
                <a:gd name="connsiteX761" fmla="*/ 1742 w 10000"/>
                <a:gd name="connsiteY761" fmla="*/ 8551 h 10000"/>
                <a:gd name="connsiteX762" fmla="*/ 1727 w 10000"/>
                <a:gd name="connsiteY762" fmla="*/ 8537 h 10000"/>
                <a:gd name="connsiteX763" fmla="*/ 1717 w 10000"/>
                <a:gd name="connsiteY763" fmla="*/ 8518 h 10000"/>
                <a:gd name="connsiteX764" fmla="*/ 1684 w 10000"/>
                <a:gd name="connsiteY764" fmla="*/ 8429 h 10000"/>
                <a:gd name="connsiteX765" fmla="*/ 1525 w 10000"/>
                <a:gd name="connsiteY765" fmla="*/ 8186 h 10000"/>
                <a:gd name="connsiteX766" fmla="*/ 1500 w 10000"/>
                <a:gd name="connsiteY766" fmla="*/ 8191 h 10000"/>
                <a:gd name="connsiteX767" fmla="*/ 1472 w 10000"/>
                <a:gd name="connsiteY767" fmla="*/ 8198 h 10000"/>
                <a:gd name="connsiteX768" fmla="*/ 1434 w 10000"/>
                <a:gd name="connsiteY768" fmla="*/ 8223 h 10000"/>
                <a:gd name="connsiteX769" fmla="*/ 1149 w 10000"/>
                <a:gd name="connsiteY769" fmla="*/ 8256 h 10000"/>
                <a:gd name="connsiteX770" fmla="*/ 1139 w 10000"/>
                <a:gd name="connsiteY770" fmla="*/ 8249 h 10000"/>
                <a:gd name="connsiteX771" fmla="*/ 1126 w 10000"/>
                <a:gd name="connsiteY771" fmla="*/ 8240 h 10000"/>
                <a:gd name="connsiteX772" fmla="*/ 1114 w 10000"/>
                <a:gd name="connsiteY772" fmla="*/ 8240 h 10000"/>
                <a:gd name="connsiteX773" fmla="*/ 1091 w 10000"/>
                <a:gd name="connsiteY773" fmla="*/ 8242 h 10000"/>
                <a:gd name="connsiteX774" fmla="*/ 1071 w 10000"/>
                <a:gd name="connsiteY774" fmla="*/ 8252 h 10000"/>
                <a:gd name="connsiteX775" fmla="*/ 1048 w 10000"/>
                <a:gd name="connsiteY775" fmla="*/ 8261 h 10000"/>
                <a:gd name="connsiteX776" fmla="*/ 1030 w 10000"/>
                <a:gd name="connsiteY776" fmla="*/ 8273 h 10000"/>
                <a:gd name="connsiteX777" fmla="*/ 1010 w 10000"/>
                <a:gd name="connsiteY777" fmla="*/ 8287 h 10000"/>
                <a:gd name="connsiteX778" fmla="*/ 995 w 10000"/>
                <a:gd name="connsiteY778" fmla="*/ 8303 h 10000"/>
                <a:gd name="connsiteX779" fmla="*/ 975 w 10000"/>
                <a:gd name="connsiteY779" fmla="*/ 8322 h 10000"/>
                <a:gd name="connsiteX780" fmla="*/ 960 w 10000"/>
                <a:gd name="connsiteY780" fmla="*/ 8343 h 10000"/>
                <a:gd name="connsiteX781" fmla="*/ 927 w 10000"/>
                <a:gd name="connsiteY781" fmla="*/ 8380 h 10000"/>
                <a:gd name="connsiteX782" fmla="*/ 891 w 10000"/>
                <a:gd name="connsiteY782" fmla="*/ 8417 h 10000"/>
                <a:gd name="connsiteX783" fmla="*/ 874 w 10000"/>
                <a:gd name="connsiteY783" fmla="*/ 8436 h 10000"/>
                <a:gd name="connsiteX784" fmla="*/ 859 w 10000"/>
                <a:gd name="connsiteY784" fmla="*/ 8450 h 10000"/>
                <a:gd name="connsiteX785" fmla="*/ 838 w 10000"/>
                <a:gd name="connsiteY785" fmla="*/ 8462 h 10000"/>
                <a:gd name="connsiteX786" fmla="*/ 821 w 10000"/>
                <a:gd name="connsiteY786" fmla="*/ 8476 h 10000"/>
                <a:gd name="connsiteX787" fmla="*/ 742 w 10000"/>
                <a:gd name="connsiteY787" fmla="*/ 8562 h 10000"/>
                <a:gd name="connsiteX788" fmla="*/ 672 w 10000"/>
                <a:gd name="connsiteY788" fmla="*/ 8644 h 10000"/>
                <a:gd name="connsiteX789" fmla="*/ 639 w 10000"/>
                <a:gd name="connsiteY789" fmla="*/ 8684 h 10000"/>
                <a:gd name="connsiteX790" fmla="*/ 609 w 10000"/>
                <a:gd name="connsiteY790" fmla="*/ 8731 h 10000"/>
                <a:gd name="connsiteX791" fmla="*/ 583 w 10000"/>
                <a:gd name="connsiteY791" fmla="*/ 8777 h 10000"/>
                <a:gd name="connsiteX792" fmla="*/ 556 w 10000"/>
                <a:gd name="connsiteY792" fmla="*/ 8831 h 10000"/>
                <a:gd name="connsiteX793" fmla="*/ 545 w 10000"/>
                <a:gd name="connsiteY793" fmla="*/ 8852 h 10000"/>
                <a:gd name="connsiteX794" fmla="*/ 525 w 10000"/>
                <a:gd name="connsiteY794" fmla="*/ 8885 h 10000"/>
                <a:gd name="connsiteX795" fmla="*/ 503 w 10000"/>
                <a:gd name="connsiteY795" fmla="*/ 8925 h 10000"/>
                <a:gd name="connsiteX796" fmla="*/ 480 w 10000"/>
                <a:gd name="connsiteY796" fmla="*/ 8962 h 10000"/>
                <a:gd name="connsiteX797" fmla="*/ 465 w 10000"/>
                <a:gd name="connsiteY797" fmla="*/ 8981 h 10000"/>
                <a:gd name="connsiteX798" fmla="*/ 455 w 10000"/>
                <a:gd name="connsiteY798" fmla="*/ 8993 h 10000"/>
                <a:gd name="connsiteX799" fmla="*/ 444 w 10000"/>
                <a:gd name="connsiteY799" fmla="*/ 9000 h 10000"/>
                <a:gd name="connsiteX800" fmla="*/ 434 w 10000"/>
                <a:gd name="connsiteY800" fmla="*/ 9007 h 10000"/>
                <a:gd name="connsiteX801" fmla="*/ 432 w 10000"/>
                <a:gd name="connsiteY801" fmla="*/ 9007 h 10000"/>
                <a:gd name="connsiteX802" fmla="*/ 429 w 10000"/>
                <a:gd name="connsiteY802" fmla="*/ 9004 h 10000"/>
                <a:gd name="connsiteX803" fmla="*/ 427 w 10000"/>
                <a:gd name="connsiteY803" fmla="*/ 8997 h 10000"/>
                <a:gd name="connsiteX804" fmla="*/ 427 w 10000"/>
                <a:gd name="connsiteY804" fmla="*/ 8993 h 10000"/>
                <a:gd name="connsiteX805" fmla="*/ 424 w 10000"/>
                <a:gd name="connsiteY805" fmla="*/ 8976 h 10000"/>
                <a:gd name="connsiteX806" fmla="*/ 427 w 10000"/>
                <a:gd name="connsiteY806" fmla="*/ 8948 h 10000"/>
                <a:gd name="connsiteX807" fmla="*/ 437 w 10000"/>
                <a:gd name="connsiteY807" fmla="*/ 8913 h 10000"/>
                <a:gd name="connsiteX808" fmla="*/ 455 w 10000"/>
                <a:gd name="connsiteY808" fmla="*/ 8859 h 10000"/>
                <a:gd name="connsiteX809" fmla="*/ 462 w 10000"/>
                <a:gd name="connsiteY809" fmla="*/ 8834 h 10000"/>
                <a:gd name="connsiteX810" fmla="*/ 470 w 10000"/>
                <a:gd name="connsiteY810" fmla="*/ 8810 h 10000"/>
                <a:gd name="connsiteX811" fmla="*/ 472 w 10000"/>
                <a:gd name="connsiteY811" fmla="*/ 8794 h 10000"/>
                <a:gd name="connsiteX812" fmla="*/ 472 w 10000"/>
                <a:gd name="connsiteY812" fmla="*/ 8780 h 10000"/>
                <a:gd name="connsiteX813" fmla="*/ 462 w 10000"/>
                <a:gd name="connsiteY813" fmla="*/ 8784 h 10000"/>
                <a:gd name="connsiteX814" fmla="*/ 452 w 10000"/>
                <a:gd name="connsiteY814" fmla="*/ 8787 h 10000"/>
                <a:gd name="connsiteX815" fmla="*/ 437 w 10000"/>
                <a:gd name="connsiteY815" fmla="*/ 8794 h 10000"/>
                <a:gd name="connsiteX816" fmla="*/ 424 w 10000"/>
                <a:gd name="connsiteY816" fmla="*/ 8803 h 10000"/>
                <a:gd name="connsiteX817" fmla="*/ 394 w 10000"/>
                <a:gd name="connsiteY817" fmla="*/ 8829 h 10000"/>
                <a:gd name="connsiteX818" fmla="*/ 364 w 10000"/>
                <a:gd name="connsiteY818" fmla="*/ 8859 h 10000"/>
                <a:gd name="connsiteX819" fmla="*/ 311 w 10000"/>
                <a:gd name="connsiteY819" fmla="*/ 8922 h 10000"/>
                <a:gd name="connsiteX820" fmla="*/ 268 w 10000"/>
                <a:gd name="connsiteY820" fmla="*/ 8964 h 10000"/>
                <a:gd name="connsiteX821" fmla="*/ 205 w 10000"/>
                <a:gd name="connsiteY821" fmla="*/ 9016 h 10000"/>
                <a:gd name="connsiteX822" fmla="*/ 146 w 10000"/>
                <a:gd name="connsiteY822" fmla="*/ 9053 h 10000"/>
                <a:gd name="connsiteX823" fmla="*/ 139 w 10000"/>
                <a:gd name="connsiteY823" fmla="*/ 9063 h 10000"/>
                <a:gd name="connsiteX824" fmla="*/ 129 w 10000"/>
                <a:gd name="connsiteY824" fmla="*/ 9077 h 10000"/>
                <a:gd name="connsiteX825" fmla="*/ 126 w 10000"/>
                <a:gd name="connsiteY825" fmla="*/ 9086 h 10000"/>
                <a:gd name="connsiteX826" fmla="*/ 126 w 10000"/>
                <a:gd name="connsiteY826" fmla="*/ 9102 h 10000"/>
                <a:gd name="connsiteX827" fmla="*/ 129 w 10000"/>
                <a:gd name="connsiteY827" fmla="*/ 9116 h 10000"/>
                <a:gd name="connsiteX828" fmla="*/ 139 w 10000"/>
                <a:gd name="connsiteY828" fmla="*/ 9135 h 10000"/>
                <a:gd name="connsiteX829" fmla="*/ 149 w 10000"/>
                <a:gd name="connsiteY829" fmla="*/ 9151 h 10000"/>
                <a:gd name="connsiteX830" fmla="*/ 164 w 10000"/>
                <a:gd name="connsiteY830" fmla="*/ 9175 h 10000"/>
                <a:gd name="connsiteX831" fmla="*/ 184 w 10000"/>
                <a:gd name="connsiteY831" fmla="*/ 9196 h 10000"/>
                <a:gd name="connsiteX832" fmla="*/ 207 w 10000"/>
                <a:gd name="connsiteY832" fmla="*/ 9215 h 10000"/>
                <a:gd name="connsiteX833" fmla="*/ 227 w 10000"/>
                <a:gd name="connsiteY833" fmla="*/ 9233 h 10000"/>
                <a:gd name="connsiteX834" fmla="*/ 253 w 10000"/>
                <a:gd name="connsiteY834" fmla="*/ 9250 h 10000"/>
                <a:gd name="connsiteX835" fmla="*/ 303 w 10000"/>
                <a:gd name="connsiteY835" fmla="*/ 9282 h 10000"/>
                <a:gd name="connsiteX836" fmla="*/ 351 w 10000"/>
                <a:gd name="connsiteY836" fmla="*/ 9315 h 10000"/>
                <a:gd name="connsiteX837" fmla="*/ 414 w 10000"/>
                <a:gd name="connsiteY837" fmla="*/ 9364 h 10000"/>
                <a:gd name="connsiteX838" fmla="*/ 480 w 10000"/>
                <a:gd name="connsiteY838" fmla="*/ 9416 h 10000"/>
                <a:gd name="connsiteX839" fmla="*/ 513 w 10000"/>
                <a:gd name="connsiteY839" fmla="*/ 9437 h 10000"/>
                <a:gd name="connsiteX840" fmla="*/ 548 w 10000"/>
                <a:gd name="connsiteY840" fmla="*/ 9462 h 10000"/>
                <a:gd name="connsiteX841" fmla="*/ 581 w 10000"/>
                <a:gd name="connsiteY841" fmla="*/ 9483 h 10000"/>
                <a:gd name="connsiteX842" fmla="*/ 614 w 10000"/>
                <a:gd name="connsiteY842" fmla="*/ 9502 h 10000"/>
                <a:gd name="connsiteX843" fmla="*/ 641 w 10000"/>
                <a:gd name="connsiteY843" fmla="*/ 9525 h 10000"/>
                <a:gd name="connsiteX844" fmla="*/ 672 w 10000"/>
                <a:gd name="connsiteY844" fmla="*/ 9549 h 10000"/>
                <a:gd name="connsiteX845" fmla="*/ 702 w 10000"/>
                <a:gd name="connsiteY845" fmla="*/ 9568 h 10000"/>
                <a:gd name="connsiteX846" fmla="*/ 737 w 10000"/>
                <a:gd name="connsiteY846" fmla="*/ 9589 h 10000"/>
                <a:gd name="connsiteX847" fmla="*/ 770 w 10000"/>
                <a:gd name="connsiteY847" fmla="*/ 9605 h 10000"/>
                <a:gd name="connsiteX848" fmla="*/ 808 w 10000"/>
                <a:gd name="connsiteY848" fmla="*/ 9617 h 10000"/>
                <a:gd name="connsiteX849" fmla="*/ 843 w 10000"/>
                <a:gd name="connsiteY849" fmla="*/ 9624 h 10000"/>
                <a:gd name="connsiteX850" fmla="*/ 884 w 10000"/>
                <a:gd name="connsiteY850" fmla="*/ 9628 h 10000"/>
                <a:gd name="connsiteX851" fmla="*/ 902 w 10000"/>
                <a:gd name="connsiteY851" fmla="*/ 9628 h 10000"/>
                <a:gd name="connsiteX852" fmla="*/ 914 w 10000"/>
                <a:gd name="connsiteY852" fmla="*/ 9631 h 10000"/>
                <a:gd name="connsiteX853" fmla="*/ 932 w 10000"/>
                <a:gd name="connsiteY853" fmla="*/ 9638 h 10000"/>
                <a:gd name="connsiteX854" fmla="*/ 942 w 10000"/>
                <a:gd name="connsiteY854" fmla="*/ 9642 h 10000"/>
                <a:gd name="connsiteX855" fmla="*/ 967 w 10000"/>
                <a:gd name="connsiteY855" fmla="*/ 9652 h 10000"/>
                <a:gd name="connsiteX856" fmla="*/ 987 w 10000"/>
                <a:gd name="connsiteY856" fmla="*/ 9668 h 10000"/>
                <a:gd name="connsiteX857" fmla="*/ 1005 w 10000"/>
                <a:gd name="connsiteY857" fmla="*/ 9682 h 10000"/>
                <a:gd name="connsiteX858" fmla="*/ 1025 w 10000"/>
                <a:gd name="connsiteY858" fmla="*/ 9698 h 10000"/>
                <a:gd name="connsiteX859" fmla="*/ 1045 w 10000"/>
                <a:gd name="connsiteY859" fmla="*/ 9712 h 10000"/>
                <a:gd name="connsiteX860" fmla="*/ 1073 w 10000"/>
                <a:gd name="connsiteY860" fmla="*/ 9724 h 10000"/>
                <a:gd name="connsiteX861" fmla="*/ 1098 w 10000"/>
                <a:gd name="connsiteY861" fmla="*/ 9738 h 10000"/>
                <a:gd name="connsiteX862" fmla="*/ 1121 w 10000"/>
                <a:gd name="connsiteY862" fmla="*/ 9750 h 10000"/>
                <a:gd name="connsiteX863" fmla="*/ 1141 w 10000"/>
                <a:gd name="connsiteY863" fmla="*/ 9762 h 10000"/>
                <a:gd name="connsiteX864" fmla="*/ 1159 w 10000"/>
                <a:gd name="connsiteY864" fmla="*/ 9776 h 10000"/>
                <a:gd name="connsiteX865" fmla="*/ 1172 w 10000"/>
                <a:gd name="connsiteY865" fmla="*/ 9787 h 10000"/>
                <a:gd name="connsiteX866" fmla="*/ 1182 w 10000"/>
                <a:gd name="connsiteY866" fmla="*/ 9804 h 10000"/>
                <a:gd name="connsiteX867" fmla="*/ 1194 w 10000"/>
                <a:gd name="connsiteY867" fmla="*/ 9818 h 10000"/>
                <a:gd name="connsiteX868" fmla="*/ 1202 w 10000"/>
                <a:gd name="connsiteY868" fmla="*/ 9834 h 10000"/>
                <a:gd name="connsiteX869" fmla="*/ 1212 w 10000"/>
                <a:gd name="connsiteY869" fmla="*/ 9869 h 10000"/>
                <a:gd name="connsiteX870" fmla="*/ 1220 w 10000"/>
                <a:gd name="connsiteY870" fmla="*/ 9906 h 10000"/>
                <a:gd name="connsiteX871" fmla="*/ 1230 w 10000"/>
                <a:gd name="connsiteY871" fmla="*/ 9951 h 10000"/>
                <a:gd name="connsiteX872" fmla="*/ 1237 w 10000"/>
                <a:gd name="connsiteY872" fmla="*/ 10000 h 10000"/>
                <a:gd name="connsiteX873" fmla="*/ 1237 w 10000"/>
                <a:gd name="connsiteY87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89 w 10000"/>
                <a:gd name="connsiteY734" fmla="*/ 7543 h 10000"/>
                <a:gd name="connsiteX735" fmla="*/ 2692 w 10000"/>
                <a:gd name="connsiteY735" fmla="*/ 7588 h 10000"/>
                <a:gd name="connsiteX736" fmla="*/ 2167 w 10000"/>
                <a:gd name="connsiteY736" fmla="*/ 7742 h 10000"/>
                <a:gd name="connsiteX737" fmla="*/ 2159 w 10000"/>
                <a:gd name="connsiteY737" fmla="*/ 7833 h 10000"/>
                <a:gd name="connsiteX738" fmla="*/ 2157 w 10000"/>
                <a:gd name="connsiteY738" fmla="*/ 7882 h 10000"/>
                <a:gd name="connsiteX739" fmla="*/ 2157 w 10000"/>
                <a:gd name="connsiteY739" fmla="*/ 7938 h 10000"/>
                <a:gd name="connsiteX740" fmla="*/ 2159 w 10000"/>
                <a:gd name="connsiteY740" fmla="*/ 8006 h 10000"/>
                <a:gd name="connsiteX741" fmla="*/ 2162 w 10000"/>
                <a:gd name="connsiteY741" fmla="*/ 8079 h 10000"/>
                <a:gd name="connsiteX742" fmla="*/ 2159 w 10000"/>
                <a:gd name="connsiteY742" fmla="*/ 8156 h 10000"/>
                <a:gd name="connsiteX743" fmla="*/ 2157 w 10000"/>
                <a:gd name="connsiteY743" fmla="*/ 8193 h 10000"/>
                <a:gd name="connsiteX744" fmla="*/ 2154 w 10000"/>
                <a:gd name="connsiteY744" fmla="*/ 8228 h 10000"/>
                <a:gd name="connsiteX745" fmla="*/ 2146 w 10000"/>
                <a:gd name="connsiteY745" fmla="*/ 8261 h 10000"/>
                <a:gd name="connsiteX746" fmla="*/ 2136 w 10000"/>
                <a:gd name="connsiteY746" fmla="*/ 8291 h 10000"/>
                <a:gd name="connsiteX747" fmla="*/ 2124 w 10000"/>
                <a:gd name="connsiteY747" fmla="*/ 8319 h 10000"/>
                <a:gd name="connsiteX748" fmla="*/ 2109 w 10000"/>
                <a:gd name="connsiteY748" fmla="*/ 8345 h 10000"/>
                <a:gd name="connsiteX749" fmla="*/ 2098 w 10000"/>
                <a:gd name="connsiteY749" fmla="*/ 8354 h 10000"/>
                <a:gd name="connsiteX750" fmla="*/ 2088 w 10000"/>
                <a:gd name="connsiteY750" fmla="*/ 8364 h 10000"/>
                <a:gd name="connsiteX751" fmla="*/ 2078 w 10000"/>
                <a:gd name="connsiteY751" fmla="*/ 8373 h 10000"/>
                <a:gd name="connsiteX752" fmla="*/ 2063 w 10000"/>
                <a:gd name="connsiteY752" fmla="*/ 8380 h 10000"/>
                <a:gd name="connsiteX753" fmla="*/ 1990 w 10000"/>
                <a:gd name="connsiteY753" fmla="*/ 8422 h 10000"/>
                <a:gd name="connsiteX754" fmla="*/ 1904 w 10000"/>
                <a:gd name="connsiteY754" fmla="*/ 8481 h 10000"/>
                <a:gd name="connsiteX755" fmla="*/ 1856 w 10000"/>
                <a:gd name="connsiteY755" fmla="*/ 8506 h 10000"/>
                <a:gd name="connsiteX756" fmla="*/ 1816 w 10000"/>
                <a:gd name="connsiteY756" fmla="*/ 8527 h 10000"/>
                <a:gd name="connsiteX757" fmla="*/ 1793 w 10000"/>
                <a:gd name="connsiteY757" fmla="*/ 8539 h 10000"/>
                <a:gd name="connsiteX758" fmla="*/ 1775 w 10000"/>
                <a:gd name="connsiteY758" fmla="*/ 8546 h 10000"/>
                <a:gd name="connsiteX759" fmla="*/ 1758 w 10000"/>
                <a:gd name="connsiteY759" fmla="*/ 8548 h 10000"/>
                <a:gd name="connsiteX760" fmla="*/ 1742 w 10000"/>
                <a:gd name="connsiteY760" fmla="*/ 8551 h 10000"/>
                <a:gd name="connsiteX761" fmla="*/ 1727 w 10000"/>
                <a:gd name="connsiteY761" fmla="*/ 8537 h 10000"/>
                <a:gd name="connsiteX762" fmla="*/ 1717 w 10000"/>
                <a:gd name="connsiteY762" fmla="*/ 8518 h 10000"/>
                <a:gd name="connsiteX763" fmla="*/ 1684 w 10000"/>
                <a:gd name="connsiteY763" fmla="*/ 8429 h 10000"/>
                <a:gd name="connsiteX764" fmla="*/ 1525 w 10000"/>
                <a:gd name="connsiteY764" fmla="*/ 8186 h 10000"/>
                <a:gd name="connsiteX765" fmla="*/ 1500 w 10000"/>
                <a:gd name="connsiteY765" fmla="*/ 8191 h 10000"/>
                <a:gd name="connsiteX766" fmla="*/ 1472 w 10000"/>
                <a:gd name="connsiteY766" fmla="*/ 8198 h 10000"/>
                <a:gd name="connsiteX767" fmla="*/ 1434 w 10000"/>
                <a:gd name="connsiteY767" fmla="*/ 8223 h 10000"/>
                <a:gd name="connsiteX768" fmla="*/ 1149 w 10000"/>
                <a:gd name="connsiteY768" fmla="*/ 8256 h 10000"/>
                <a:gd name="connsiteX769" fmla="*/ 1139 w 10000"/>
                <a:gd name="connsiteY769" fmla="*/ 8249 h 10000"/>
                <a:gd name="connsiteX770" fmla="*/ 1126 w 10000"/>
                <a:gd name="connsiteY770" fmla="*/ 8240 h 10000"/>
                <a:gd name="connsiteX771" fmla="*/ 1114 w 10000"/>
                <a:gd name="connsiteY771" fmla="*/ 8240 h 10000"/>
                <a:gd name="connsiteX772" fmla="*/ 1091 w 10000"/>
                <a:gd name="connsiteY772" fmla="*/ 8242 h 10000"/>
                <a:gd name="connsiteX773" fmla="*/ 1071 w 10000"/>
                <a:gd name="connsiteY773" fmla="*/ 8252 h 10000"/>
                <a:gd name="connsiteX774" fmla="*/ 1048 w 10000"/>
                <a:gd name="connsiteY774" fmla="*/ 8261 h 10000"/>
                <a:gd name="connsiteX775" fmla="*/ 1030 w 10000"/>
                <a:gd name="connsiteY775" fmla="*/ 8273 h 10000"/>
                <a:gd name="connsiteX776" fmla="*/ 1010 w 10000"/>
                <a:gd name="connsiteY776" fmla="*/ 8287 h 10000"/>
                <a:gd name="connsiteX777" fmla="*/ 995 w 10000"/>
                <a:gd name="connsiteY777" fmla="*/ 8303 h 10000"/>
                <a:gd name="connsiteX778" fmla="*/ 975 w 10000"/>
                <a:gd name="connsiteY778" fmla="*/ 8322 h 10000"/>
                <a:gd name="connsiteX779" fmla="*/ 960 w 10000"/>
                <a:gd name="connsiteY779" fmla="*/ 8343 h 10000"/>
                <a:gd name="connsiteX780" fmla="*/ 927 w 10000"/>
                <a:gd name="connsiteY780" fmla="*/ 8380 h 10000"/>
                <a:gd name="connsiteX781" fmla="*/ 891 w 10000"/>
                <a:gd name="connsiteY781" fmla="*/ 8417 h 10000"/>
                <a:gd name="connsiteX782" fmla="*/ 874 w 10000"/>
                <a:gd name="connsiteY782" fmla="*/ 8436 h 10000"/>
                <a:gd name="connsiteX783" fmla="*/ 859 w 10000"/>
                <a:gd name="connsiteY783" fmla="*/ 8450 h 10000"/>
                <a:gd name="connsiteX784" fmla="*/ 838 w 10000"/>
                <a:gd name="connsiteY784" fmla="*/ 8462 h 10000"/>
                <a:gd name="connsiteX785" fmla="*/ 821 w 10000"/>
                <a:gd name="connsiteY785" fmla="*/ 8476 h 10000"/>
                <a:gd name="connsiteX786" fmla="*/ 742 w 10000"/>
                <a:gd name="connsiteY786" fmla="*/ 8562 h 10000"/>
                <a:gd name="connsiteX787" fmla="*/ 672 w 10000"/>
                <a:gd name="connsiteY787" fmla="*/ 8644 h 10000"/>
                <a:gd name="connsiteX788" fmla="*/ 639 w 10000"/>
                <a:gd name="connsiteY788" fmla="*/ 8684 h 10000"/>
                <a:gd name="connsiteX789" fmla="*/ 609 w 10000"/>
                <a:gd name="connsiteY789" fmla="*/ 8731 h 10000"/>
                <a:gd name="connsiteX790" fmla="*/ 583 w 10000"/>
                <a:gd name="connsiteY790" fmla="*/ 8777 h 10000"/>
                <a:gd name="connsiteX791" fmla="*/ 556 w 10000"/>
                <a:gd name="connsiteY791" fmla="*/ 8831 h 10000"/>
                <a:gd name="connsiteX792" fmla="*/ 545 w 10000"/>
                <a:gd name="connsiteY792" fmla="*/ 8852 h 10000"/>
                <a:gd name="connsiteX793" fmla="*/ 525 w 10000"/>
                <a:gd name="connsiteY793" fmla="*/ 8885 h 10000"/>
                <a:gd name="connsiteX794" fmla="*/ 503 w 10000"/>
                <a:gd name="connsiteY794" fmla="*/ 8925 h 10000"/>
                <a:gd name="connsiteX795" fmla="*/ 480 w 10000"/>
                <a:gd name="connsiteY795" fmla="*/ 8962 h 10000"/>
                <a:gd name="connsiteX796" fmla="*/ 465 w 10000"/>
                <a:gd name="connsiteY796" fmla="*/ 8981 h 10000"/>
                <a:gd name="connsiteX797" fmla="*/ 455 w 10000"/>
                <a:gd name="connsiteY797" fmla="*/ 8993 h 10000"/>
                <a:gd name="connsiteX798" fmla="*/ 444 w 10000"/>
                <a:gd name="connsiteY798" fmla="*/ 9000 h 10000"/>
                <a:gd name="connsiteX799" fmla="*/ 434 w 10000"/>
                <a:gd name="connsiteY799" fmla="*/ 9007 h 10000"/>
                <a:gd name="connsiteX800" fmla="*/ 432 w 10000"/>
                <a:gd name="connsiteY800" fmla="*/ 9007 h 10000"/>
                <a:gd name="connsiteX801" fmla="*/ 429 w 10000"/>
                <a:gd name="connsiteY801" fmla="*/ 9004 h 10000"/>
                <a:gd name="connsiteX802" fmla="*/ 427 w 10000"/>
                <a:gd name="connsiteY802" fmla="*/ 8997 h 10000"/>
                <a:gd name="connsiteX803" fmla="*/ 427 w 10000"/>
                <a:gd name="connsiteY803" fmla="*/ 8993 h 10000"/>
                <a:gd name="connsiteX804" fmla="*/ 424 w 10000"/>
                <a:gd name="connsiteY804" fmla="*/ 8976 h 10000"/>
                <a:gd name="connsiteX805" fmla="*/ 427 w 10000"/>
                <a:gd name="connsiteY805" fmla="*/ 8948 h 10000"/>
                <a:gd name="connsiteX806" fmla="*/ 437 w 10000"/>
                <a:gd name="connsiteY806" fmla="*/ 8913 h 10000"/>
                <a:gd name="connsiteX807" fmla="*/ 455 w 10000"/>
                <a:gd name="connsiteY807" fmla="*/ 8859 h 10000"/>
                <a:gd name="connsiteX808" fmla="*/ 462 w 10000"/>
                <a:gd name="connsiteY808" fmla="*/ 8834 h 10000"/>
                <a:gd name="connsiteX809" fmla="*/ 470 w 10000"/>
                <a:gd name="connsiteY809" fmla="*/ 8810 h 10000"/>
                <a:gd name="connsiteX810" fmla="*/ 472 w 10000"/>
                <a:gd name="connsiteY810" fmla="*/ 8794 h 10000"/>
                <a:gd name="connsiteX811" fmla="*/ 472 w 10000"/>
                <a:gd name="connsiteY811" fmla="*/ 8780 h 10000"/>
                <a:gd name="connsiteX812" fmla="*/ 462 w 10000"/>
                <a:gd name="connsiteY812" fmla="*/ 8784 h 10000"/>
                <a:gd name="connsiteX813" fmla="*/ 452 w 10000"/>
                <a:gd name="connsiteY813" fmla="*/ 8787 h 10000"/>
                <a:gd name="connsiteX814" fmla="*/ 437 w 10000"/>
                <a:gd name="connsiteY814" fmla="*/ 8794 h 10000"/>
                <a:gd name="connsiteX815" fmla="*/ 424 w 10000"/>
                <a:gd name="connsiteY815" fmla="*/ 8803 h 10000"/>
                <a:gd name="connsiteX816" fmla="*/ 394 w 10000"/>
                <a:gd name="connsiteY816" fmla="*/ 8829 h 10000"/>
                <a:gd name="connsiteX817" fmla="*/ 364 w 10000"/>
                <a:gd name="connsiteY817" fmla="*/ 8859 h 10000"/>
                <a:gd name="connsiteX818" fmla="*/ 311 w 10000"/>
                <a:gd name="connsiteY818" fmla="*/ 8922 h 10000"/>
                <a:gd name="connsiteX819" fmla="*/ 268 w 10000"/>
                <a:gd name="connsiteY819" fmla="*/ 8964 h 10000"/>
                <a:gd name="connsiteX820" fmla="*/ 205 w 10000"/>
                <a:gd name="connsiteY820" fmla="*/ 9016 h 10000"/>
                <a:gd name="connsiteX821" fmla="*/ 146 w 10000"/>
                <a:gd name="connsiteY821" fmla="*/ 9053 h 10000"/>
                <a:gd name="connsiteX822" fmla="*/ 139 w 10000"/>
                <a:gd name="connsiteY822" fmla="*/ 9063 h 10000"/>
                <a:gd name="connsiteX823" fmla="*/ 129 w 10000"/>
                <a:gd name="connsiteY823" fmla="*/ 9077 h 10000"/>
                <a:gd name="connsiteX824" fmla="*/ 126 w 10000"/>
                <a:gd name="connsiteY824" fmla="*/ 9086 h 10000"/>
                <a:gd name="connsiteX825" fmla="*/ 126 w 10000"/>
                <a:gd name="connsiteY825" fmla="*/ 9102 h 10000"/>
                <a:gd name="connsiteX826" fmla="*/ 129 w 10000"/>
                <a:gd name="connsiteY826" fmla="*/ 9116 h 10000"/>
                <a:gd name="connsiteX827" fmla="*/ 139 w 10000"/>
                <a:gd name="connsiteY827" fmla="*/ 9135 h 10000"/>
                <a:gd name="connsiteX828" fmla="*/ 149 w 10000"/>
                <a:gd name="connsiteY828" fmla="*/ 9151 h 10000"/>
                <a:gd name="connsiteX829" fmla="*/ 164 w 10000"/>
                <a:gd name="connsiteY829" fmla="*/ 9175 h 10000"/>
                <a:gd name="connsiteX830" fmla="*/ 184 w 10000"/>
                <a:gd name="connsiteY830" fmla="*/ 9196 h 10000"/>
                <a:gd name="connsiteX831" fmla="*/ 207 w 10000"/>
                <a:gd name="connsiteY831" fmla="*/ 9215 h 10000"/>
                <a:gd name="connsiteX832" fmla="*/ 227 w 10000"/>
                <a:gd name="connsiteY832" fmla="*/ 9233 h 10000"/>
                <a:gd name="connsiteX833" fmla="*/ 253 w 10000"/>
                <a:gd name="connsiteY833" fmla="*/ 9250 h 10000"/>
                <a:gd name="connsiteX834" fmla="*/ 303 w 10000"/>
                <a:gd name="connsiteY834" fmla="*/ 9282 h 10000"/>
                <a:gd name="connsiteX835" fmla="*/ 351 w 10000"/>
                <a:gd name="connsiteY835" fmla="*/ 9315 h 10000"/>
                <a:gd name="connsiteX836" fmla="*/ 414 w 10000"/>
                <a:gd name="connsiteY836" fmla="*/ 9364 h 10000"/>
                <a:gd name="connsiteX837" fmla="*/ 480 w 10000"/>
                <a:gd name="connsiteY837" fmla="*/ 9416 h 10000"/>
                <a:gd name="connsiteX838" fmla="*/ 513 w 10000"/>
                <a:gd name="connsiteY838" fmla="*/ 9437 h 10000"/>
                <a:gd name="connsiteX839" fmla="*/ 548 w 10000"/>
                <a:gd name="connsiteY839" fmla="*/ 9462 h 10000"/>
                <a:gd name="connsiteX840" fmla="*/ 581 w 10000"/>
                <a:gd name="connsiteY840" fmla="*/ 9483 h 10000"/>
                <a:gd name="connsiteX841" fmla="*/ 614 w 10000"/>
                <a:gd name="connsiteY841" fmla="*/ 9502 h 10000"/>
                <a:gd name="connsiteX842" fmla="*/ 641 w 10000"/>
                <a:gd name="connsiteY842" fmla="*/ 9525 h 10000"/>
                <a:gd name="connsiteX843" fmla="*/ 672 w 10000"/>
                <a:gd name="connsiteY843" fmla="*/ 9549 h 10000"/>
                <a:gd name="connsiteX844" fmla="*/ 702 w 10000"/>
                <a:gd name="connsiteY844" fmla="*/ 9568 h 10000"/>
                <a:gd name="connsiteX845" fmla="*/ 737 w 10000"/>
                <a:gd name="connsiteY845" fmla="*/ 9589 h 10000"/>
                <a:gd name="connsiteX846" fmla="*/ 770 w 10000"/>
                <a:gd name="connsiteY846" fmla="*/ 9605 h 10000"/>
                <a:gd name="connsiteX847" fmla="*/ 808 w 10000"/>
                <a:gd name="connsiteY847" fmla="*/ 9617 h 10000"/>
                <a:gd name="connsiteX848" fmla="*/ 843 w 10000"/>
                <a:gd name="connsiteY848" fmla="*/ 9624 h 10000"/>
                <a:gd name="connsiteX849" fmla="*/ 884 w 10000"/>
                <a:gd name="connsiteY849" fmla="*/ 9628 h 10000"/>
                <a:gd name="connsiteX850" fmla="*/ 902 w 10000"/>
                <a:gd name="connsiteY850" fmla="*/ 9628 h 10000"/>
                <a:gd name="connsiteX851" fmla="*/ 914 w 10000"/>
                <a:gd name="connsiteY851" fmla="*/ 9631 h 10000"/>
                <a:gd name="connsiteX852" fmla="*/ 932 w 10000"/>
                <a:gd name="connsiteY852" fmla="*/ 9638 h 10000"/>
                <a:gd name="connsiteX853" fmla="*/ 942 w 10000"/>
                <a:gd name="connsiteY853" fmla="*/ 9642 h 10000"/>
                <a:gd name="connsiteX854" fmla="*/ 967 w 10000"/>
                <a:gd name="connsiteY854" fmla="*/ 9652 h 10000"/>
                <a:gd name="connsiteX855" fmla="*/ 987 w 10000"/>
                <a:gd name="connsiteY855" fmla="*/ 9668 h 10000"/>
                <a:gd name="connsiteX856" fmla="*/ 1005 w 10000"/>
                <a:gd name="connsiteY856" fmla="*/ 9682 h 10000"/>
                <a:gd name="connsiteX857" fmla="*/ 1025 w 10000"/>
                <a:gd name="connsiteY857" fmla="*/ 9698 h 10000"/>
                <a:gd name="connsiteX858" fmla="*/ 1045 w 10000"/>
                <a:gd name="connsiteY858" fmla="*/ 9712 h 10000"/>
                <a:gd name="connsiteX859" fmla="*/ 1073 w 10000"/>
                <a:gd name="connsiteY859" fmla="*/ 9724 h 10000"/>
                <a:gd name="connsiteX860" fmla="*/ 1098 w 10000"/>
                <a:gd name="connsiteY860" fmla="*/ 9738 h 10000"/>
                <a:gd name="connsiteX861" fmla="*/ 1121 w 10000"/>
                <a:gd name="connsiteY861" fmla="*/ 9750 h 10000"/>
                <a:gd name="connsiteX862" fmla="*/ 1141 w 10000"/>
                <a:gd name="connsiteY862" fmla="*/ 9762 h 10000"/>
                <a:gd name="connsiteX863" fmla="*/ 1159 w 10000"/>
                <a:gd name="connsiteY863" fmla="*/ 9776 h 10000"/>
                <a:gd name="connsiteX864" fmla="*/ 1172 w 10000"/>
                <a:gd name="connsiteY864" fmla="*/ 9787 h 10000"/>
                <a:gd name="connsiteX865" fmla="*/ 1182 w 10000"/>
                <a:gd name="connsiteY865" fmla="*/ 9804 h 10000"/>
                <a:gd name="connsiteX866" fmla="*/ 1194 w 10000"/>
                <a:gd name="connsiteY866" fmla="*/ 9818 h 10000"/>
                <a:gd name="connsiteX867" fmla="*/ 1202 w 10000"/>
                <a:gd name="connsiteY867" fmla="*/ 9834 h 10000"/>
                <a:gd name="connsiteX868" fmla="*/ 1212 w 10000"/>
                <a:gd name="connsiteY868" fmla="*/ 9869 h 10000"/>
                <a:gd name="connsiteX869" fmla="*/ 1220 w 10000"/>
                <a:gd name="connsiteY869" fmla="*/ 9906 h 10000"/>
                <a:gd name="connsiteX870" fmla="*/ 1230 w 10000"/>
                <a:gd name="connsiteY870" fmla="*/ 9951 h 10000"/>
                <a:gd name="connsiteX871" fmla="*/ 1237 w 10000"/>
                <a:gd name="connsiteY871" fmla="*/ 10000 h 10000"/>
                <a:gd name="connsiteX872" fmla="*/ 1237 w 10000"/>
                <a:gd name="connsiteY87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72 w 10000"/>
                <a:gd name="connsiteY732" fmla="*/ 7480 h 10000"/>
                <a:gd name="connsiteX733" fmla="*/ 2687 w 10000"/>
                <a:gd name="connsiteY733" fmla="*/ 7525 h 10000"/>
                <a:gd name="connsiteX734" fmla="*/ 2692 w 10000"/>
                <a:gd name="connsiteY734" fmla="*/ 7588 h 10000"/>
                <a:gd name="connsiteX735" fmla="*/ 2167 w 10000"/>
                <a:gd name="connsiteY735" fmla="*/ 7742 h 10000"/>
                <a:gd name="connsiteX736" fmla="*/ 2159 w 10000"/>
                <a:gd name="connsiteY736" fmla="*/ 7833 h 10000"/>
                <a:gd name="connsiteX737" fmla="*/ 2157 w 10000"/>
                <a:gd name="connsiteY737" fmla="*/ 7882 h 10000"/>
                <a:gd name="connsiteX738" fmla="*/ 2157 w 10000"/>
                <a:gd name="connsiteY738" fmla="*/ 7938 h 10000"/>
                <a:gd name="connsiteX739" fmla="*/ 2159 w 10000"/>
                <a:gd name="connsiteY739" fmla="*/ 8006 h 10000"/>
                <a:gd name="connsiteX740" fmla="*/ 2162 w 10000"/>
                <a:gd name="connsiteY740" fmla="*/ 8079 h 10000"/>
                <a:gd name="connsiteX741" fmla="*/ 2159 w 10000"/>
                <a:gd name="connsiteY741" fmla="*/ 8156 h 10000"/>
                <a:gd name="connsiteX742" fmla="*/ 2157 w 10000"/>
                <a:gd name="connsiteY742" fmla="*/ 8193 h 10000"/>
                <a:gd name="connsiteX743" fmla="*/ 2154 w 10000"/>
                <a:gd name="connsiteY743" fmla="*/ 8228 h 10000"/>
                <a:gd name="connsiteX744" fmla="*/ 2146 w 10000"/>
                <a:gd name="connsiteY744" fmla="*/ 8261 h 10000"/>
                <a:gd name="connsiteX745" fmla="*/ 2136 w 10000"/>
                <a:gd name="connsiteY745" fmla="*/ 8291 h 10000"/>
                <a:gd name="connsiteX746" fmla="*/ 2124 w 10000"/>
                <a:gd name="connsiteY746" fmla="*/ 8319 h 10000"/>
                <a:gd name="connsiteX747" fmla="*/ 2109 w 10000"/>
                <a:gd name="connsiteY747" fmla="*/ 8345 h 10000"/>
                <a:gd name="connsiteX748" fmla="*/ 2098 w 10000"/>
                <a:gd name="connsiteY748" fmla="*/ 8354 h 10000"/>
                <a:gd name="connsiteX749" fmla="*/ 2088 w 10000"/>
                <a:gd name="connsiteY749" fmla="*/ 8364 h 10000"/>
                <a:gd name="connsiteX750" fmla="*/ 2078 w 10000"/>
                <a:gd name="connsiteY750" fmla="*/ 8373 h 10000"/>
                <a:gd name="connsiteX751" fmla="*/ 2063 w 10000"/>
                <a:gd name="connsiteY751" fmla="*/ 8380 h 10000"/>
                <a:gd name="connsiteX752" fmla="*/ 1990 w 10000"/>
                <a:gd name="connsiteY752" fmla="*/ 8422 h 10000"/>
                <a:gd name="connsiteX753" fmla="*/ 1904 w 10000"/>
                <a:gd name="connsiteY753" fmla="*/ 8481 h 10000"/>
                <a:gd name="connsiteX754" fmla="*/ 1856 w 10000"/>
                <a:gd name="connsiteY754" fmla="*/ 8506 h 10000"/>
                <a:gd name="connsiteX755" fmla="*/ 1816 w 10000"/>
                <a:gd name="connsiteY755" fmla="*/ 8527 h 10000"/>
                <a:gd name="connsiteX756" fmla="*/ 1793 w 10000"/>
                <a:gd name="connsiteY756" fmla="*/ 8539 h 10000"/>
                <a:gd name="connsiteX757" fmla="*/ 1775 w 10000"/>
                <a:gd name="connsiteY757" fmla="*/ 8546 h 10000"/>
                <a:gd name="connsiteX758" fmla="*/ 1758 w 10000"/>
                <a:gd name="connsiteY758" fmla="*/ 8548 h 10000"/>
                <a:gd name="connsiteX759" fmla="*/ 1742 w 10000"/>
                <a:gd name="connsiteY759" fmla="*/ 8551 h 10000"/>
                <a:gd name="connsiteX760" fmla="*/ 1727 w 10000"/>
                <a:gd name="connsiteY760" fmla="*/ 8537 h 10000"/>
                <a:gd name="connsiteX761" fmla="*/ 1717 w 10000"/>
                <a:gd name="connsiteY761" fmla="*/ 8518 h 10000"/>
                <a:gd name="connsiteX762" fmla="*/ 1684 w 10000"/>
                <a:gd name="connsiteY762" fmla="*/ 8429 h 10000"/>
                <a:gd name="connsiteX763" fmla="*/ 1525 w 10000"/>
                <a:gd name="connsiteY763" fmla="*/ 8186 h 10000"/>
                <a:gd name="connsiteX764" fmla="*/ 1500 w 10000"/>
                <a:gd name="connsiteY764" fmla="*/ 8191 h 10000"/>
                <a:gd name="connsiteX765" fmla="*/ 1472 w 10000"/>
                <a:gd name="connsiteY765" fmla="*/ 8198 h 10000"/>
                <a:gd name="connsiteX766" fmla="*/ 1434 w 10000"/>
                <a:gd name="connsiteY766" fmla="*/ 8223 h 10000"/>
                <a:gd name="connsiteX767" fmla="*/ 1149 w 10000"/>
                <a:gd name="connsiteY767" fmla="*/ 8256 h 10000"/>
                <a:gd name="connsiteX768" fmla="*/ 1139 w 10000"/>
                <a:gd name="connsiteY768" fmla="*/ 8249 h 10000"/>
                <a:gd name="connsiteX769" fmla="*/ 1126 w 10000"/>
                <a:gd name="connsiteY769" fmla="*/ 8240 h 10000"/>
                <a:gd name="connsiteX770" fmla="*/ 1114 w 10000"/>
                <a:gd name="connsiteY770" fmla="*/ 8240 h 10000"/>
                <a:gd name="connsiteX771" fmla="*/ 1091 w 10000"/>
                <a:gd name="connsiteY771" fmla="*/ 8242 h 10000"/>
                <a:gd name="connsiteX772" fmla="*/ 1071 w 10000"/>
                <a:gd name="connsiteY772" fmla="*/ 8252 h 10000"/>
                <a:gd name="connsiteX773" fmla="*/ 1048 w 10000"/>
                <a:gd name="connsiteY773" fmla="*/ 8261 h 10000"/>
                <a:gd name="connsiteX774" fmla="*/ 1030 w 10000"/>
                <a:gd name="connsiteY774" fmla="*/ 8273 h 10000"/>
                <a:gd name="connsiteX775" fmla="*/ 1010 w 10000"/>
                <a:gd name="connsiteY775" fmla="*/ 8287 h 10000"/>
                <a:gd name="connsiteX776" fmla="*/ 995 w 10000"/>
                <a:gd name="connsiteY776" fmla="*/ 8303 h 10000"/>
                <a:gd name="connsiteX777" fmla="*/ 975 w 10000"/>
                <a:gd name="connsiteY777" fmla="*/ 8322 h 10000"/>
                <a:gd name="connsiteX778" fmla="*/ 960 w 10000"/>
                <a:gd name="connsiteY778" fmla="*/ 8343 h 10000"/>
                <a:gd name="connsiteX779" fmla="*/ 927 w 10000"/>
                <a:gd name="connsiteY779" fmla="*/ 8380 h 10000"/>
                <a:gd name="connsiteX780" fmla="*/ 891 w 10000"/>
                <a:gd name="connsiteY780" fmla="*/ 8417 h 10000"/>
                <a:gd name="connsiteX781" fmla="*/ 874 w 10000"/>
                <a:gd name="connsiteY781" fmla="*/ 8436 h 10000"/>
                <a:gd name="connsiteX782" fmla="*/ 859 w 10000"/>
                <a:gd name="connsiteY782" fmla="*/ 8450 h 10000"/>
                <a:gd name="connsiteX783" fmla="*/ 838 w 10000"/>
                <a:gd name="connsiteY783" fmla="*/ 8462 h 10000"/>
                <a:gd name="connsiteX784" fmla="*/ 821 w 10000"/>
                <a:gd name="connsiteY784" fmla="*/ 8476 h 10000"/>
                <a:gd name="connsiteX785" fmla="*/ 742 w 10000"/>
                <a:gd name="connsiteY785" fmla="*/ 8562 h 10000"/>
                <a:gd name="connsiteX786" fmla="*/ 672 w 10000"/>
                <a:gd name="connsiteY786" fmla="*/ 8644 h 10000"/>
                <a:gd name="connsiteX787" fmla="*/ 639 w 10000"/>
                <a:gd name="connsiteY787" fmla="*/ 8684 h 10000"/>
                <a:gd name="connsiteX788" fmla="*/ 609 w 10000"/>
                <a:gd name="connsiteY788" fmla="*/ 8731 h 10000"/>
                <a:gd name="connsiteX789" fmla="*/ 583 w 10000"/>
                <a:gd name="connsiteY789" fmla="*/ 8777 h 10000"/>
                <a:gd name="connsiteX790" fmla="*/ 556 w 10000"/>
                <a:gd name="connsiteY790" fmla="*/ 8831 h 10000"/>
                <a:gd name="connsiteX791" fmla="*/ 545 w 10000"/>
                <a:gd name="connsiteY791" fmla="*/ 8852 h 10000"/>
                <a:gd name="connsiteX792" fmla="*/ 525 w 10000"/>
                <a:gd name="connsiteY792" fmla="*/ 8885 h 10000"/>
                <a:gd name="connsiteX793" fmla="*/ 503 w 10000"/>
                <a:gd name="connsiteY793" fmla="*/ 8925 h 10000"/>
                <a:gd name="connsiteX794" fmla="*/ 480 w 10000"/>
                <a:gd name="connsiteY794" fmla="*/ 8962 h 10000"/>
                <a:gd name="connsiteX795" fmla="*/ 465 w 10000"/>
                <a:gd name="connsiteY795" fmla="*/ 8981 h 10000"/>
                <a:gd name="connsiteX796" fmla="*/ 455 w 10000"/>
                <a:gd name="connsiteY796" fmla="*/ 8993 h 10000"/>
                <a:gd name="connsiteX797" fmla="*/ 444 w 10000"/>
                <a:gd name="connsiteY797" fmla="*/ 9000 h 10000"/>
                <a:gd name="connsiteX798" fmla="*/ 434 w 10000"/>
                <a:gd name="connsiteY798" fmla="*/ 9007 h 10000"/>
                <a:gd name="connsiteX799" fmla="*/ 432 w 10000"/>
                <a:gd name="connsiteY799" fmla="*/ 9007 h 10000"/>
                <a:gd name="connsiteX800" fmla="*/ 429 w 10000"/>
                <a:gd name="connsiteY800" fmla="*/ 9004 h 10000"/>
                <a:gd name="connsiteX801" fmla="*/ 427 w 10000"/>
                <a:gd name="connsiteY801" fmla="*/ 8997 h 10000"/>
                <a:gd name="connsiteX802" fmla="*/ 427 w 10000"/>
                <a:gd name="connsiteY802" fmla="*/ 8993 h 10000"/>
                <a:gd name="connsiteX803" fmla="*/ 424 w 10000"/>
                <a:gd name="connsiteY803" fmla="*/ 8976 h 10000"/>
                <a:gd name="connsiteX804" fmla="*/ 427 w 10000"/>
                <a:gd name="connsiteY804" fmla="*/ 8948 h 10000"/>
                <a:gd name="connsiteX805" fmla="*/ 437 w 10000"/>
                <a:gd name="connsiteY805" fmla="*/ 8913 h 10000"/>
                <a:gd name="connsiteX806" fmla="*/ 455 w 10000"/>
                <a:gd name="connsiteY806" fmla="*/ 8859 h 10000"/>
                <a:gd name="connsiteX807" fmla="*/ 462 w 10000"/>
                <a:gd name="connsiteY807" fmla="*/ 8834 h 10000"/>
                <a:gd name="connsiteX808" fmla="*/ 470 w 10000"/>
                <a:gd name="connsiteY808" fmla="*/ 8810 h 10000"/>
                <a:gd name="connsiteX809" fmla="*/ 472 w 10000"/>
                <a:gd name="connsiteY809" fmla="*/ 8794 h 10000"/>
                <a:gd name="connsiteX810" fmla="*/ 472 w 10000"/>
                <a:gd name="connsiteY810" fmla="*/ 8780 h 10000"/>
                <a:gd name="connsiteX811" fmla="*/ 462 w 10000"/>
                <a:gd name="connsiteY811" fmla="*/ 8784 h 10000"/>
                <a:gd name="connsiteX812" fmla="*/ 452 w 10000"/>
                <a:gd name="connsiteY812" fmla="*/ 8787 h 10000"/>
                <a:gd name="connsiteX813" fmla="*/ 437 w 10000"/>
                <a:gd name="connsiteY813" fmla="*/ 8794 h 10000"/>
                <a:gd name="connsiteX814" fmla="*/ 424 w 10000"/>
                <a:gd name="connsiteY814" fmla="*/ 8803 h 10000"/>
                <a:gd name="connsiteX815" fmla="*/ 394 w 10000"/>
                <a:gd name="connsiteY815" fmla="*/ 8829 h 10000"/>
                <a:gd name="connsiteX816" fmla="*/ 364 w 10000"/>
                <a:gd name="connsiteY816" fmla="*/ 8859 h 10000"/>
                <a:gd name="connsiteX817" fmla="*/ 311 w 10000"/>
                <a:gd name="connsiteY817" fmla="*/ 8922 h 10000"/>
                <a:gd name="connsiteX818" fmla="*/ 268 w 10000"/>
                <a:gd name="connsiteY818" fmla="*/ 8964 h 10000"/>
                <a:gd name="connsiteX819" fmla="*/ 205 w 10000"/>
                <a:gd name="connsiteY819" fmla="*/ 9016 h 10000"/>
                <a:gd name="connsiteX820" fmla="*/ 146 w 10000"/>
                <a:gd name="connsiteY820" fmla="*/ 9053 h 10000"/>
                <a:gd name="connsiteX821" fmla="*/ 139 w 10000"/>
                <a:gd name="connsiteY821" fmla="*/ 9063 h 10000"/>
                <a:gd name="connsiteX822" fmla="*/ 129 w 10000"/>
                <a:gd name="connsiteY822" fmla="*/ 9077 h 10000"/>
                <a:gd name="connsiteX823" fmla="*/ 126 w 10000"/>
                <a:gd name="connsiteY823" fmla="*/ 9086 h 10000"/>
                <a:gd name="connsiteX824" fmla="*/ 126 w 10000"/>
                <a:gd name="connsiteY824" fmla="*/ 9102 h 10000"/>
                <a:gd name="connsiteX825" fmla="*/ 129 w 10000"/>
                <a:gd name="connsiteY825" fmla="*/ 9116 h 10000"/>
                <a:gd name="connsiteX826" fmla="*/ 139 w 10000"/>
                <a:gd name="connsiteY826" fmla="*/ 9135 h 10000"/>
                <a:gd name="connsiteX827" fmla="*/ 149 w 10000"/>
                <a:gd name="connsiteY827" fmla="*/ 9151 h 10000"/>
                <a:gd name="connsiteX828" fmla="*/ 164 w 10000"/>
                <a:gd name="connsiteY828" fmla="*/ 9175 h 10000"/>
                <a:gd name="connsiteX829" fmla="*/ 184 w 10000"/>
                <a:gd name="connsiteY829" fmla="*/ 9196 h 10000"/>
                <a:gd name="connsiteX830" fmla="*/ 207 w 10000"/>
                <a:gd name="connsiteY830" fmla="*/ 9215 h 10000"/>
                <a:gd name="connsiteX831" fmla="*/ 227 w 10000"/>
                <a:gd name="connsiteY831" fmla="*/ 9233 h 10000"/>
                <a:gd name="connsiteX832" fmla="*/ 253 w 10000"/>
                <a:gd name="connsiteY832" fmla="*/ 9250 h 10000"/>
                <a:gd name="connsiteX833" fmla="*/ 303 w 10000"/>
                <a:gd name="connsiteY833" fmla="*/ 9282 h 10000"/>
                <a:gd name="connsiteX834" fmla="*/ 351 w 10000"/>
                <a:gd name="connsiteY834" fmla="*/ 9315 h 10000"/>
                <a:gd name="connsiteX835" fmla="*/ 414 w 10000"/>
                <a:gd name="connsiteY835" fmla="*/ 9364 h 10000"/>
                <a:gd name="connsiteX836" fmla="*/ 480 w 10000"/>
                <a:gd name="connsiteY836" fmla="*/ 9416 h 10000"/>
                <a:gd name="connsiteX837" fmla="*/ 513 w 10000"/>
                <a:gd name="connsiteY837" fmla="*/ 9437 h 10000"/>
                <a:gd name="connsiteX838" fmla="*/ 548 w 10000"/>
                <a:gd name="connsiteY838" fmla="*/ 9462 h 10000"/>
                <a:gd name="connsiteX839" fmla="*/ 581 w 10000"/>
                <a:gd name="connsiteY839" fmla="*/ 9483 h 10000"/>
                <a:gd name="connsiteX840" fmla="*/ 614 w 10000"/>
                <a:gd name="connsiteY840" fmla="*/ 9502 h 10000"/>
                <a:gd name="connsiteX841" fmla="*/ 641 w 10000"/>
                <a:gd name="connsiteY841" fmla="*/ 9525 h 10000"/>
                <a:gd name="connsiteX842" fmla="*/ 672 w 10000"/>
                <a:gd name="connsiteY842" fmla="*/ 9549 h 10000"/>
                <a:gd name="connsiteX843" fmla="*/ 702 w 10000"/>
                <a:gd name="connsiteY843" fmla="*/ 9568 h 10000"/>
                <a:gd name="connsiteX844" fmla="*/ 737 w 10000"/>
                <a:gd name="connsiteY844" fmla="*/ 9589 h 10000"/>
                <a:gd name="connsiteX845" fmla="*/ 770 w 10000"/>
                <a:gd name="connsiteY845" fmla="*/ 9605 h 10000"/>
                <a:gd name="connsiteX846" fmla="*/ 808 w 10000"/>
                <a:gd name="connsiteY846" fmla="*/ 9617 h 10000"/>
                <a:gd name="connsiteX847" fmla="*/ 843 w 10000"/>
                <a:gd name="connsiteY847" fmla="*/ 9624 h 10000"/>
                <a:gd name="connsiteX848" fmla="*/ 884 w 10000"/>
                <a:gd name="connsiteY848" fmla="*/ 9628 h 10000"/>
                <a:gd name="connsiteX849" fmla="*/ 902 w 10000"/>
                <a:gd name="connsiteY849" fmla="*/ 9628 h 10000"/>
                <a:gd name="connsiteX850" fmla="*/ 914 w 10000"/>
                <a:gd name="connsiteY850" fmla="*/ 9631 h 10000"/>
                <a:gd name="connsiteX851" fmla="*/ 932 w 10000"/>
                <a:gd name="connsiteY851" fmla="*/ 9638 h 10000"/>
                <a:gd name="connsiteX852" fmla="*/ 942 w 10000"/>
                <a:gd name="connsiteY852" fmla="*/ 9642 h 10000"/>
                <a:gd name="connsiteX853" fmla="*/ 967 w 10000"/>
                <a:gd name="connsiteY853" fmla="*/ 9652 h 10000"/>
                <a:gd name="connsiteX854" fmla="*/ 987 w 10000"/>
                <a:gd name="connsiteY854" fmla="*/ 9668 h 10000"/>
                <a:gd name="connsiteX855" fmla="*/ 1005 w 10000"/>
                <a:gd name="connsiteY855" fmla="*/ 9682 h 10000"/>
                <a:gd name="connsiteX856" fmla="*/ 1025 w 10000"/>
                <a:gd name="connsiteY856" fmla="*/ 9698 h 10000"/>
                <a:gd name="connsiteX857" fmla="*/ 1045 w 10000"/>
                <a:gd name="connsiteY857" fmla="*/ 9712 h 10000"/>
                <a:gd name="connsiteX858" fmla="*/ 1073 w 10000"/>
                <a:gd name="connsiteY858" fmla="*/ 9724 h 10000"/>
                <a:gd name="connsiteX859" fmla="*/ 1098 w 10000"/>
                <a:gd name="connsiteY859" fmla="*/ 9738 h 10000"/>
                <a:gd name="connsiteX860" fmla="*/ 1121 w 10000"/>
                <a:gd name="connsiteY860" fmla="*/ 9750 h 10000"/>
                <a:gd name="connsiteX861" fmla="*/ 1141 w 10000"/>
                <a:gd name="connsiteY861" fmla="*/ 9762 h 10000"/>
                <a:gd name="connsiteX862" fmla="*/ 1159 w 10000"/>
                <a:gd name="connsiteY862" fmla="*/ 9776 h 10000"/>
                <a:gd name="connsiteX863" fmla="*/ 1172 w 10000"/>
                <a:gd name="connsiteY863" fmla="*/ 9787 h 10000"/>
                <a:gd name="connsiteX864" fmla="*/ 1182 w 10000"/>
                <a:gd name="connsiteY864" fmla="*/ 9804 h 10000"/>
                <a:gd name="connsiteX865" fmla="*/ 1194 w 10000"/>
                <a:gd name="connsiteY865" fmla="*/ 9818 h 10000"/>
                <a:gd name="connsiteX866" fmla="*/ 1202 w 10000"/>
                <a:gd name="connsiteY866" fmla="*/ 9834 h 10000"/>
                <a:gd name="connsiteX867" fmla="*/ 1212 w 10000"/>
                <a:gd name="connsiteY867" fmla="*/ 9869 h 10000"/>
                <a:gd name="connsiteX868" fmla="*/ 1220 w 10000"/>
                <a:gd name="connsiteY868" fmla="*/ 9906 h 10000"/>
                <a:gd name="connsiteX869" fmla="*/ 1230 w 10000"/>
                <a:gd name="connsiteY869" fmla="*/ 9951 h 10000"/>
                <a:gd name="connsiteX870" fmla="*/ 1237 w 10000"/>
                <a:gd name="connsiteY870" fmla="*/ 10000 h 10000"/>
                <a:gd name="connsiteX871" fmla="*/ 1237 w 10000"/>
                <a:gd name="connsiteY87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57 w 10000"/>
                <a:gd name="connsiteY731" fmla="*/ 7445 h 10000"/>
                <a:gd name="connsiteX732" fmla="*/ 2687 w 10000"/>
                <a:gd name="connsiteY732" fmla="*/ 7525 h 10000"/>
                <a:gd name="connsiteX733" fmla="*/ 2692 w 10000"/>
                <a:gd name="connsiteY733" fmla="*/ 7588 h 10000"/>
                <a:gd name="connsiteX734" fmla="*/ 2167 w 10000"/>
                <a:gd name="connsiteY734" fmla="*/ 7742 h 10000"/>
                <a:gd name="connsiteX735" fmla="*/ 2159 w 10000"/>
                <a:gd name="connsiteY735" fmla="*/ 7833 h 10000"/>
                <a:gd name="connsiteX736" fmla="*/ 2157 w 10000"/>
                <a:gd name="connsiteY736" fmla="*/ 7882 h 10000"/>
                <a:gd name="connsiteX737" fmla="*/ 2157 w 10000"/>
                <a:gd name="connsiteY737" fmla="*/ 7938 h 10000"/>
                <a:gd name="connsiteX738" fmla="*/ 2159 w 10000"/>
                <a:gd name="connsiteY738" fmla="*/ 8006 h 10000"/>
                <a:gd name="connsiteX739" fmla="*/ 2162 w 10000"/>
                <a:gd name="connsiteY739" fmla="*/ 8079 h 10000"/>
                <a:gd name="connsiteX740" fmla="*/ 2159 w 10000"/>
                <a:gd name="connsiteY740" fmla="*/ 8156 h 10000"/>
                <a:gd name="connsiteX741" fmla="*/ 2157 w 10000"/>
                <a:gd name="connsiteY741" fmla="*/ 8193 h 10000"/>
                <a:gd name="connsiteX742" fmla="*/ 2154 w 10000"/>
                <a:gd name="connsiteY742" fmla="*/ 8228 h 10000"/>
                <a:gd name="connsiteX743" fmla="*/ 2146 w 10000"/>
                <a:gd name="connsiteY743" fmla="*/ 8261 h 10000"/>
                <a:gd name="connsiteX744" fmla="*/ 2136 w 10000"/>
                <a:gd name="connsiteY744" fmla="*/ 8291 h 10000"/>
                <a:gd name="connsiteX745" fmla="*/ 2124 w 10000"/>
                <a:gd name="connsiteY745" fmla="*/ 8319 h 10000"/>
                <a:gd name="connsiteX746" fmla="*/ 2109 w 10000"/>
                <a:gd name="connsiteY746" fmla="*/ 8345 h 10000"/>
                <a:gd name="connsiteX747" fmla="*/ 2098 w 10000"/>
                <a:gd name="connsiteY747" fmla="*/ 8354 h 10000"/>
                <a:gd name="connsiteX748" fmla="*/ 2088 w 10000"/>
                <a:gd name="connsiteY748" fmla="*/ 8364 h 10000"/>
                <a:gd name="connsiteX749" fmla="*/ 2078 w 10000"/>
                <a:gd name="connsiteY749" fmla="*/ 8373 h 10000"/>
                <a:gd name="connsiteX750" fmla="*/ 2063 w 10000"/>
                <a:gd name="connsiteY750" fmla="*/ 8380 h 10000"/>
                <a:gd name="connsiteX751" fmla="*/ 1990 w 10000"/>
                <a:gd name="connsiteY751" fmla="*/ 8422 h 10000"/>
                <a:gd name="connsiteX752" fmla="*/ 1904 w 10000"/>
                <a:gd name="connsiteY752" fmla="*/ 8481 h 10000"/>
                <a:gd name="connsiteX753" fmla="*/ 1856 w 10000"/>
                <a:gd name="connsiteY753" fmla="*/ 8506 h 10000"/>
                <a:gd name="connsiteX754" fmla="*/ 1816 w 10000"/>
                <a:gd name="connsiteY754" fmla="*/ 8527 h 10000"/>
                <a:gd name="connsiteX755" fmla="*/ 1793 w 10000"/>
                <a:gd name="connsiteY755" fmla="*/ 8539 h 10000"/>
                <a:gd name="connsiteX756" fmla="*/ 1775 w 10000"/>
                <a:gd name="connsiteY756" fmla="*/ 8546 h 10000"/>
                <a:gd name="connsiteX757" fmla="*/ 1758 w 10000"/>
                <a:gd name="connsiteY757" fmla="*/ 8548 h 10000"/>
                <a:gd name="connsiteX758" fmla="*/ 1742 w 10000"/>
                <a:gd name="connsiteY758" fmla="*/ 8551 h 10000"/>
                <a:gd name="connsiteX759" fmla="*/ 1727 w 10000"/>
                <a:gd name="connsiteY759" fmla="*/ 8537 h 10000"/>
                <a:gd name="connsiteX760" fmla="*/ 1717 w 10000"/>
                <a:gd name="connsiteY760" fmla="*/ 8518 h 10000"/>
                <a:gd name="connsiteX761" fmla="*/ 1684 w 10000"/>
                <a:gd name="connsiteY761" fmla="*/ 8429 h 10000"/>
                <a:gd name="connsiteX762" fmla="*/ 1525 w 10000"/>
                <a:gd name="connsiteY762" fmla="*/ 8186 h 10000"/>
                <a:gd name="connsiteX763" fmla="*/ 1500 w 10000"/>
                <a:gd name="connsiteY763" fmla="*/ 8191 h 10000"/>
                <a:gd name="connsiteX764" fmla="*/ 1472 w 10000"/>
                <a:gd name="connsiteY764" fmla="*/ 8198 h 10000"/>
                <a:gd name="connsiteX765" fmla="*/ 1434 w 10000"/>
                <a:gd name="connsiteY765" fmla="*/ 8223 h 10000"/>
                <a:gd name="connsiteX766" fmla="*/ 1149 w 10000"/>
                <a:gd name="connsiteY766" fmla="*/ 8256 h 10000"/>
                <a:gd name="connsiteX767" fmla="*/ 1139 w 10000"/>
                <a:gd name="connsiteY767" fmla="*/ 8249 h 10000"/>
                <a:gd name="connsiteX768" fmla="*/ 1126 w 10000"/>
                <a:gd name="connsiteY768" fmla="*/ 8240 h 10000"/>
                <a:gd name="connsiteX769" fmla="*/ 1114 w 10000"/>
                <a:gd name="connsiteY769" fmla="*/ 8240 h 10000"/>
                <a:gd name="connsiteX770" fmla="*/ 1091 w 10000"/>
                <a:gd name="connsiteY770" fmla="*/ 8242 h 10000"/>
                <a:gd name="connsiteX771" fmla="*/ 1071 w 10000"/>
                <a:gd name="connsiteY771" fmla="*/ 8252 h 10000"/>
                <a:gd name="connsiteX772" fmla="*/ 1048 w 10000"/>
                <a:gd name="connsiteY772" fmla="*/ 8261 h 10000"/>
                <a:gd name="connsiteX773" fmla="*/ 1030 w 10000"/>
                <a:gd name="connsiteY773" fmla="*/ 8273 h 10000"/>
                <a:gd name="connsiteX774" fmla="*/ 1010 w 10000"/>
                <a:gd name="connsiteY774" fmla="*/ 8287 h 10000"/>
                <a:gd name="connsiteX775" fmla="*/ 995 w 10000"/>
                <a:gd name="connsiteY775" fmla="*/ 8303 h 10000"/>
                <a:gd name="connsiteX776" fmla="*/ 975 w 10000"/>
                <a:gd name="connsiteY776" fmla="*/ 8322 h 10000"/>
                <a:gd name="connsiteX777" fmla="*/ 960 w 10000"/>
                <a:gd name="connsiteY777" fmla="*/ 8343 h 10000"/>
                <a:gd name="connsiteX778" fmla="*/ 927 w 10000"/>
                <a:gd name="connsiteY778" fmla="*/ 8380 h 10000"/>
                <a:gd name="connsiteX779" fmla="*/ 891 w 10000"/>
                <a:gd name="connsiteY779" fmla="*/ 8417 h 10000"/>
                <a:gd name="connsiteX780" fmla="*/ 874 w 10000"/>
                <a:gd name="connsiteY780" fmla="*/ 8436 h 10000"/>
                <a:gd name="connsiteX781" fmla="*/ 859 w 10000"/>
                <a:gd name="connsiteY781" fmla="*/ 8450 h 10000"/>
                <a:gd name="connsiteX782" fmla="*/ 838 w 10000"/>
                <a:gd name="connsiteY782" fmla="*/ 8462 h 10000"/>
                <a:gd name="connsiteX783" fmla="*/ 821 w 10000"/>
                <a:gd name="connsiteY783" fmla="*/ 8476 h 10000"/>
                <a:gd name="connsiteX784" fmla="*/ 742 w 10000"/>
                <a:gd name="connsiteY784" fmla="*/ 8562 h 10000"/>
                <a:gd name="connsiteX785" fmla="*/ 672 w 10000"/>
                <a:gd name="connsiteY785" fmla="*/ 8644 h 10000"/>
                <a:gd name="connsiteX786" fmla="*/ 639 w 10000"/>
                <a:gd name="connsiteY786" fmla="*/ 8684 h 10000"/>
                <a:gd name="connsiteX787" fmla="*/ 609 w 10000"/>
                <a:gd name="connsiteY787" fmla="*/ 8731 h 10000"/>
                <a:gd name="connsiteX788" fmla="*/ 583 w 10000"/>
                <a:gd name="connsiteY788" fmla="*/ 8777 h 10000"/>
                <a:gd name="connsiteX789" fmla="*/ 556 w 10000"/>
                <a:gd name="connsiteY789" fmla="*/ 8831 h 10000"/>
                <a:gd name="connsiteX790" fmla="*/ 545 w 10000"/>
                <a:gd name="connsiteY790" fmla="*/ 8852 h 10000"/>
                <a:gd name="connsiteX791" fmla="*/ 525 w 10000"/>
                <a:gd name="connsiteY791" fmla="*/ 8885 h 10000"/>
                <a:gd name="connsiteX792" fmla="*/ 503 w 10000"/>
                <a:gd name="connsiteY792" fmla="*/ 8925 h 10000"/>
                <a:gd name="connsiteX793" fmla="*/ 480 w 10000"/>
                <a:gd name="connsiteY793" fmla="*/ 8962 h 10000"/>
                <a:gd name="connsiteX794" fmla="*/ 465 w 10000"/>
                <a:gd name="connsiteY794" fmla="*/ 8981 h 10000"/>
                <a:gd name="connsiteX795" fmla="*/ 455 w 10000"/>
                <a:gd name="connsiteY795" fmla="*/ 8993 h 10000"/>
                <a:gd name="connsiteX796" fmla="*/ 444 w 10000"/>
                <a:gd name="connsiteY796" fmla="*/ 9000 h 10000"/>
                <a:gd name="connsiteX797" fmla="*/ 434 w 10000"/>
                <a:gd name="connsiteY797" fmla="*/ 9007 h 10000"/>
                <a:gd name="connsiteX798" fmla="*/ 432 w 10000"/>
                <a:gd name="connsiteY798" fmla="*/ 9007 h 10000"/>
                <a:gd name="connsiteX799" fmla="*/ 429 w 10000"/>
                <a:gd name="connsiteY799" fmla="*/ 9004 h 10000"/>
                <a:gd name="connsiteX800" fmla="*/ 427 w 10000"/>
                <a:gd name="connsiteY800" fmla="*/ 8997 h 10000"/>
                <a:gd name="connsiteX801" fmla="*/ 427 w 10000"/>
                <a:gd name="connsiteY801" fmla="*/ 8993 h 10000"/>
                <a:gd name="connsiteX802" fmla="*/ 424 w 10000"/>
                <a:gd name="connsiteY802" fmla="*/ 8976 h 10000"/>
                <a:gd name="connsiteX803" fmla="*/ 427 w 10000"/>
                <a:gd name="connsiteY803" fmla="*/ 8948 h 10000"/>
                <a:gd name="connsiteX804" fmla="*/ 437 w 10000"/>
                <a:gd name="connsiteY804" fmla="*/ 8913 h 10000"/>
                <a:gd name="connsiteX805" fmla="*/ 455 w 10000"/>
                <a:gd name="connsiteY805" fmla="*/ 8859 h 10000"/>
                <a:gd name="connsiteX806" fmla="*/ 462 w 10000"/>
                <a:gd name="connsiteY806" fmla="*/ 8834 h 10000"/>
                <a:gd name="connsiteX807" fmla="*/ 470 w 10000"/>
                <a:gd name="connsiteY807" fmla="*/ 8810 h 10000"/>
                <a:gd name="connsiteX808" fmla="*/ 472 w 10000"/>
                <a:gd name="connsiteY808" fmla="*/ 8794 h 10000"/>
                <a:gd name="connsiteX809" fmla="*/ 472 w 10000"/>
                <a:gd name="connsiteY809" fmla="*/ 8780 h 10000"/>
                <a:gd name="connsiteX810" fmla="*/ 462 w 10000"/>
                <a:gd name="connsiteY810" fmla="*/ 8784 h 10000"/>
                <a:gd name="connsiteX811" fmla="*/ 452 w 10000"/>
                <a:gd name="connsiteY811" fmla="*/ 8787 h 10000"/>
                <a:gd name="connsiteX812" fmla="*/ 437 w 10000"/>
                <a:gd name="connsiteY812" fmla="*/ 8794 h 10000"/>
                <a:gd name="connsiteX813" fmla="*/ 424 w 10000"/>
                <a:gd name="connsiteY813" fmla="*/ 8803 h 10000"/>
                <a:gd name="connsiteX814" fmla="*/ 394 w 10000"/>
                <a:gd name="connsiteY814" fmla="*/ 8829 h 10000"/>
                <a:gd name="connsiteX815" fmla="*/ 364 w 10000"/>
                <a:gd name="connsiteY815" fmla="*/ 8859 h 10000"/>
                <a:gd name="connsiteX816" fmla="*/ 311 w 10000"/>
                <a:gd name="connsiteY816" fmla="*/ 8922 h 10000"/>
                <a:gd name="connsiteX817" fmla="*/ 268 w 10000"/>
                <a:gd name="connsiteY817" fmla="*/ 8964 h 10000"/>
                <a:gd name="connsiteX818" fmla="*/ 205 w 10000"/>
                <a:gd name="connsiteY818" fmla="*/ 9016 h 10000"/>
                <a:gd name="connsiteX819" fmla="*/ 146 w 10000"/>
                <a:gd name="connsiteY819" fmla="*/ 9053 h 10000"/>
                <a:gd name="connsiteX820" fmla="*/ 139 w 10000"/>
                <a:gd name="connsiteY820" fmla="*/ 9063 h 10000"/>
                <a:gd name="connsiteX821" fmla="*/ 129 w 10000"/>
                <a:gd name="connsiteY821" fmla="*/ 9077 h 10000"/>
                <a:gd name="connsiteX822" fmla="*/ 126 w 10000"/>
                <a:gd name="connsiteY822" fmla="*/ 9086 h 10000"/>
                <a:gd name="connsiteX823" fmla="*/ 126 w 10000"/>
                <a:gd name="connsiteY823" fmla="*/ 9102 h 10000"/>
                <a:gd name="connsiteX824" fmla="*/ 129 w 10000"/>
                <a:gd name="connsiteY824" fmla="*/ 9116 h 10000"/>
                <a:gd name="connsiteX825" fmla="*/ 139 w 10000"/>
                <a:gd name="connsiteY825" fmla="*/ 9135 h 10000"/>
                <a:gd name="connsiteX826" fmla="*/ 149 w 10000"/>
                <a:gd name="connsiteY826" fmla="*/ 9151 h 10000"/>
                <a:gd name="connsiteX827" fmla="*/ 164 w 10000"/>
                <a:gd name="connsiteY827" fmla="*/ 9175 h 10000"/>
                <a:gd name="connsiteX828" fmla="*/ 184 w 10000"/>
                <a:gd name="connsiteY828" fmla="*/ 9196 h 10000"/>
                <a:gd name="connsiteX829" fmla="*/ 207 w 10000"/>
                <a:gd name="connsiteY829" fmla="*/ 9215 h 10000"/>
                <a:gd name="connsiteX830" fmla="*/ 227 w 10000"/>
                <a:gd name="connsiteY830" fmla="*/ 9233 h 10000"/>
                <a:gd name="connsiteX831" fmla="*/ 253 w 10000"/>
                <a:gd name="connsiteY831" fmla="*/ 9250 h 10000"/>
                <a:gd name="connsiteX832" fmla="*/ 303 w 10000"/>
                <a:gd name="connsiteY832" fmla="*/ 9282 h 10000"/>
                <a:gd name="connsiteX833" fmla="*/ 351 w 10000"/>
                <a:gd name="connsiteY833" fmla="*/ 9315 h 10000"/>
                <a:gd name="connsiteX834" fmla="*/ 414 w 10000"/>
                <a:gd name="connsiteY834" fmla="*/ 9364 h 10000"/>
                <a:gd name="connsiteX835" fmla="*/ 480 w 10000"/>
                <a:gd name="connsiteY835" fmla="*/ 9416 h 10000"/>
                <a:gd name="connsiteX836" fmla="*/ 513 w 10000"/>
                <a:gd name="connsiteY836" fmla="*/ 9437 h 10000"/>
                <a:gd name="connsiteX837" fmla="*/ 548 w 10000"/>
                <a:gd name="connsiteY837" fmla="*/ 9462 h 10000"/>
                <a:gd name="connsiteX838" fmla="*/ 581 w 10000"/>
                <a:gd name="connsiteY838" fmla="*/ 9483 h 10000"/>
                <a:gd name="connsiteX839" fmla="*/ 614 w 10000"/>
                <a:gd name="connsiteY839" fmla="*/ 9502 h 10000"/>
                <a:gd name="connsiteX840" fmla="*/ 641 w 10000"/>
                <a:gd name="connsiteY840" fmla="*/ 9525 h 10000"/>
                <a:gd name="connsiteX841" fmla="*/ 672 w 10000"/>
                <a:gd name="connsiteY841" fmla="*/ 9549 h 10000"/>
                <a:gd name="connsiteX842" fmla="*/ 702 w 10000"/>
                <a:gd name="connsiteY842" fmla="*/ 9568 h 10000"/>
                <a:gd name="connsiteX843" fmla="*/ 737 w 10000"/>
                <a:gd name="connsiteY843" fmla="*/ 9589 h 10000"/>
                <a:gd name="connsiteX844" fmla="*/ 770 w 10000"/>
                <a:gd name="connsiteY844" fmla="*/ 9605 h 10000"/>
                <a:gd name="connsiteX845" fmla="*/ 808 w 10000"/>
                <a:gd name="connsiteY845" fmla="*/ 9617 h 10000"/>
                <a:gd name="connsiteX846" fmla="*/ 843 w 10000"/>
                <a:gd name="connsiteY846" fmla="*/ 9624 h 10000"/>
                <a:gd name="connsiteX847" fmla="*/ 884 w 10000"/>
                <a:gd name="connsiteY847" fmla="*/ 9628 h 10000"/>
                <a:gd name="connsiteX848" fmla="*/ 902 w 10000"/>
                <a:gd name="connsiteY848" fmla="*/ 9628 h 10000"/>
                <a:gd name="connsiteX849" fmla="*/ 914 w 10000"/>
                <a:gd name="connsiteY849" fmla="*/ 9631 h 10000"/>
                <a:gd name="connsiteX850" fmla="*/ 932 w 10000"/>
                <a:gd name="connsiteY850" fmla="*/ 9638 h 10000"/>
                <a:gd name="connsiteX851" fmla="*/ 942 w 10000"/>
                <a:gd name="connsiteY851" fmla="*/ 9642 h 10000"/>
                <a:gd name="connsiteX852" fmla="*/ 967 w 10000"/>
                <a:gd name="connsiteY852" fmla="*/ 9652 h 10000"/>
                <a:gd name="connsiteX853" fmla="*/ 987 w 10000"/>
                <a:gd name="connsiteY853" fmla="*/ 9668 h 10000"/>
                <a:gd name="connsiteX854" fmla="*/ 1005 w 10000"/>
                <a:gd name="connsiteY854" fmla="*/ 9682 h 10000"/>
                <a:gd name="connsiteX855" fmla="*/ 1025 w 10000"/>
                <a:gd name="connsiteY855" fmla="*/ 9698 h 10000"/>
                <a:gd name="connsiteX856" fmla="*/ 1045 w 10000"/>
                <a:gd name="connsiteY856" fmla="*/ 9712 h 10000"/>
                <a:gd name="connsiteX857" fmla="*/ 1073 w 10000"/>
                <a:gd name="connsiteY857" fmla="*/ 9724 h 10000"/>
                <a:gd name="connsiteX858" fmla="*/ 1098 w 10000"/>
                <a:gd name="connsiteY858" fmla="*/ 9738 h 10000"/>
                <a:gd name="connsiteX859" fmla="*/ 1121 w 10000"/>
                <a:gd name="connsiteY859" fmla="*/ 9750 h 10000"/>
                <a:gd name="connsiteX860" fmla="*/ 1141 w 10000"/>
                <a:gd name="connsiteY860" fmla="*/ 9762 h 10000"/>
                <a:gd name="connsiteX861" fmla="*/ 1159 w 10000"/>
                <a:gd name="connsiteY861" fmla="*/ 9776 h 10000"/>
                <a:gd name="connsiteX862" fmla="*/ 1172 w 10000"/>
                <a:gd name="connsiteY862" fmla="*/ 9787 h 10000"/>
                <a:gd name="connsiteX863" fmla="*/ 1182 w 10000"/>
                <a:gd name="connsiteY863" fmla="*/ 9804 h 10000"/>
                <a:gd name="connsiteX864" fmla="*/ 1194 w 10000"/>
                <a:gd name="connsiteY864" fmla="*/ 9818 h 10000"/>
                <a:gd name="connsiteX865" fmla="*/ 1202 w 10000"/>
                <a:gd name="connsiteY865" fmla="*/ 9834 h 10000"/>
                <a:gd name="connsiteX866" fmla="*/ 1212 w 10000"/>
                <a:gd name="connsiteY866" fmla="*/ 9869 h 10000"/>
                <a:gd name="connsiteX867" fmla="*/ 1220 w 10000"/>
                <a:gd name="connsiteY867" fmla="*/ 9906 h 10000"/>
                <a:gd name="connsiteX868" fmla="*/ 1230 w 10000"/>
                <a:gd name="connsiteY868" fmla="*/ 9951 h 10000"/>
                <a:gd name="connsiteX869" fmla="*/ 1237 w 10000"/>
                <a:gd name="connsiteY869" fmla="*/ 10000 h 10000"/>
                <a:gd name="connsiteX870" fmla="*/ 1237 w 10000"/>
                <a:gd name="connsiteY87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44 w 10000"/>
                <a:gd name="connsiteY730" fmla="*/ 7431 h 10000"/>
                <a:gd name="connsiteX731" fmla="*/ 2687 w 10000"/>
                <a:gd name="connsiteY731" fmla="*/ 7525 h 10000"/>
                <a:gd name="connsiteX732" fmla="*/ 2692 w 10000"/>
                <a:gd name="connsiteY732" fmla="*/ 7588 h 10000"/>
                <a:gd name="connsiteX733" fmla="*/ 2167 w 10000"/>
                <a:gd name="connsiteY733" fmla="*/ 7742 h 10000"/>
                <a:gd name="connsiteX734" fmla="*/ 2159 w 10000"/>
                <a:gd name="connsiteY734" fmla="*/ 7833 h 10000"/>
                <a:gd name="connsiteX735" fmla="*/ 2157 w 10000"/>
                <a:gd name="connsiteY735" fmla="*/ 7882 h 10000"/>
                <a:gd name="connsiteX736" fmla="*/ 2157 w 10000"/>
                <a:gd name="connsiteY736" fmla="*/ 7938 h 10000"/>
                <a:gd name="connsiteX737" fmla="*/ 2159 w 10000"/>
                <a:gd name="connsiteY737" fmla="*/ 8006 h 10000"/>
                <a:gd name="connsiteX738" fmla="*/ 2162 w 10000"/>
                <a:gd name="connsiteY738" fmla="*/ 8079 h 10000"/>
                <a:gd name="connsiteX739" fmla="*/ 2159 w 10000"/>
                <a:gd name="connsiteY739" fmla="*/ 8156 h 10000"/>
                <a:gd name="connsiteX740" fmla="*/ 2157 w 10000"/>
                <a:gd name="connsiteY740" fmla="*/ 8193 h 10000"/>
                <a:gd name="connsiteX741" fmla="*/ 2154 w 10000"/>
                <a:gd name="connsiteY741" fmla="*/ 8228 h 10000"/>
                <a:gd name="connsiteX742" fmla="*/ 2146 w 10000"/>
                <a:gd name="connsiteY742" fmla="*/ 8261 h 10000"/>
                <a:gd name="connsiteX743" fmla="*/ 2136 w 10000"/>
                <a:gd name="connsiteY743" fmla="*/ 8291 h 10000"/>
                <a:gd name="connsiteX744" fmla="*/ 2124 w 10000"/>
                <a:gd name="connsiteY744" fmla="*/ 8319 h 10000"/>
                <a:gd name="connsiteX745" fmla="*/ 2109 w 10000"/>
                <a:gd name="connsiteY745" fmla="*/ 8345 h 10000"/>
                <a:gd name="connsiteX746" fmla="*/ 2098 w 10000"/>
                <a:gd name="connsiteY746" fmla="*/ 8354 h 10000"/>
                <a:gd name="connsiteX747" fmla="*/ 2088 w 10000"/>
                <a:gd name="connsiteY747" fmla="*/ 8364 h 10000"/>
                <a:gd name="connsiteX748" fmla="*/ 2078 w 10000"/>
                <a:gd name="connsiteY748" fmla="*/ 8373 h 10000"/>
                <a:gd name="connsiteX749" fmla="*/ 2063 w 10000"/>
                <a:gd name="connsiteY749" fmla="*/ 8380 h 10000"/>
                <a:gd name="connsiteX750" fmla="*/ 1990 w 10000"/>
                <a:gd name="connsiteY750" fmla="*/ 8422 h 10000"/>
                <a:gd name="connsiteX751" fmla="*/ 1904 w 10000"/>
                <a:gd name="connsiteY751" fmla="*/ 8481 h 10000"/>
                <a:gd name="connsiteX752" fmla="*/ 1856 w 10000"/>
                <a:gd name="connsiteY752" fmla="*/ 8506 h 10000"/>
                <a:gd name="connsiteX753" fmla="*/ 1816 w 10000"/>
                <a:gd name="connsiteY753" fmla="*/ 8527 h 10000"/>
                <a:gd name="connsiteX754" fmla="*/ 1793 w 10000"/>
                <a:gd name="connsiteY754" fmla="*/ 8539 h 10000"/>
                <a:gd name="connsiteX755" fmla="*/ 1775 w 10000"/>
                <a:gd name="connsiteY755" fmla="*/ 8546 h 10000"/>
                <a:gd name="connsiteX756" fmla="*/ 1758 w 10000"/>
                <a:gd name="connsiteY756" fmla="*/ 8548 h 10000"/>
                <a:gd name="connsiteX757" fmla="*/ 1742 w 10000"/>
                <a:gd name="connsiteY757" fmla="*/ 8551 h 10000"/>
                <a:gd name="connsiteX758" fmla="*/ 1727 w 10000"/>
                <a:gd name="connsiteY758" fmla="*/ 8537 h 10000"/>
                <a:gd name="connsiteX759" fmla="*/ 1717 w 10000"/>
                <a:gd name="connsiteY759" fmla="*/ 8518 h 10000"/>
                <a:gd name="connsiteX760" fmla="*/ 1684 w 10000"/>
                <a:gd name="connsiteY760" fmla="*/ 8429 h 10000"/>
                <a:gd name="connsiteX761" fmla="*/ 1525 w 10000"/>
                <a:gd name="connsiteY761" fmla="*/ 8186 h 10000"/>
                <a:gd name="connsiteX762" fmla="*/ 1500 w 10000"/>
                <a:gd name="connsiteY762" fmla="*/ 8191 h 10000"/>
                <a:gd name="connsiteX763" fmla="*/ 1472 w 10000"/>
                <a:gd name="connsiteY763" fmla="*/ 8198 h 10000"/>
                <a:gd name="connsiteX764" fmla="*/ 1434 w 10000"/>
                <a:gd name="connsiteY764" fmla="*/ 8223 h 10000"/>
                <a:gd name="connsiteX765" fmla="*/ 1149 w 10000"/>
                <a:gd name="connsiteY765" fmla="*/ 8256 h 10000"/>
                <a:gd name="connsiteX766" fmla="*/ 1139 w 10000"/>
                <a:gd name="connsiteY766" fmla="*/ 8249 h 10000"/>
                <a:gd name="connsiteX767" fmla="*/ 1126 w 10000"/>
                <a:gd name="connsiteY767" fmla="*/ 8240 h 10000"/>
                <a:gd name="connsiteX768" fmla="*/ 1114 w 10000"/>
                <a:gd name="connsiteY768" fmla="*/ 8240 h 10000"/>
                <a:gd name="connsiteX769" fmla="*/ 1091 w 10000"/>
                <a:gd name="connsiteY769" fmla="*/ 8242 h 10000"/>
                <a:gd name="connsiteX770" fmla="*/ 1071 w 10000"/>
                <a:gd name="connsiteY770" fmla="*/ 8252 h 10000"/>
                <a:gd name="connsiteX771" fmla="*/ 1048 w 10000"/>
                <a:gd name="connsiteY771" fmla="*/ 8261 h 10000"/>
                <a:gd name="connsiteX772" fmla="*/ 1030 w 10000"/>
                <a:gd name="connsiteY772" fmla="*/ 8273 h 10000"/>
                <a:gd name="connsiteX773" fmla="*/ 1010 w 10000"/>
                <a:gd name="connsiteY773" fmla="*/ 8287 h 10000"/>
                <a:gd name="connsiteX774" fmla="*/ 995 w 10000"/>
                <a:gd name="connsiteY774" fmla="*/ 8303 h 10000"/>
                <a:gd name="connsiteX775" fmla="*/ 975 w 10000"/>
                <a:gd name="connsiteY775" fmla="*/ 8322 h 10000"/>
                <a:gd name="connsiteX776" fmla="*/ 960 w 10000"/>
                <a:gd name="connsiteY776" fmla="*/ 8343 h 10000"/>
                <a:gd name="connsiteX777" fmla="*/ 927 w 10000"/>
                <a:gd name="connsiteY777" fmla="*/ 8380 h 10000"/>
                <a:gd name="connsiteX778" fmla="*/ 891 w 10000"/>
                <a:gd name="connsiteY778" fmla="*/ 8417 h 10000"/>
                <a:gd name="connsiteX779" fmla="*/ 874 w 10000"/>
                <a:gd name="connsiteY779" fmla="*/ 8436 h 10000"/>
                <a:gd name="connsiteX780" fmla="*/ 859 w 10000"/>
                <a:gd name="connsiteY780" fmla="*/ 8450 h 10000"/>
                <a:gd name="connsiteX781" fmla="*/ 838 w 10000"/>
                <a:gd name="connsiteY781" fmla="*/ 8462 h 10000"/>
                <a:gd name="connsiteX782" fmla="*/ 821 w 10000"/>
                <a:gd name="connsiteY782" fmla="*/ 8476 h 10000"/>
                <a:gd name="connsiteX783" fmla="*/ 742 w 10000"/>
                <a:gd name="connsiteY783" fmla="*/ 8562 h 10000"/>
                <a:gd name="connsiteX784" fmla="*/ 672 w 10000"/>
                <a:gd name="connsiteY784" fmla="*/ 8644 h 10000"/>
                <a:gd name="connsiteX785" fmla="*/ 639 w 10000"/>
                <a:gd name="connsiteY785" fmla="*/ 8684 h 10000"/>
                <a:gd name="connsiteX786" fmla="*/ 609 w 10000"/>
                <a:gd name="connsiteY786" fmla="*/ 8731 h 10000"/>
                <a:gd name="connsiteX787" fmla="*/ 583 w 10000"/>
                <a:gd name="connsiteY787" fmla="*/ 8777 h 10000"/>
                <a:gd name="connsiteX788" fmla="*/ 556 w 10000"/>
                <a:gd name="connsiteY788" fmla="*/ 8831 h 10000"/>
                <a:gd name="connsiteX789" fmla="*/ 545 w 10000"/>
                <a:gd name="connsiteY789" fmla="*/ 8852 h 10000"/>
                <a:gd name="connsiteX790" fmla="*/ 525 w 10000"/>
                <a:gd name="connsiteY790" fmla="*/ 8885 h 10000"/>
                <a:gd name="connsiteX791" fmla="*/ 503 w 10000"/>
                <a:gd name="connsiteY791" fmla="*/ 8925 h 10000"/>
                <a:gd name="connsiteX792" fmla="*/ 480 w 10000"/>
                <a:gd name="connsiteY792" fmla="*/ 8962 h 10000"/>
                <a:gd name="connsiteX793" fmla="*/ 465 w 10000"/>
                <a:gd name="connsiteY793" fmla="*/ 8981 h 10000"/>
                <a:gd name="connsiteX794" fmla="*/ 455 w 10000"/>
                <a:gd name="connsiteY794" fmla="*/ 8993 h 10000"/>
                <a:gd name="connsiteX795" fmla="*/ 444 w 10000"/>
                <a:gd name="connsiteY795" fmla="*/ 9000 h 10000"/>
                <a:gd name="connsiteX796" fmla="*/ 434 w 10000"/>
                <a:gd name="connsiteY796" fmla="*/ 9007 h 10000"/>
                <a:gd name="connsiteX797" fmla="*/ 432 w 10000"/>
                <a:gd name="connsiteY797" fmla="*/ 9007 h 10000"/>
                <a:gd name="connsiteX798" fmla="*/ 429 w 10000"/>
                <a:gd name="connsiteY798" fmla="*/ 9004 h 10000"/>
                <a:gd name="connsiteX799" fmla="*/ 427 w 10000"/>
                <a:gd name="connsiteY799" fmla="*/ 8997 h 10000"/>
                <a:gd name="connsiteX800" fmla="*/ 427 w 10000"/>
                <a:gd name="connsiteY800" fmla="*/ 8993 h 10000"/>
                <a:gd name="connsiteX801" fmla="*/ 424 w 10000"/>
                <a:gd name="connsiteY801" fmla="*/ 8976 h 10000"/>
                <a:gd name="connsiteX802" fmla="*/ 427 w 10000"/>
                <a:gd name="connsiteY802" fmla="*/ 8948 h 10000"/>
                <a:gd name="connsiteX803" fmla="*/ 437 w 10000"/>
                <a:gd name="connsiteY803" fmla="*/ 8913 h 10000"/>
                <a:gd name="connsiteX804" fmla="*/ 455 w 10000"/>
                <a:gd name="connsiteY804" fmla="*/ 8859 h 10000"/>
                <a:gd name="connsiteX805" fmla="*/ 462 w 10000"/>
                <a:gd name="connsiteY805" fmla="*/ 8834 h 10000"/>
                <a:gd name="connsiteX806" fmla="*/ 470 w 10000"/>
                <a:gd name="connsiteY806" fmla="*/ 8810 h 10000"/>
                <a:gd name="connsiteX807" fmla="*/ 472 w 10000"/>
                <a:gd name="connsiteY807" fmla="*/ 8794 h 10000"/>
                <a:gd name="connsiteX808" fmla="*/ 472 w 10000"/>
                <a:gd name="connsiteY808" fmla="*/ 8780 h 10000"/>
                <a:gd name="connsiteX809" fmla="*/ 462 w 10000"/>
                <a:gd name="connsiteY809" fmla="*/ 8784 h 10000"/>
                <a:gd name="connsiteX810" fmla="*/ 452 w 10000"/>
                <a:gd name="connsiteY810" fmla="*/ 8787 h 10000"/>
                <a:gd name="connsiteX811" fmla="*/ 437 w 10000"/>
                <a:gd name="connsiteY811" fmla="*/ 8794 h 10000"/>
                <a:gd name="connsiteX812" fmla="*/ 424 w 10000"/>
                <a:gd name="connsiteY812" fmla="*/ 8803 h 10000"/>
                <a:gd name="connsiteX813" fmla="*/ 394 w 10000"/>
                <a:gd name="connsiteY813" fmla="*/ 8829 h 10000"/>
                <a:gd name="connsiteX814" fmla="*/ 364 w 10000"/>
                <a:gd name="connsiteY814" fmla="*/ 8859 h 10000"/>
                <a:gd name="connsiteX815" fmla="*/ 311 w 10000"/>
                <a:gd name="connsiteY815" fmla="*/ 8922 h 10000"/>
                <a:gd name="connsiteX816" fmla="*/ 268 w 10000"/>
                <a:gd name="connsiteY816" fmla="*/ 8964 h 10000"/>
                <a:gd name="connsiteX817" fmla="*/ 205 w 10000"/>
                <a:gd name="connsiteY817" fmla="*/ 9016 h 10000"/>
                <a:gd name="connsiteX818" fmla="*/ 146 w 10000"/>
                <a:gd name="connsiteY818" fmla="*/ 9053 h 10000"/>
                <a:gd name="connsiteX819" fmla="*/ 139 w 10000"/>
                <a:gd name="connsiteY819" fmla="*/ 9063 h 10000"/>
                <a:gd name="connsiteX820" fmla="*/ 129 w 10000"/>
                <a:gd name="connsiteY820" fmla="*/ 9077 h 10000"/>
                <a:gd name="connsiteX821" fmla="*/ 126 w 10000"/>
                <a:gd name="connsiteY821" fmla="*/ 9086 h 10000"/>
                <a:gd name="connsiteX822" fmla="*/ 126 w 10000"/>
                <a:gd name="connsiteY822" fmla="*/ 9102 h 10000"/>
                <a:gd name="connsiteX823" fmla="*/ 129 w 10000"/>
                <a:gd name="connsiteY823" fmla="*/ 9116 h 10000"/>
                <a:gd name="connsiteX824" fmla="*/ 139 w 10000"/>
                <a:gd name="connsiteY824" fmla="*/ 9135 h 10000"/>
                <a:gd name="connsiteX825" fmla="*/ 149 w 10000"/>
                <a:gd name="connsiteY825" fmla="*/ 9151 h 10000"/>
                <a:gd name="connsiteX826" fmla="*/ 164 w 10000"/>
                <a:gd name="connsiteY826" fmla="*/ 9175 h 10000"/>
                <a:gd name="connsiteX827" fmla="*/ 184 w 10000"/>
                <a:gd name="connsiteY827" fmla="*/ 9196 h 10000"/>
                <a:gd name="connsiteX828" fmla="*/ 207 w 10000"/>
                <a:gd name="connsiteY828" fmla="*/ 9215 h 10000"/>
                <a:gd name="connsiteX829" fmla="*/ 227 w 10000"/>
                <a:gd name="connsiteY829" fmla="*/ 9233 h 10000"/>
                <a:gd name="connsiteX830" fmla="*/ 253 w 10000"/>
                <a:gd name="connsiteY830" fmla="*/ 9250 h 10000"/>
                <a:gd name="connsiteX831" fmla="*/ 303 w 10000"/>
                <a:gd name="connsiteY831" fmla="*/ 9282 h 10000"/>
                <a:gd name="connsiteX832" fmla="*/ 351 w 10000"/>
                <a:gd name="connsiteY832" fmla="*/ 9315 h 10000"/>
                <a:gd name="connsiteX833" fmla="*/ 414 w 10000"/>
                <a:gd name="connsiteY833" fmla="*/ 9364 h 10000"/>
                <a:gd name="connsiteX834" fmla="*/ 480 w 10000"/>
                <a:gd name="connsiteY834" fmla="*/ 9416 h 10000"/>
                <a:gd name="connsiteX835" fmla="*/ 513 w 10000"/>
                <a:gd name="connsiteY835" fmla="*/ 9437 h 10000"/>
                <a:gd name="connsiteX836" fmla="*/ 548 w 10000"/>
                <a:gd name="connsiteY836" fmla="*/ 9462 h 10000"/>
                <a:gd name="connsiteX837" fmla="*/ 581 w 10000"/>
                <a:gd name="connsiteY837" fmla="*/ 9483 h 10000"/>
                <a:gd name="connsiteX838" fmla="*/ 614 w 10000"/>
                <a:gd name="connsiteY838" fmla="*/ 9502 h 10000"/>
                <a:gd name="connsiteX839" fmla="*/ 641 w 10000"/>
                <a:gd name="connsiteY839" fmla="*/ 9525 h 10000"/>
                <a:gd name="connsiteX840" fmla="*/ 672 w 10000"/>
                <a:gd name="connsiteY840" fmla="*/ 9549 h 10000"/>
                <a:gd name="connsiteX841" fmla="*/ 702 w 10000"/>
                <a:gd name="connsiteY841" fmla="*/ 9568 h 10000"/>
                <a:gd name="connsiteX842" fmla="*/ 737 w 10000"/>
                <a:gd name="connsiteY842" fmla="*/ 9589 h 10000"/>
                <a:gd name="connsiteX843" fmla="*/ 770 w 10000"/>
                <a:gd name="connsiteY843" fmla="*/ 9605 h 10000"/>
                <a:gd name="connsiteX844" fmla="*/ 808 w 10000"/>
                <a:gd name="connsiteY844" fmla="*/ 9617 h 10000"/>
                <a:gd name="connsiteX845" fmla="*/ 843 w 10000"/>
                <a:gd name="connsiteY845" fmla="*/ 9624 h 10000"/>
                <a:gd name="connsiteX846" fmla="*/ 884 w 10000"/>
                <a:gd name="connsiteY846" fmla="*/ 9628 h 10000"/>
                <a:gd name="connsiteX847" fmla="*/ 902 w 10000"/>
                <a:gd name="connsiteY847" fmla="*/ 9628 h 10000"/>
                <a:gd name="connsiteX848" fmla="*/ 914 w 10000"/>
                <a:gd name="connsiteY848" fmla="*/ 9631 h 10000"/>
                <a:gd name="connsiteX849" fmla="*/ 932 w 10000"/>
                <a:gd name="connsiteY849" fmla="*/ 9638 h 10000"/>
                <a:gd name="connsiteX850" fmla="*/ 942 w 10000"/>
                <a:gd name="connsiteY850" fmla="*/ 9642 h 10000"/>
                <a:gd name="connsiteX851" fmla="*/ 967 w 10000"/>
                <a:gd name="connsiteY851" fmla="*/ 9652 h 10000"/>
                <a:gd name="connsiteX852" fmla="*/ 987 w 10000"/>
                <a:gd name="connsiteY852" fmla="*/ 9668 h 10000"/>
                <a:gd name="connsiteX853" fmla="*/ 1005 w 10000"/>
                <a:gd name="connsiteY853" fmla="*/ 9682 h 10000"/>
                <a:gd name="connsiteX854" fmla="*/ 1025 w 10000"/>
                <a:gd name="connsiteY854" fmla="*/ 9698 h 10000"/>
                <a:gd name="connsiteX855" fmla="*/ 1045 w 10000"/>
                <a:gd name="connsiteY855" fmla="*/ 9712 h 10000"/>
                <a:gd name="connsiteX856" fmla="*/ 1073 w 10000"/>
                <a:gd name="connsiteY856" fmla="*/ 9724 h 10000"/>
                <a:gd name="connsiteX857" fmla="*/ 1098 w 10000"/>
                <a:gd name="connsiteY857" fmla="*/ 9738 h 10000"/>
                <a:gd name="connsiteX858" fmla="*/ 1121 w 10000"/>
                <a:gd name="connsiteY858" fmla="*/ 9750 h 10000"/>
                <a:gd name="connsiteX859" fmla="*/ 1141 w 10000"/>
                <a:gd name="connsiteY859" fmla="*/ 9762 h 10000"/>
                <a:gd name="connsiteX860" fmla="*/ 1159 w 10000"/>
                <a:gd name="connsiteY860" fmla="*/ 9776 h 10000"/>
                <a:gd name="connsiteX861" fmla="*/ 1172 w 10000"/>
                <a:gd name="connsiteY861" fmla="*/ 9787 h 10000"/>
                <a:gd name="connsiteX862" fmla="*/ 1182 w 10000"/>
                <a:gd name="connsiteY862" fmla="*/ 9804 h 10000"/>
                <a:gd name="connsiteX863" fmla="*/ 1194 w 10000"/>
                <a:gd name="connsiteY863" fmla="*/ 9818 h 10000"/>
                <a:gd name="connsiteX864" fmla="*/ 1202 w 10000"/>
                <a:gd name="connsiteY864" fmla="*/ 9834 h 10000"/>
                <a:gd name="connsiteX865" fmla="*/ 1212 w 10000"/>
                <a:gd name="connsiteY865" fmla="*/ 9869 h 10000"/>
                <a:gd name="connsiteX866" fmla="*/ 1220 w 10000"/>
                <a:gd name="connsiteY866" fmla="*/ 9906 h 10000"/>
                <a:gd name="connsiteX867" fmla="*/ 1230 w 10000"/>
                <a:gd name="connsiteY867" fmla="*/ 9951 h 10000"/>
                <a:gd name="connsiteX868" fmla="*/ 1237 w 10000"/>
                <a:gd name="connsiteY868" fmla="*/ 10000 h 10000"/>
                <a:gd name="connsiteX869" fmla="*/ 1237 w 10000"/>
                <a:gd name="connsiteY86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87 w 10000"/>
                <a:gd name="connsiteY730" fmla="*/ 7525 h 10000"/>
                <a:gd name="connsiteX731" fmla="*/ 2692 w 10000"/>
                <a:gd name="connsiteY731" fmla="*/ 7588 h 10000"/>
                <a:gd name="connsiteX732" fmla="*/ 2167 w 10000"/>
                <a:gd name="connsiteY732" fmla="*/ 7742 h 10000"/>
                <a:gd name="connsiteX733" fmla="*/ 2159 w 10000"/>
                <a:gd name="connsiteY733" fmla="*/ 7833 h 10000"/>
                <a:gd name="connsiteX734" fmla="*/ 2157 w 10000"/>
                <a:gd name="connsiteY734" fmla="*/ 7882 h 10000"/>
                <a:gd name="connsiteX735" fmla="*/ 2157 w 10000"/>
                <a:gd name="connsiteY735" fmla="*/ 7938 h 10000"/>
                <a:gd name="connsiteX736" fmla="*/ 2159 w 10000"/>
                <a:gd name="connsiteY736" fmla="*/ 8006 h 10000"/>
                <a:gd name="connsiteX737" fmla="*/ 2162 w 10000"/>
                <a:gd name="connsiteY737" fmla="*/ 8079 h 10000"/>
                <a:gd name="connsiteX738" fmla="*/ 2159 w 10000"/>
                <a:gd name="connsiteY738" fmla="*/ 8156 h 10000"/>
                <a:gd name="connsiteX739" fmla="*/ 2157 w 10000"/>
                <a:gd name="connsiteY739" fmla="*/ 8193 h 10000"/>
                <a:gd name="connsiteX740" fmla="*/ 2154 w 10000"/>
                <a:gd name="connsiteY740" fmla="*/ 8228 h 10000"/>
                <a:gd name="connsiteX741" fmla="*/ 2146 w 10000"/>
                <a:gd name="connsiteY741" fmla="*/ 8261 h 10000"/>
                <a:gd name="connsiteX742" fmla="*/ 2136 w 10000"/>
                <a:gd name="connsiteY742" fmla="*/ 8291 h 10000"/>
                <a:gd name="connsiteX743" fmla="*/ 2124 w 10000"/>
                <a:gd name="connsiteY743" fmla="*/ 8319 h 10000"/>
                <a:gd name="connsiteX744" fmla="*/ 2109 w 10000"/>
                <a:gd name="connsiteY744" fmla="*/ 8345 h 10000"/>
                <a:gd name="connsiteX745" fmla="*/ 2098 w 10000"/>
                <a:gd name="connsiteY745" fmla="*/ 8354 h 10000"/>
                <a:gd name="connsiteX746" fmla="*/ 2088 w 10000"/>
                <a:gd name="connsiteY746" fmla="*/ 8364 h 10000"/>
                <a:gd name="connsiteX747" fmla="*/ 2078 w 10000"/>
                <a:gd name="connsiteY747" fmla="*/ 8373 h 10000"/>
                <a:gd name="connsiteX748" fmla="*/ 2063 w 10000"/>
                <a:gd name="connsiteY748" fmla="*/ 8380 h 10000"/>
                <a:gd name="connsiteX749" fmla="*/ 1990 w 10000"/>
                <a:gd name="connsiteY749" fmla="*/ 8422 h 10000"/>
                <a:gd name="connsiteX750" fmla="*/ 1904 w 10000"/>
                <a:gd name="connsiteY750" fmla="*/ 8481 h 10000"/>
                <a:gd name="connsiteX751" fmla="*/ 1856 w 10000"/>
                <a:gd name="connsiteY751" fmla="*/ 8506 h 10000"/>
                <a:gd name="connsiteX752" fmla="*/ 1816 w 10000"/>
                <a:gd name="connsiteY752" fmla="*/ 8527 h 10000"/>
                <a:gd name="connsiteX753" fmla="*/ 1793 w 10000"/>
                <a:gd name="connsiteY753" fmla="*/ 8539 h 10000"/>
                <a:gd name="connsiteX754" fmla="*/ 1775 w 10000"/>
                <a:gd name="connsiteY754" fmla="*/ 8546 h 10000"/>
                <a:gd name="connsiteX755" fmla="*/ 1758 w 10000"/>
                <a:gd name="connsiteY755" fmla="*/ 8548 h 10000"/>
                <a:gd name="connsiteX756" fmla="*/ 1742 w 10000"/>
                <a:gd name="connsiteY756" fmla="*/ 8551 h 10000"/>
                <a:gd name="connsiteX757" fmla="*/ 1727 w 10000"/>
                <a:gd name="connsiteY757" fmla="*/ 8537 h 10000"/>
                <a:gd name="connsiteX758" fmla="*/ 1717 w 10000"/>
                <a:gd name="connsiteY758" fmla="*/ 8518 h 10000"/>
                <a:gd name="connsiteX759" fmla="*/ 1684 w 10000"/>
                <a:gd name="connsiteY759" fmla="*/ 8429 h 10000"/>
                <a:gd name="connsiteX760" fmla="*/ 1525 w 10000"/>
                <a:gd name="connsiteY760" fmla="*/ 8186 h 10000"/>
                <a:gd name="connsiteX761" fmla="*/ 1500 w 10000"/>
                <a:gd name="connsiteY761" fmla="*/ 8191 h 10000"/>
                <a:gd name="connsiteX762" fmla="*/ 1472 w 10000"/>
                <a:gd name="connsiteY762" fmla="*/ 8198 h 10000"/>
                <a:gd name="connsiteX763" fmla="*/ 1434 w 10000"/>
                <a:gd name="connsiteY763" fmla="*/ 8223 h 10000"/>
                <a:gd name="connsiteX764" fmla="*/ 1149 w 10000"/>
                <a:gd name="connsiteY764" fmla="*/ 8256 h 10000"/>
                <a:gd name="connsiteX765" fmla="*/ 1139 w 10000"/>
                <a:gd name="connsiteY765" fmla="*/ 8249 h 10000"/>
                <a:gd name="connsiteX766" fmla="*/ 1126 w 10000"/>
                <a:gd name="connsiteY766" fmla="*/ 8240 h 10000"/>
                <a:gd name="connsiteX767" fmla="*/ 1114 w 10000"/>
                <a:gd name="connsiteY767" fmla="*/ 8240 h 10000"/>
                <a:gd name="connsiteX768" fmla="*/ 1091 w 10000"/>
                <a:gd name="connsiteY768" fmla="*/ 8242 h 10000"/>
                <a:gd name="connsiteX769" fmla="*/ 1071 w 10000"/>
                <a:gd name="connsiteY769" fmla="*/ 8252 h 10000"/>
                <a:gd name="connsiteX770" fmla="*/ 1048 w 10000"/>
                <a:gd name="connsiteY770" fmla="*/ 8261 h 10000"/>
                <a:gd name="connsiteX771" fmla="*/ 1030 w 10000"/>
                <a:gd name="connsiteY771" fmla="*/ 8273 h 10000"/>
                <a:gd name="connsiteX772" fmla="*/ 1010 w 10000"/>
                <a:gd name="connsiteY772" fmla="*/ 8287 h 10000"/>
                <a:gd name="connsiteX773" fmla="*/ 995 w 10000"/>
                <a:gd name="connsiteY773" fmla="*/ 8303 h 10000"/>
                <a:gd name="connsiteX774" fmla="*/ 975 w 10000"/>
                <a:gd name="connsiteY774" fmla="*/ 8322 h 10000"/>
                <a:gd name="connsiteX775" fmla="*/ 960 w 10000"/>
                <a:gd name="connsiteY775" fmla="*/ 8343 h 10000"/>
                <a:gd name="connsiteX776" fmla="*/ 927 w 10000"/>
                <a:gd name="connsiteY776" fmla="*/ 8380 h 10000"/>
                <a:gd name="connsiteX777" fmla="*/ 891 w 10000"/>
                <a:gd name="connsiteY777" fmla="*/ 8417 h 10000"/>
                <a:gd name="connsiteX778" fmla="*/ 874 w 10000"/>
                <a:gd name="connsiteY778" fmla="*/ 8436 h 10000"/>
                <a:gd name="connsiteX779" fmla="*/ 859 w 10000"/>
                <a:gd name="connsiteY779" fmla="*/ 8450 h 10000"/>
                <a:gd name="connsiteX780" fmla="*/ 838 w 10000"/>
                <a:gd name="connsiteY780" fmla="*/ 8462 h 10000"/>
                <a:gd name="connsiteX781" fmla="*/ 821 w 10000"/>
                <a:gd name="connsiteY781" fmla="*/ 8476 h 10000"/>
                <a:gd name="connsiteX782" fmla="*/ 742 w 10000"/>
                <a:gd name="connsiteY782" fmla="*/ 8562 h 10000"/>
                <a:gd name="connsiteX783" fmla="*/ 672 w 10000"/>
                <a:gd name="connsiteY783" fmla="*/ 8644 h 10000"/>
                <a:gd name="connsiteX784" fmla="*/ 639 w 10000"/>
                <a:gd name="connsiteY784" fmla="*/ 8684 h 10000"/>
                <a:gd name="connsiteX785" fmla="*/ 609 w 10000"/>
                <a:gd name="connsiteY785" fmla="*/ 8731 h 10000"/>
                <a:gd name="connsiteX786" fmla="*/ 583 w 10000"/>
                <a:gd name="connsiteY786" fmla="*/ 8777 h 10000"/>
                <a:gd name="connsiteX787" fmla="*/ 556 w 10000"/>
                <a:gd name="connsiteY787" fmla="*/ 8831 h 10000"/>
                <a:gd name="connsiteX788" fmla="*/ 545 w 10000"/>
                <a:gd name="connsiteY788" fmla="*/ 8852 h 10000"/>
                <a:gd name="connsiteX789" fmla="*/ 525 w 10000"/>
                <a:gd name="connsiteY789" fmla="*/ 8885 h 10000"/>
                <a:gd name="connsiteX790" fmla="*/ 503 w 10000"/>
                <a:gd name="connsiteY790" fmla="*/ 8925 h 10000"/>
                <a:gd name="connsiteX791" fmla="*/ 480 w 10000"/>
                <a:gd name="connsiteY791" fmla="*/ 8962 h 10000"/>
                <a:gd name="connsiteX792" fmla="*/ 465 w 10000"/>
                <a:gd name="connsiteY792" fmla="*/ 8981 h 10000"/>
                <a:gd name="connsiteX793" fmla="*/ 455 w 10000"/>
                <a:gd name="connsiteY793" fmla="*/ 8993 h 10000"/>
                <a:gd name="connsiteX794" fmla="*/ 444 w 10000"/>
                <a:gd name="connsiteY794" fmla="*/ 9000 h 10000"/>
                <a:gd name="connsiteX795" fmla="*/ 434 w 10000"/>
                <a:gd name="connsiteY795" fmla="*/ 9007 h 10000"/>
                <a:gd name="connsiteX796" fmla="*/ 432 w 10000"/>
                <a:gd name="connsiteY796" fmla="*/ 9007 h 10000"/>
                <a:gd name="connsiteX797" fmla="*/ 429 w 10000"/>
                <a:gd name="connsiteY797" fmla="*/ 9004 h 10000"/>
                <a:gd name="connsiteX798" fmla="*/ 427 w 10000"/>
                <a:gd name="connsiteY798" fmla="*/ 8997 h 10000"/>
                <a:gd name="connsiteX799" fmla="*/ 427 w 10000"/>
                <a:gd name="connsiteY799" fmla="*/ 8993 h 10000"/>
                <a:gd name="connsiteX800" fmla="*/ 424 w 10000"/>
                <a:gd name="connsiteY800" fmla="*/ 8976 h 10000"/>
                <a:gd name="connsiteX801" fmla="*/ 427 w 10000"/>
                <a:gd name="connsiteY801" fmla="*/ 8948 h 10000"/>
                <a:gd name="connsiteX802" fmla="*/ 437 w 10000"/>
                <a:gd name="connsiteY802" fmla="*/ 8913 h 10000"/>
                <a:gd name="connsiteX803" fmla="*/ 455 w 10000"/>
                <a:gd name="connsiteY803" fmla="*/ 8859 h 10000"/>
                <a:gd name="connsiteX804" fmla="*/ 462 w 10000"/>
                <a:gd name="connsiteY804" fmla="*/ 8834 h 10000"/>
                <a:gd name="connsiteX805" fmla="*/ 470 w 10000"/>
                <a:gd name="connsiteY805" fmla="*/ 8810 h 10000"/>
                <a:gd name="connsiteX806" fmla="*/ 472 w 10000"/>
                <a:gd name="connsiteY806" fmla="*/ 8794 h 10000"/>
                <a:gd name="connsiteX807" fmla="*/ 472 w 10000"/>
                <a:gd name="connsiteY807" fmla="*/ 8780 h 10000"/>
                <a:gd name="connsiteX808" fmla="*/ 462 w 10000"/>
                <a:gd name="connsiteY808" fmla="*/ 8784 h 10000"/>
                <a:gd name="connsiteX809" fmla="*/ 452 w 10000"/>
                <a:gd name="connsiteY809" fmla="*/ 8787 h 10000"/>
                <a:gd name="connsiteX810" fmla="*/ 437 w 10000"/>
                <a:gd name="connsiteY810" fmla="*/ 8794 h 10000"/>
                <a:gd name="connsiteX811" fmla="*/ 424 w 10000"/>
                <a:gd name="connsiteY811" fmla="*/ 8803 h 10000"/>
                <a:gd name="connsiteX812" fmla="*/ 394 w 10000"/>
                <a:gd name="connsiteY812" fmla="*/ 8829 h 10000"/>
                <a:gd name="connsiteX813" fmla="*/ 364 w 10000"/>
                <a:gd name="connsiteY813" fmla="*/ 8859 h 10000"/>
                <a:gd name="connsiteX814" fmla="*/ 311 w 10000"/>
                <a:gd name="connsiteY814" fmla="*/ 8922 h 10000"/>
                <a:gd name="connsiteX815" fmla="*/ 268 w 10000"/>
                <a:gd name="connsiteY815" fmla="*/ 8964 h 10000"/>
                <a:gd name="connsiteX816" fmla="*/ 205 w 10000"/>
                <a:gd name="connsiteY816" fmla="*/ 9016 h 10000"/>
                <a:gd name="connsiteX817" fmla="*/ 146 w 10000"/>
                <a:gd name="connsiteY817" fmla="*/ 9053 h 10000"/>
                <a:gd name="connsiteX818" fmla="*/ 139 w 10000"/>
                <a:gd name="connsiteY818" fmla="*/ 9063 h 10000"/>
                <a:gd name="connsiteX819" fmla="*/ 129 w 10000"/>
                <a:gd name="connsiteY819" fmla="*/ 9077 h 10000"/>
                <a:gd name="connsiteX820" fmla="*/ 126 w 10000"/>
                <a:gd name="connsiteY820" fmla="*/ 9086 h 10000"/>
                <a:gd name="connsiteX821" fmla="*/ 126 w 10000"/>
                <a:gd name="connsiteY821" fmla="*/ 9102 h 10000"/>
                <a:gd name="connsiteX822" fmla="*/ 129 w 10000"/>
                <a:gd name="connsiteY822" fmla="*/ 9116 h 10000"/>
                <a:gd name="connsiteX823" fmla="*/ 139 w 10000"/>
                <a:gd name="connsiteY823" fmla="*/ 9135 h 10000"/>
                <a:gd name="connsiteX824" fmla="*/ 149 w 10000"/>
                <a:gd name="connsiteY824" fmla="*/ 9151 h 10000"/>
                <a:gd name="connsiteX825" fmla="*/ 164 w 10000"/>
                <a:gd name="connsiteY825" fmla="*/ 9175 h 10000"/>
                <a:gd name="connsiteX826" fmla="*/ 184 w 10000"/>
                <a:gd name="connsiteY826" fmla="*/ 9196 h 10000"/>
                <a:gd name="connsiteX827" fmla="*/ 207 w 10000"/>
                <a:gd name="connsiteY827" fmla="*/ 9215 h 10000"/>
                <a:gd name="connsiteX828" fmla="*/ 227 w 10000"/>
                <a:gd name="connsiteY828" fmla="*/ 9233 h 10000"/>
                <a:gd name="connsiteX829" fmla="*/ 253 w 10000"/>
                <a:gd name="connsiteY829" fmla="*/ 9250 h 10000"/>
                <a:gd name="connsiteX830" fmla="*/ 303 w 10000"/>
                <a:gd name="connsiteY830" fmla="*/ 9282 h 10000"/>
                <a:gd name="connsiteX831" fmla="*/ 351 w 10000"/>
                <a:gd name="connsiteY831" fmla="*/ 9315 h 10000"/>
                <a:gd name="connsiteX832" fmla="*/ 414 w 10000"/>
                <a:gd name="connsiteY832" fmla="*/ 9364 h 10000"/>
                <a:gd name="connsiteX833" fmla="*/ 480 w 10000"/>
                <a:gd name="connsiteY833" fmla="*/ 9416 h 10000"/>
                <a:gd name="connsiteX834" fmla="*/ 513 w 10000"/>
                <a:gd name="connsiteY834" fmla="*/ 9437 h 10000"/>
                <a:gd name="connsiteX835" fmla="*/ 548 w 10000"/>
                <a:gd name="connsiteY835" fmla="*/ 9462 h 10000"/>
                <a:gd name="connsiteX836" fmla="*/ 581 w 10000"/>
                <a:gd name="connsiteY836" fmla="*/ 9483 h 10000"/>
                <a:gd name="connsiteX837" fmla="*/ 614 w 10000"/>
                <a:gd name="connsiteY837" fmla="*/ 9502 h 10000"/>
                <a:gd name="connsiteX838" fmla="*/ 641 w 10000"/>
                <a:gd name="connsiteY838" fmla="*/ 9525 h 10000"/>
                <a:gd name="connsiteX839" fmla="*/ 672 w 10000"/>
                <a:gd name="connsiteY839" fmla="*/ 9549 h 10000"/>
                <a:gd name="connsiteX840" fmla="*/ 702 w 10000"/>
                <a:gd name="connsiteY840" fmla="*/ 9568 h 10000"/>
                <a:gd name="connsiteX841" fmla="*/ 737 w 10000"/>
                <a:gd name="connsiteY841" fmla="*/ 9589 h 10000"/>
                <a:gd name="connsiteX842" fmla="*/ 770 w 10000"/>
                <a:gd name="connsiteY842" fmla="*/ 9605 h 10000"/>
                <a:gd name="connsiteX843" fmla="*/ 808 w 10000"/>
                <a:gd name="connsiteY843" fmla="*/ 9617 h 10000"/>
                <a:gd name="connsiteX844" fmla="*/ 843 w 10000"/>
                <a:gd name="connsiteY844" fmla="*/ 9624 h 10000"/>
                <a:gd name="connsiteX845" fmla="*/ 884 w 10000"/>
                <a:gd name="connsiteY845" fmla="*/ 9628 h 10000"/>
                <a:gd name="connsiteX846" fmla="*/ 902 w 10000"/>
                <a:gd name="connsiteY846" fmla="*/ 9628 h 10000"/>
                <a:gd name="connsiteX847" fmla="*/ 914 w 10000"/>
                <a:gd name="connsiteY847" fmla="*/ 9631 h 10000"/>
                <a:gd name="connsiteX848" fmla="*/ 932 w 10000"/>
                <a:gd name="connsiteY848" fmla="*/ 9638 h 10000"/>
                <a:gd name="connsiteX849" fmla="*/ 942 w 10000"/>
                <a:gd name="connsiteY849" fmla="*/ 9642 h 10000"/>
                <a:gd name="connsiteX850" fmla="*/ 967 w 10000"/>
                <a:gd name="connsiteY850" fmla="*/ 9652 h 10000"/>
                <a:gd name="connsiteX851" fmla="*/ 987 w 10000"/>
                <a:gd name="connsiteY851" fmla="*/ 9668 h 10000"/>
                <a:gd name="connsiteX852" fmla="*/ 1005 w 10000"/>
                <a:gd name="connsiteY852" fmla="*/ 9682 h 10000"/>
                <a:gd name="connsiteX853" fmla="*/ 1025 w 10000"/>
                <a:gd name="connsiteY853" fmla="*/ 9698 h 10000"/>
                <a:gd name="connsiteX854" fmla="*/ 1045 w 10000"/>
                <a:gd name="connsiteY854" fmla="*/ 9712 h 10000"/>
                <a:gd name="connsiteX855" fmla="*/ 1073 w 10000"/>
                <a:gd name="connsiteY855" fmla="*/ 9724 h 10000"/>
                <a:gd name="connsiteX856" fmla="*/ 1098 w 10000"/>
                <a:gd name="connsiteY856" fmla="*/ 9738 h 10000"/>
                <a:gd name="connsiteX857" fmla="*/ 1121 w 10000"/>
                <a:gd name="connsiteY857" fmla="*/ 9750 h 10000"/>
                <a:gd name="connsiteX858" fmla="*/ 1141 w 10000"/>
                <a:gd name="connsiteY858" fmla="*/ 9762 h 10000"/>
                <a:gd name="connsiteX859" fmla="*/ 1159 w 10000"/>
                <a:gd name="connsiteY859" fmla="*/ 9776 h 10000"/>
                <a:gd name="connsiteX860" fmla="*/ 1172 w 10000"/>
                <a:gd name="connsiteY860" fmla="*/ 9787 h 10000"/>
                <a:gd name="connsiteX861" fmla="*/ 1182 w 10000"/>
                <a:gd name="connsiteY861" fmla="*/ 9804 h 10000"/>
                <a:gd name="connsiteX862" fmla="*/ 1194 w 10000"/>
                <a:gd name="connsiteY862" fmla="*/ 9818 h 10000"/>
                <a:gd name="connsiteX863" fmla="*/ 1202 w 10000"/>
                <a:gd name="connsiteY863" fmla="*/ 9834 h 10000"/>
                <a:gd name="connsiteX864" fmla="*/ 1212 w 10000"/>
                <a:gd name="connsiteY864" fmla="*/ 9869 h 10000"/>
                <a:gd name="connsiteX865" fmla="*/ 1220 w 10000"/>
                <a:gd name="connsiteY865" fmla="*/ 9906 h 10000"/>
                <a:gd name="connsiteX866" fmla="*/ 1230 w 10000"/>
                <a:gd name="connsiteY866" fmla="*/ 9951 h 10000"/>
                <a:gd name="connsiteX867" fmla="*/ 1237 w 10000"/>
                <a:gd name="connsiteY867" fmla="*/ 10000 h 10000"/>
                <a:gd name="connsiteX868" fmla="*/ 1237 w 10000"/>
                <a:gd name="connsiteY86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687 w 10000"/>
                <a:gd name="connsiteY730" fmla="*/ 7525 h 10000"/>
                <a:gd name="connsiteX731" fmla="*/ 2167 w 10000"/>
                <a:gd name="connsiteY731" fmla="*/ 7742 h 10000"/>
                <a:gd name="connsiteX732" fmla="*/ 2159 w 10000"/>
                <a:gd name="connsiteY732" fmla="*/ 7833 h 10000"/>
                <a:gd name="connsiteX733" fmla="*/ 2157 w 10000"/>
                <a:gd name="connsiteY733" fmla="*/ 7882 h 10000"/>
                <a:gd name="connsiteX734" fmla="*/ 2157 w 10000"/>
                <a:gd name="connsiteY734" fmla="*/ 7938 h 10000"/>
                <a:gd name="connsiteX735" fmla="*/ 2159 w 10000"/>
                <a:gd name="connsiteY735" fmla="*/ 8006 h 10000"/>
                <a:gd name="connsiteX736" fmla="*/ 2162 w 10000"/>
                <a:gd name="connsiteY736" fmla="*/ 8079 h 10000"/>
                <a:gd name="connsiteX737" fmla="*/ 2159 w 10000"/>
                <a:gd name="connsiteY737" fmla="*/ 8156 h 10000"/>
                <a:gd name="connsiteX738" fmla="*/ 2157 w 10000"/>
                <a:gd name="connsiteY738" fmla="*/ 8193 h 10000"/>
                <a:gd name="connsiteX739" fmla="*/ 2154 w 10000"/>
                <a:gd name="connsiteY739" fmla="*/ 8228 h 10000"/>
                <a:gd name="connsiteX740" fmla="*/ 2146 w 10000"/>
                <a:gd name="connsiteY740" fmla="*/ 8261 h 10000"/>
                <a:gd name="connsiteX741" fmla="*/ 2136 w 10000"/>
                <a:gd name="connsiteY741" fmla="*/ 8291 h 10000"/>
                <a:gd name="connsiteX742" fmla="*/ 2124 w 10000"/>
                <a:gd name="connsiteY742" fmla="*/ 8319 h 10000"/>
                <a:gd name="connsiteX743" fmla="*/ 2109 w 10000"/>
                <a:gd name="connsiteY743" fmla="*/ 8345 h 10000"/>
                <a:gd name="connsiteX744" fmla="*/ 2098 w 10000"/>
                <a:gd name="connsiteY744" fmla="*/ 8354 h 10000"/>
                <a:gd name="connsiteX745" fmla="*/ 2088 w 10000"/>
                <a:gd name="connsiteY745" fmla="*/ 8364 h 10000"/>
                <a:gd name="connsiteX746" fmla="*/ 2078 w 10000"/>
                <a:gd name="connsiteY746" fmla="*/ 8373 h 10000"/>
                <a:gd name="connsiteX747" fmla="*/ 2063 w 10000"/>
                <a:gd name="connsiteY747" fmla="*/ 8380 h 10000"/>
                <a:gd name="connsiteX748" fmla="*/ 1990 w 10000"/>
                <a:gd name="connsiteY748" fmla="*/ 8422 h 10000"/>
                <a:gd name="connsiteX749" fmla="*/ 1904 w 10000"/>
                <a:gd name="connsiteY749" fmla="*/ 8481 h 10000"/>
                <a:gd name="connsiteX750" fmla="*/ 1856 w 10000"/>
                <a:gd name="connsiteY750" fmla="*/ 8506 h 10000"/>
                <a:gd name="connsiteX751" fmla="*/ 1816 w 10000"/>
                <a:gd name="connsiteY751" fmla="*/ 8527 h 10000"/>
                <a:gd name="connsiteX752" fmla="*/ 1793 w 10000"/>
                <a:gd name="connsiteY752" fmla="*/ 8539 h 10000"/>
                <a:gd name="connsiteX753" fmla="*/ 1775 w 10000"/>
                <a:gd name="connsiteY753" fmla="*/ 8546 h 10000"/>
                <a:gd name="connsiteX754" fmla="*/ 1758 w 10000"/>
                <a:gd name="connsiteY754" fmla="*/ 8548 h 10000"/>
                <a:gd name="connsiteX755" fmla="*/ 1742 w 10000"/>
                <a:gd name="connsiteY755" fmla="*/ 8551 h 10000"/>
                <a:gd name="connsiteX756" fmla="*/ 1727 w 10000"/>
                <a:gd name="connsiteY756" fmla="*/ 8537 h 10000"/>
                <a:gd name="connsiteX757" fmla="*/ 1717 w 10000"/>
                <a:gd name="connsiteY757" fmla="*/ 8518 h 10000"/>
                <a:gd name="connsiteX758" fmla="*/ 1684 w 10000"/>
                <a:gd name="connsiteY758" fmla="*/ 8429 h 10000"/>
                <a:gd name="connsiteX759" fmla="*/ 1525 w 10000"/>
                <a:gd name="connsiteY759" fmla="*/ 8186 h 10000"/>
                <a:gd name="connsiteX760" fmla="*/ 1500 w 10000"/>
                <a:gd name="connsiteY760" fmla="*/ 8191 h 10000"/>
                <a:gd name="connsiteX761" fmla="*/ 1472 w 10000"/>
                <a:gd name="connsiteY761" fmla="*/ 8198 h 10000"/>
                <a:gd name="connsiteX762" fmla="*/ 1434 w 10000"/>
                <a:gd name="connsiteY762" fmla="*/ 8223 h 10000"/>
                <a:gd name="connsiteX763" fmla="*/ 1149 w 10000"/>
                <a:gd name="connsiteY763" fmla="*/ 8256 h 10000"/>
                <a:gd name="connsiteX764" fmla="*/ 1139 w 10000"/>
                <a:gd name="connsiteY764" fmla="*/ 8249 h 10000"/>
                <a:gd name="connsiteX765" fmla="*/ 1126 w 10000"/>
                <a:gd name="connsiteY765" fmla="*/ 8240 h 10000"/>
                <a:gd name="connsiteX766" fmla="*/ 1114 w 10000"/>
                <a:gd name="connsiteY766" fmla="*/ 8240 h 10000"/>
                <a:gd name="connsiteX767" fmla="*/ 1091 w 10000"/>
                <a:gd name="connsiteY767" fmla="*/ 8242 h 10000"/>
                <a:gd name="connsiteX768" fmla="*/ 1071 w 10000"/>
                <a:gd name="connsiteY768" fmla="*/ 8252 h 10000"/>
                <a:gd name="connsiteX769" fmla="*/ 1048 w 10000"/>
                <a:gd name="connsiteY769" fmla="*/ 8261 h 10000"/>
                <a:gd name="connsiteX770" fmla="*/ 1030 w 10000"/>
                <a:gd name="connsiteY770" fmla="*/ 8273 h 10000"/>
                <a:gd name="connsiteX771" fmla="*/ 1010 w 10000"/>
                <a:gd name="connsiteY771" fmla="*/ 8287 h 10000"/>
                <a:gd name="connsiteX772" fmla="*/ 995 w 10000"/>
                <a:gd name="connsiteY772" fmla="*/ 8303 h 10000"/>
                <a:gd name="connsiteX773" fmla="*/ 975 w 10000"/>
                <a:gd name="connsiteY773" fmla="*/ 8322 h 10000"/>
                <a:gd name="connsiteX774" fmla="*/ 960 w 10000"/>
                <a:gd name="connsiteY774" fmla="*/ 8343 h 10000"/>
                <a:gd name="connsiteX775" fmla="*/ 927 w 10000"/>
                <a:gd name="connsiteY775" fmla="*/ 8380 h 10000"/>
                <a:gd name="connsiteX776" fmla="*/ 891 w 10000"/>
                <a:gd name="connsiteY776" fmla="*/ 8417 h 10000"/>
                <a:gd name="connsiteX777" fmla="*/ 874 w 10000"/>
                <a:gd name="connsiteY777" fmla="*/ 8436 h 10000"/>
                <a:gd name="connsiteX778" fmla="*/ 859 w 10000"/>
                <a:gd name="connsiteY778" fmla="*/ 8450 h 10000"/>
                <a:gd name="connsiteX779" fmla="*/ 838 w 10000"/>
                <a:gd name="connsiteY779" fmla="*/ 8462 h 10000"/>
                <a:gd name="connsiteX780" fmla="*/ 821 w 10000"/>
                <a:gd name="connsiteY780" fmla="*/ 8476 h 10000"/>
                <a:gd name="connsiteX781" fmla="*/ 742 w 10000"/>
                <a:gd name="connsiteY781" fmla="*/ 8562 h 10000"/>
                <a:gd name="connsiteX782" fmla="*/ 672 w 10000"/>
                <a:gd name="connsiteY782" fmla="*/ 8644 h 10000"/>
                <a:gd name="connsiteX783" fmla="*/ 639 w 10000"/>
                <a:gd name="connsiteY783" fmla="*/ 8684 h 10000"/>
                <a:gd name="connsiteX784" fmla="*/ 609 w 10000"/>
                <a:gd name="connsiteY784" fmla="*/ 8731 h 10000"/>
                <a:gd name="connsiteX785" fmla="*/ 583 w 10000"/>
                <a:gd name="connsiteY785" fmla="*/ 8777 h 10000"/>
                <a:gd name="connsiteX786" fmla="*/ 556 w 10000"/>
                <a:gd name="connsiteY786" fmla="*/ 8831 h 10000"/>
                <a:gd name="connsiteX787" fmla="*/ 545 w 10000"/>
                <a:gd name="connsiteY787" fmla="*/ 8852 h 10000"/>
                <a:gd name="connsiteX788" fmla="*/ 525 w 10000"/>
                <a:gd name="connsiteY788" fmla="*/ 8885 h 10000"/>
                <a:gd name="connsiteX789" fmla="*/ 503 w 10000"/>
                <a:gd name="connsiteY789" fmla="*/ 8925 h 10000"/>
                <a:gd name="connsiteX790" fmla="*/ 480 w 10000"/>
                <a:gd name="connsiteY790" fmla="*/ 8962 h 10000"/>
                <a:gd name="connsiteX791" fmla="*/ 465 w 10000"/>
                <a:gd name="connsiteY791" fmla="*/ 8981 h 10000"/>
                <a:gd name="connsiteX792" fmla="*/ 455 w 10000"/>
                <a:gd name="connsiteY792" fmla="*/ 8993 h 10000"/>
                <a:gd name="connsiteX793" fmla="*/ 444 w 10000"/>
                <a:gd name="connsiteY793" fmla="*/ 9000 h 10000"/>
                <a:gd name="connsiteX794" fmla="*/ 434 w 10000"/>
                <a:gd name="connsiteY794" fmla="*/ 9007 h 10000"/>
                <a:gd name="connsiteX795" fmla="*/ 432 w 10000"/>
                <a:gd name="connsiteY795" fmla="*/ 9007 h 10000"/>
                <a:gd name="connsiteX796" fmla="*/ 429 w 10000"/>
                <a:gd name="connsiteY796" fmla="*/ 9004 h 10000"/>
                <a:gd name="connsiteX797" fmla="*/ 427 w 10000"/>
                <a:gd name="connsiteY797" fmla="*/ 8997 h 10000"/>
                <a:gd name="connsiteX798" fmla="*/ 427 w 10000"/>
                <a:gd name="connsiteY798" fmla="*/ 8993 h 10000"/>
                <a:gd name="connsiteX799" fmla="*/ 424 w 10000"/>
                <a:gd name="connsiteY799" fmla="*/ 8976 h 10000"/>
                <a:gd name="connsiteX800" fmla="*/ 427 w 10000"/>
                <a:gd name="connsiteY800" fmla="*/ 8948 h 10000"/>
                <a:gd name="connsiteX801" fmla="*/ 437 w 10000"/>
                <a:gd name="connsiteY801" fmla="*/ 8913 h 10000"/>
                <a:gd name="connsiteX802" fmla="*/ 455 w 10000"/>
                <a:gd name="connsiteY802" fmla="*/ 8859 h 10000"/>
                <a:gd name="connsiteX803" fmla="*/ 462 w 10000"/>
                <a:gd name="connsiteY803" fmla="*/ 8834 h 10000"/>
                <a:gd name="connsiteX804" fmla="*/ 470 w 10000"/>
                <a:gd name="connsiteY804" fmla="*/ 8810 h 10000"/>
                <a:gd name="connsiteX805" fmla="*/ 472 w 10000"/>
                <a:gd name="connsiteY805" fmla="*/ 8794 h 10000"/>
                <a:gd name="connsiteX806" fmla="*/ 472 w 10000"/>
                <a:gd name="connsiteY806" fmla="*/ 8780 h 10000"/>
                <a:gd name="connsiteX807" fmla="*/ 462 w 10000"/>
                <a:gd name="connsiteY807" fmla="*/ 8784 h 10000"/>
                <a:gd name="connsiteX808" fmla="*/ 452 w 10000"/>
                <a:gd name="connsiteY808" fmla="*/ 8787 h 10000"/>
                <a:gd name="connsiteX809" fmla="*/ 437 w 10000"/>
                <a:gd name="connsiteY809" fmla="*/ 8794 h 10000"/>
                <a:gd name="connsiteX810" fmla="*/ 424 w 10000"/>
                <a:gd name="connsiteY810" fmla="*/ 8803 h 10000"/>
                <a:gd name="connsiteX811" fmla="*/ 394 w 10000"/>
                <a:gd name="connsiteY811" fmla="*/ 8829 h 10000"/>
                <a:gd name="connsiteX812" fmla="*/ 364 w 10000"/>
                <a:gd name="connsiteY812" fmla="*/ 8859 h 10000"/>
                <a:gd name="connsiteX813" fmla="*/ 311 w 10000"/>
                <a:gd name="connsiteY813" fmla="*/ 8922 h 10000"/>
                <a:gd name="connsiteX814" fmla="*/ 268 w 10000"/>
                <a:gd name="connsiteY814" fmla="*/ 8964 h 10000"/>
                <a:gd name="connsiteX815" fmla="*/ 205 w 10000"/>
                <a:gd name="connsiteY815" fmla="*/ 9016 h 10000"/>
                <a:gd name="connsiteX816" fmla="*/ 146 w 10000"/>
                <a:gd name="connsiteY816" fmla="*/ 9053 h 10000"/>
                <a:gd name="connsiteX817" fmla="*/ 139 w 10000"/>
                <a:gd name="connsiteY817" fmla="*/ 9063 h 10000"/>
                <a:gd name="connsiteX818" fmla="*/ 129 w 10000"/>
                <a:gd name="connsiteY818" fmla="*/ 9077 h 10000"/>
                <a:gd name="connsiteX819" fmla="*/ 126 w 10000"/>
                <a:gd name="connsiteY819" fmla="*/ 9086 h 10000"/>
                <a:gd name="connsiteX820" fmla="*/ 126 w 10000"/>
                <a:gd name="connsiteY820" fmla="*/ 9102 h 10000"/>
                <a:gd name="connsiteX821" fmla="*/ 129 w 10000"/>
                <a:gd name="connsiteY821" fmla="*/ 9116 h 10000"/>
                <a:gd name="connsiteX822" fmla="*/ 139 w 10000"/>
                <a:gd name="connsiteY822" fmla="*/ 9135 h 10000"/>
                <a:gd name="connsiteX823" fmla="*/ 149 w 10000"/>
                <a:gd name="connsiteY823" fmla="*/ 9151 h 10000"/>
                <a:gd name="connsiteX824" fmla="*/ 164 w 10000"/>
                <a:gd name="connsiteY824" fmla="*/ 9175 h 10000"/>
                <a:gd name="connsiteX825" fmla="*/ 184 w 10000"/>
                <a:gd name="connsiteY825" fmla="*/ 9196 h 10000"/>
                <a:gd name="connsiteX826" fmla="*/ 207 w 10000"/>
                <a:gd name="connsiteY826" fmla="*/ 9215 h 10000"/>
                <a:gd name="connsiteX827" fmla="*/ 227 w 10000"/>
                <a:gd name="connsiteY827" fmla="*/ 9233 h 10000"/>
                <a:gd name="connsiteX828" fmla="*/ 253 w 10000"/>
                <a:gd name="connsiteY828" fmla="*/ 9250 h 10000"/>
                <a:gd name="connsiteX829" fmla="*/ 303 w 10000"/>
                <a:gd name="connsiteY829" fmla="*/ 9282 h 10000"/>
                <a:gd name="connsiteX830" fmla="*/ 351 w 10000"/>
                <a:gd name="connsiteY830" fmla="*/ 9315 h 10000"/>
                <a:gd name="connsiteX831" fmla="*/ 414 w 10000"/>
                <a:gd name="connsiteY831" fmla="*/ 9364 h 10000"/>
                <a:gd name="connsiteX832" fmla="*/ 480 w 10000"/>
                <a:gd name="connsiteY832" fmla="*/ 9416 h 10000"/>
                <a:gd name="connsiteX833" fmla="*/ 513 w 10000"/>
                <a:gd name="connsiteY833" fmla="*/ 9437 h 10000"/>
                <a:gd name="connsiteX834" fmla="*/ 548 w 10000"/>
                <a:gd name="connsiteY834" fmla="*/ 9462 h 10000"/>
                <a:gd name="connsiteX835" fmla="*/ 581 w 10000"/>
                <a:gd name="connsiteY835" fmla="*/ 9483 h 10000"/>
                <a:gd name="connsiteX836" fmla="*/ 614 w 10000"/>
                <a:gd name="connsiteY836" fmla="*/ 9502 h 10000"/>
                <a:gd name="connsiteX837" fmla="*/ 641 w 10000"/>
                <a:gd name="connsiteY837" fmla="*/ 9525 h 10000"/>
                <a:gd name="connsiteX838" fmla="*/ 672 w 10000"/>
                <a:gd name="connsiteY838" fmla="*/ 9549 h 10000"/>
                <a:gd name="connsiteX839" fmla="*/ 702 w 10000"/>
                <a:gd name="connsiteY839" fmla="*/ 9568 h 10000"/>
                <a:gd name="connsiteX840" fmla="*/ 737 w 10000"/>
                <a:gd name="connsiteY840" fmla="*/ 9589 h 10000"/>
                <a:gd name="connsiteX841" fmla="*/ 770 w 10000"/>
                <a:gd name="connsiteY841" fmla="*/ 9605 h 10000"/>
                <a:gd name="connsiteX842" fmla="*/ 808 w 10000"/>
                <a:gd name="connsiteY842" fmla="*/ 9617 h 10000"/>
                <a:gd name="connsiteX843" fmla="*/ 843 w 10000"/>
                <a:gd name="connsiteY843" fmla="*/ 9624 h 10000"/>
                <a:gd name="connsiteX844" fmla="*/ 884 w 10000"/>
                <a:gd name="connsiteY844" fmla="*/ 9628 h 10000"/>
                <a:gd name="connsiteX845" fmla="*/ 902 w 10000"/>
                <a:gd name="connsiteY845" fmla="*/ 9628 h 10000"/>
                <a:gd name="connsiteX846" fmla="*/ 914 w 10000"/>
                <a:gd name="connsiteY846" fmla="*/ 9631 h 10000"/>
                <a:gd name="connsiteX847" fmla="*/ 932 w 10000"/>
                <a:gd name="connsiteY847" fmla="*/ 9638 h 10000"/>
                <a:gd name="connsiteX848" fmla="*/ 942 w 10000"/>
                <a:gd name="connsiteY848" fmla="*/ 9642 h 10000"/>
                <a:gd name="connsiteX849" fmla="*/ 967 w 10000"/>
                <a:gd name="connsiteY849" fmla="*/ 9652 h 10000"/>
                <a:gd name="connsiteX850" fmla="*/ 987 w 10000"/>
                <a:gd name="connsiteY850" fmla="*/ 9668 h 10000"/>
                <a:gd name="connsiteX851" fmla="*/ 1005 w 10000"/>
                <a:gd name="connsiteY851" fmla="*/ 9682 h 10000"/>
                <a:gd name="connsiteX852" fmla="*/ 1025 w 10000"/>
                <a:gd name="connsiteY852" fmla="*/ 9698 h 10000"/>
                <a:gd name="connsiteX853" fmla="*/ 1045 w 10000"/>
                <a:gd name="connsiteY853" fmla="*/ 9712 h 10000"/>
                <a:gd name="connsiteX854" fmla="*/ 1073 w 10000"/>
                <a:gd name="connsiteY854" fmla="*/ 9724 h 10000"/>
                <a:gd name="connsiteX855" fmla="*/ 1098 w 10000"/>
                <a:gd name="connsiteY855" fmla="*/ 9738 h 10000"/>
                <a:gd name="connsiteX856" fmla="*/ 1121 w 10000"/>
                <a:gd name="connsiteY856" fmla="*/ 9750 h 10000"/>
                <a:gd name="connsiteX857" fmla="*/ 1141 w 10000"/>
                <a:gd name="connsiteY857" fmla="*/ 9762 h 10000"/>
                <a:gd name="connsiteX858" fmla="*/ 1159 w 10000"/>
                <a:gd name="connsiteY858" fmla="*/ 9776 h 10000"/>
                <a:gd name="connsiteX859" fmla="*/ 1172 w 10000"/>
                <a:gd name="connsiteY859" fmla="*/ 9787 h 10000"/>
                <a:gd name="connsiteX860" fmla="*/ 1182 w 10000"/>
                <a:gd name="connsiteY860" fmla="*/ 9804 h 10000"/>
                <a:gd name="connsiteX861" fmla="*/ 1194 w 10000"/>
                <a:gd name="connsiteY861" fmla="*/ 9818 h 10000"/>
                <a:gd name="connsiteX862" fmla="*/ 1202 w 10000"/>
                <a:gd name="connsiteY862" fmla="*/ 9834 h 10000"/>
                <a:gd name="connsiteX863" fmla="*/ 1212 w 10000"/>
                <a:gd name="connsiteY863" fmla="*/ 9869 h 10000"/>
                <a:gd name="connsiteX864" fmla="*/ 1220 w 10000"/>
                <a:gd name="connsiteY864" fmla="*/ 9906 h 10000"/>
                <a:gd name="connsiteX865" fmla="*/ 1230 w 10000"/>
                <a:gd name="connsiteY865" fmla="*/ 9951 h 10000"/>
                <a:gd name="connsiteX866" fmla="*/ 1237 w 10000"/>
                <a:gd name="connsiteY866" fmla="*/ 10000 h 10000"/>
                <a:gd name="connsiteX867" fmla="*/ 1237 w 10000"/>
                <a:gd name="connsiteY86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631 w 10000"/>
                <a:gd name="connsiteY729" fmla="*/ 7419 h 10000"/>
                <a:gd name="connsiteX730" fmla="*/ 2167 w 10000"/>
                <a:gd name="connsiteY730" fmla="*/ 7742 h 10000"/>
                <a:gd name="connsiteX731" fmla="*/ 2159 w 10000"/>
                <a:gd name="connsiteY731" fmla="*/ 7833 h 10000"/>
                <a:gd name="connsiteX732" fmla="*/ 2157 w 10000"/>
                <a:gd name="connsiteY732" fmla="*/ 7882 h 10000"/>
                <a:gd name="connsiteX733" fmla="*/ 2157 w 10000"/>
                <a:gd name="connsiteY733" fmla="*/ 7938 h 10000"/>
                <a:gd name="connsiteX734" fmla="*/ 2159 w 10000"/>
                <a:gd name="connsiteY734" fmla="*/ 8006 h 10000"/>
                <a:gd name="connsiteX735" fmla="*/ 2162 w 10000"/>
                <a:gd name="connsiteY735" fmla="*/ 8079 h 10000"/>
                <a:gd name="connsiteX736" fmla="*/ 2159 w 10000"/>
                <a:gd name="connsiteY736" fmla="*/ 8156 h 10000"/>
                <a:gd name="connsiteX737" fmla="*/ 2157 w 10000"/>
                <a:gd name="connsiteY737" fmla="*/ 8193 h 10000"/>
                <a:gd name="connsiteX738" fmla="*/ 2154 w 10000"/>
                <a:gd name="connsiteY738" fmla="*/ 8228 h 10000"/>
                <a:gd name="connsiteX739" fmla="*/ 2146 w 10000"/>
                <a:gd name="connsiteY739" fmla="*/ 8261 h 10000"/>
                <a:gd name="connsiteX740" fmla="*/ 2136 w 10000"/>
                <a:gd name="connsiteY740" fmla="*/ 8291 h 10000"/>
                <a:gd name="connsiteX741" fmla="*/ 2124 w 10000"/>
                <a:gd name="connsiteY741" fmla="*/ 8319 h 10000"/>
                <a:gd name="connsiteX742" fmla="*/ 2109 w 10000"/>
                <a:gd name="connsiteY742" fmla="*/ 8345 h 10000"/>
                <a:gd name="connsiteX743" fmla="*/ 2098 w 10000"/>
                <a:gd name="connsiteY743" fmla="*/ 8354 h 10000"/>
                <a:gd name="connsiteX744" fmla="*/ 2088 w 10000"/>
                <a:gd name="connsiteY744" fmla="*/ 8364 h 10000"/>
                <a:gd name="connsiteX745" fmla="*/ 2078 w 10000"/>
                <a:gd name="connsiteY745" fmla="*/ 8373 h 10000"/>
                <a:gd name="connsiteX746" fmla="*/ 2063 w 10000"/>
                <a:gd name="connsiteY746" fmla="*/ 8380 h 10000"/>
                <a:gd name="connsiteX747" fmla="*/ 1990 w 10000"/>
                <a:gd name="connsiteY747" fmla="*/ 8422 h 10000"/>
                <a:gd name="connsiteX748" fmla="*/ 1904 w 10000"/>
                <a:gd name="connsiteY748" fmla="*/ 8481 h 10000"/>
                <a:gd name="connsiteX749" fmla="*/ 1856 w 10000"/>
                <a:gd name="connsiteY749" fmla="*/ 8506 h 10000"/>
                <a:gd name="connsiteX750" fmla="*/ 1816 w 10000"/>
                <a:gd name="connsiteY750" fmla="*/ 8527 h 10000"/>
                <a:gd name="connsiteX751" fmla="*/ 1793 w 10000"/>
                <a:gd name="connsiteY751" fmla="*/ 8539 h 10000"/>
                <a:gd name="connsiteX752" fmla="*/ 1775 w 10000"/>
                <a:gd name="connsiteY752" fmla="*/ 8546 h 10000"/>
                <a:gd name="connsiteX753" fmla="*/ 1758 w 10000"/>
                <a:gd name="connsiteY753" fmla="*/ 8548 h 10000"/>
                <a:gd name="connsiteX754" fmla="*/ 1742 w 10000"/>
                <a:gd name="connsiteY754" fmla="*/ 8551 h 10000"/>
                <a:gd name="connsiteX755" fmla="*/ 1727 w 10000"/>
                <a:gd name="connsiteY755" fmla="*/ 8537 h 10000"/>
                <a:gd name="connsiteX756" fmla="*/ 1717 w 10000"/>
                <a:gd name="connsiteY756" fmla="*/ 8518 h 10000"/>
                <a:gd name="connsiteX757" fmla="*/ 1684 w 10000"/>
                <a:gd name="connsiteY757" fmla="*/ 8429 h 10000"/>
                <a:gd name="connsiteX758" fmla="*/ 1525 w 10000"/>
                <a:gd name="connsiteY758" fmla="*/ 8186 h 10000"/>
                <a:gd name="connsiteX759" fmla="*/ 1500 w 10000"/>
                <a:gd name="connsiteY759" fmla="*/ 8191 h 10000"/>
                <a:gd name="connsiteX760" fmla="*/ 1472 w 10000"/>
                <a:gd name="connsiteY760" fmla="*/ 8198 h 10000"/>
                <a:gd name="connsiteX761" fmla="*/ 1434 w 10000"/>
                <a:gd name="connsiteY761" fmla="*/ 8223 h 10000"/>
                <a:gd name="connsiteX762" fmla="*/ 1149 w 10000"/>
                <a:gd name="connsiteY762" fmla="*/ 8256 h 10000"/>
                <a:gd name="connsiteX763" fmla="*/ 1139 w 10000"/>
                <a:gd name="connsiteY763" fmla="*/ 8249 h 10000"/>
                <a:gd name="connsiteX764" fmla="*/ 1126 w 10000"/>
                <a:gd name="connsiteY764" fmla="*/ 8240 h 10000"/>
                <a:gd name="connsiteX765" fmla="*/ 1114 w 10000"/>
                <a:gd name="connsiteY765" fmla="*/ 8240 h 10000"/>
                <a:gd name="connsiteX766" fmla="*/ 1091 w 10000"/>
                <a:gd name="connsiteY766" fmla="*/ 8242 h 10000"/>
                <a:gd name="connsiteX767" fmla="*/ 1071 w 10000"/>
                <a:gd name="connsiteY767" fmla="*/ 8252 h 10000"/>
                <a:gd name="connsiteX768" fmla="*/ 1048 w 10000"/>
                <a:gd name="connsiteY768" fmla="*/ 8261 h 10000"/>
                <a:gd name="connsiteX769" fmla="*/ 1030 w 10000"/>
                <a:gd name="connsiteY769" fmla="*/ 8273 h 10000"/>
                <a:gd name="connsiteX770" fmla="*/ 1010 w 10000"/>
                <a:gd name="connsiteY770" fmla="*/ 8287 h 10000"/>
                <a:gd name="connsiteX771" fmla="*/ 995 w 10000"/>
                <a:gd name="connsiteY771" fmla="*/ 8303 h 10000"/>
                <a:gd name="connsiteX772" fmla="*/ 975 w 10000"/>
                <a:gd name="connsiteY772" fmla="*/ 8322 h 10000"/>
                <a:gd name="connsiteX773" fmla="*/ 960 w 10000"/>
                <a:gd name="connsiteY773" fmla="*/ 8343 h 10000"/>
                <a:gd name="connsiteX774" fmla="*/ 927 w 10000"/>
                <a:gd name="connsiteY774" fmla="*/ 8380 h 10000"/>
                <a:gd name="connsiteX775" fmla="*/ 891 w 10000"/>
                <a:gd name="connsiteY775" fmla="*/ 8417 h 10000"/>
                <a:gd name="connsiteX776" fmla="*/ 874 w 10000"/>
                <a:gd name="connsiteY776" fmla="*/ 8436 h 10000"/>
                <a:gd name="connsiteX777" fmla="*/ 859 w 10000"/>
                <a:gd name="connsiteY777" fmla="*/ 8450 h 10000"/>
                <a:gd name="connsiteX778" fmla="*/ 838 w 10000"/>
                <a:gd name="connsiteY778" fmla="*/ 8462 h 10000"/>
                <a:gd name="connsiteX779" fmla="*/ 821 w 10000"/>
                <a:gd name="connsiteY779" fmla="*/ 8476 h 10000"/>
                <a:gd name="connsiteX780" fmla="*/ 742 w 10000"/>
                <a:gd name="connsiteY780" fmla="*/ 8562 h 10000"/>
                <a:gd name="connsiteX781" fmla="*/ 672 w 10000"/>
                <a:gd name="connsiteY781" fmla="*/ 8644 h 10000"/>
                <a:gd name="connsiteX782" fmla="*/ 639 w 10000"/>
                <a:gd name="connsiteY782" fmla="*/ 8684 h 10000"/>
                <a:gd name="connsiteX783" fmla="*/ 609 w 10000"/>
                <a:gd name="connsiteY783" fmla="*/ 8731 h 10000"/>
                <a:gd name="connsiteX784" fmla="*/ 583 w 10000"/>
                <a:gd name="connsiteY784" fmla="*/ 8777 h 10000"/>
                <a:gd name="connsiteX785" fmla="*/ 556 w 10000"/>
                <a:gd name="connsiteY785" fmla="*/ 8831 h 10000"/>
                <a:gd name="connsiteX786" fmla="*/ 545 w 10000"/>
                <a:gd name="connsiteY786" fmla="*/ 8852 h 10000"/>
                <a:gd name="connsiteX787" fmla="*/ 525 w 10000"/>
                <a:gd name="connsiteY787" fmla="*/ 8885 h 10000"/>
                <a:gd name="connsiteX788" fmla="*/ 503 w 10000"/>
                <a:gd name="connsiteY788" fmla="*/ 8925 h 10000"/>
                <a:gd name="connsiteX789" fmla="*/ 480 w 10000"/>
                <a:gd name="connsiteY789" fmla="*/ 8962 h 10000"/>
                <a:gd name="connsiteX790" fmla="*/ 465 w 10000"/>
                <a:gd name="connsiteY790" fmla="*/ 8981 h 10000"/>
                <a:gd name="connsiteX791" fmla="*/ 455 w 10000"/>
                <a:gd name="connsiteY791" fmla="*/ 8993 h 10000"/>
                <a:gd name="connsiteX792" fmla="*/ 444 w 10000"/>
                <a:gd name="connsiteY792" fmla="*/ 9000 h 10000"/>
                <a:gd name="connsiteX793" fmla="*/ 434 w 10000"/>
                <a:gd name="connsiteY793" fmla="*/ 9007 h 10000"/>
                <a:gd name="connsiteX794" fmla="*/ 432 w 10000"/>
                <a:gd name="connsiteY794" fmla="*/ 9007 h 10000"/>
                <a:gd name="connsiteX795" fmla="*/ 429 w 10000"/>
                <a:gd name="connsiteY795" fmla="*/ 9004 h 10000"/>
                <a:gd name="connsiteX796" fmla="*/ 427 w 10000"/>
                <a:gd name="connsiteY796" fmla="*/ 8997 h 10000"/>
                <a:gd name="connsiteX797" fmla="*/ 427 w 10000"/>
                <a:gd name="connsiteY797" fmla="*/ 8993 h 10000"/>
                <a:gd name="connsiteX798" fmla="*/ 424 w 10000"/>
                <a:gd name="connsiteY798" fmla="*/ 8976 h 10000"/>
                <a:gd name="connsiteX799" fmla="*/ 427 w 10000"/>
                <a:gd name="connsiteY799" fmla="*/ 8948 h 10000"/>
                <a:gd name="connsiteX800" fmla="*/ 437 w 10000"/>
                <a:gd name="connsiteY800" fmla="*/ 8913 h 10000"/>
                <a:gd name="connsiteX801" fmla="*/ 455 w 10000"/>
                <a:gd name="connsiteY801" fmla="*/ 8859 h 10000"/>
                <a:gd name="connsiteX802" fmla="*/ 462 w 10000"/>
                <a:gd name="connsiteY802" fmla="*/ 8834 h 10000"/>
                <a:gd name="connsiteX803" fmla="*/ 470 w 10000"/>
                <a:gd name="connsiteY803" fmla="*/ 8810 h 10000"/>
                <a:gd name="connsiteX804" fmla="*/ 472 w 10000"/>
                <a:gd name="connsiteY804" fmla="*/ 8794 h 10000"/>
                <a:gd name="connsiteX805" fmla="*/ 472 w 10000"/>
                <a:gd name="connsiteY805" fmla="*/ 8780 h 10000"/>
                <a:gd name="connsiteX806" fmla="*/ 462 w 10000"/>
                <a:gd name="connsiteY806" fmla="*/ 8784 h 10000"/>
                <a:gd name="connsiteX807" fmla="*/ 452 w 10000"/>
                <a:gd name="connsiteY807" fmla="*/ 8787 h 10000"/>
                <a:gd name="connsiteX808" fmla="*/ 437 w 10000"/>
                <a:gd name="connsiteY808" fmla="*/ 8794 h 10000"/>
                <a:gd name="connsiteX809" fmla="*/ 424 w 10000"/>
                <a:gd name="connsiteY809" fmla="*/ 8803 h 10000"/>
                <a:gd name="connsiteX810" fmla="*/ 394 w 10000"/>
                <a:gd name="connsiteY810" fmla="*/ 8829 h 10000"/>
                <a:gd name="connsiteX811" fmla="*/ 364 w 10000"/>
                <a:gd name="connsiteY811" fmla="*/ 8859 h 10000"/>
                <a:gd name="connsiteX812" fmla="*/ 311 w 10000"/>
                <a:gd name="connsiteY812" fmla="*/ 8922 h 10000"/>
                <a:gd name="connsiteX813" fmla="*/ 268 w 10000"/>
                <a:gd name="connsiteY813" fmla="*/ 8964 h 10000"/>
                <a:gd name="connsiteX814" fmla="*/ 205 w 10000"/>
                <a:gd name="connsiteY814" fmla="*/ 9016 h 10000"/>
                <a:gd name="connsiteX815" fmla="*/ 146 w 10000"/>
                <a:gd name="connsiteY815" fmla="*/ 9053 h 10000"/>
                <a:gd name="connsiteX816" fmla="*/ 139 w 10000"/>
                <a:gd name="connsiteY816" fmla="*/ 9063 h 10000"/>
                <a:gd name="connsiteX817" fmla="*/ 129 w 10000"/>
                <a:gd name="connsiteY817" fmla="*/ 9077 h 10000"/>
                <a:gd name="connsiteX818" fmla="*/ 126 w 10000"/>
                <a:gd name="connsiteY818" fmla="*/ 9086 h 10000"/>
                <a:gd name="connsiteX819" fmla="*/ 126 w 10000"/>
                <a:gd name="connsiteY819" fmla="*/ 9102 h 10000"/>
                <a:gd name="connsiteX820" fmla="*/ 129 w 10000"/>
                <a:gd name="connsiteY820" fmla="*/ 9116 h 10000"/>
                <a:gd name="connsiteX821" fmla="*/ 139 w 10000"/>
                <a:gd name="connsiteY821" fmla="*/ 9135 h 10000"/>
                <a:gd name="connsiteX822" fmla="*/ 149 w 10000"/>
                <a:gd name="connsiteY822" fmla="*/ 9151 h 10000"/>
                <a:gd name="connsiteX823" fmla="*/ 164 w 10000"/>
                <a:gd name="connsiteY823" fmla="*/ 9175 h 10000"/>
                <a:gd name="connsiteX824" fmla="*/ 184 w 10000"/>
                <a:gd name="connsiteY824" fmla="*/ 9196 h 10000"/>
                <a:gd name="connsiteX825" fmla="*/ 207 w 10000"/>
                <a:gd name="connsiteY825" fmla="*/ 9215 h 10000"/>
                <a:gd name="connsiteX826" fmla="*/ 227 w 10000"/>
                <a:gd name="connsiteY826" fmla="*/ 9233 h 10000"/>
                <a:gd name="connsiteX827" fmla="*/ 253 w 10000"/>
                <a:gd name="connsiteY827" fmla="*/ 9250 h 10000"/>
                <a:gd name="connsiteX828" fmla="*/ 303 w 10000"/>
                <a:gd name="connsiteY828" fmla="*/ 9282 h 10000"/>
                <a:gd name="connsiteX829" fmla="*/ 351 w 10000"/>
                <a:gd name="connsiteY829" fmla="*/ 9315 h 10000"/>
                <a:gd name="connsiteX830" fmla="*/ 414 w 10000"/>
                <a:gd name="connsiteY830" fmla="*/ 9364 h 10000"/>
                <a:gd name="connsiteX831" fmla="*/ 480 w 10000"/>
                <a:gd name="connsiteY831" fmla="*/ 9416 h 10000"/>
                <a:gd name="connsiteX832" fmla="*/ 513 w 10000"/>
                <a:gd name="connsiteY832" fmla="*/ 9437 h 10000"/>
                <a:gd name="connsiteX833" fmla="*/ 548 w 10000"/>
                <a:gd name="connsiteY833" fmla="*/ 9462 h 10000"/>
                <a:gd name="connsiteX834" fmla="*/ 581 w 10000"/>
                <a:gd name="connsiteY834" fmla="*/ 9483 h 10000"/>
                <a:gd name="connsiteX835" fmla="*/ 614 w 10000"/>
                <a:gd name="connsiteY835" fmla="*/ 9502 h 10000"/>
                <a:gd name="connsiteX836" fmla="*/ 641 w 10000"/>
                <a:gd name="connsiteY836" fmla="*/ 9525 h 10000"/>
                <a:gd name="connsiteX837" fmla="*/ 672 w 10000"/>
                <a:gd name="connsiteY837" fmla="*/ 9549 h 10000"/>
                <a:gd name="connsiteX838" fmla="*/ 702 w 10000"/>
                <a:gd name="connsiteY838" fmla="*/ 9568 h 10000"/>
                <a:gd name="connsiteX839" fmla="*/ 737 w 10000"/>
                <a:gd name="connsiteY839" fmla="*/ 9589 h 10000"/>
                <a:gd name="connsiteX840" fmla="*/ 770 w 10000"/>
                <a:gd name="connsiteY840" fmla="*/ 9605 h 10000"/>
                <a:gd name="connsiteX841" fmla="*/ 808 w 10000"/>
                <a:gd name="connsiteY841" fmla="*/ 9617 h 10000"/>
                <a:gd name="connsiteX842" fmla="*/ 843 w 10000"/>
                <a:gd name="connsiteY842" fmla="*/ 9624 h 10000"/>
                <a:gd name="connsiteX843" fmla="*/ 884 w 10000"/>
                <a:gd name="connsiteY843" fmla="*/ 9628 h 10000"/>
                <a:gd name="connsiteX844" fmla="*/ 902 w 10000"/>
                <a:gd name="connsiteY844" fmla="*/ 9628 h 10000"/>
                <a:gd name="connsiteX845" fmla="*/ 914 w 10000"/>
                <a:gd name="connsiteY845" fmla="*/ 9631 h 10000"/>
                <a:gd name="connsiteX846" fmla="*/ 932 w 10000"/>
                <a:gd name="connsiteY846" fmla="*/ 9638 h 10000"/>
                <a:gd name="connsiteX847" fmla="*/ 942 w 10000"/>
                <a:gd name="connsiteY847" fmla="*/ 9642 h 10000"/>
                <a:gd name="connsiteX848" fmla="*/ 967 w 10000"/>
                <a:gd name="connsiteY848" fmla="*/ 9652 h 10000"/>
                <a:gd name="connsiteX849" fmla="*/ 987 w 10000"/>
                <a:gd name="connsiteY849" fmla="*/ 9668 h 10000"/>
                <a:gd name="connsiteX850" fmla="*/ 1005 w 10000"/>
                <a:gd name="connsiteY850" fmla="*/ 9682 h 10000"/>
                <a:gd name="connsiteX851" fmla="*/ 1025 w 10000"/>
                <a:gd name="connsiteY851" fmla="*/ 9698 h 10000"/>
                <a:gd name="connsiteX852" fmla="*/ 1045 w 10000"/>
                <a:gd name="connsiteY852" fmla="*/ 9712 h 10000"/>
                <a:gd name="connsiteX853" fmla="*/ 1073 w 10000"/>
                <a:gd name="connsiteY853" fmla="*/ 9724 h 10000"/>
                <a:gd name="connsiteX854" fmla="*/ 1098 w 10000"/>
                <a:gd name="connsiteY854" fmla="*/ 9738 h 10000"/>
                <a:gd name="connsiteX855" fmla="*/ 1121 w 10000"/>
                <a:gd name="connsiteY855" fmla="*/ 9750 h 10000"/>
                <a:gd name="connsiteX856" fmla="*/ 1141 w 10000"/>
                <a:gd name="connsiteY856" fmla="*/ 9762 h 10000"/>
                <a:gd name="connsiteX857" fmla="*/ 1159 w 10000"/>
                <a:gd name="connsiteY857" fmla="*/ 9776 h 10000"/>
                <a:gd name="connsiteX858" fmla="*/ 1172 w 10000"/>
                <a:gd name="connsiteY858" fmla="*/ 9787 h 10000"/>
                <a:gd name="connsiteX859" fmla="*/ 1182 w 10000"/>
                <a:gd name="connsiteY859" fmla="*/ 9804 h 10000"/>
                <a:gd name="connsiteX860" fmla="*/ 1194 w 10000"/>
                <a:gd name="connsiteY860" fmla="*/ 9818 h 10000"/>
                <a:gd name="connsiteX861" fmla="*/ 1202 w 10000"/>
                <a:gd name="connsiteY861" fmla="*/ 9834 h 10000"/>
                <a:gd name="connsiteX862" fmla="*/ 1212 w 10000"/>
                <a:gd name="connsiteY862" fmla="*/ 9869 h 10000"/>
                <a:gd name="connsiteX863" fmla="*/ 1220 w 10000"/>
                <a:gd name="connsiteY863" fmla="*/ 9906 h 10000"/>
                <a:gd name="connsiteX864" fmla="*/ 1230 w 10000"/>
                <a:gd name="connsiteY864" fmla="*/ 9951 h 10000"/>
                <a:gd name="connsiteX865" fmla="*/ 1237 w 10000"/>
                <a:gd name="connsiteY865" fmla="*/ 10000 h 10000"/>
                <a:gd name="connsiteX866" fmla="*/ 1237 w 10000"/>
                <a:gd name="connsiteY86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621 w 10000"/>
                <a:gd name="connsiteY728" fmla="*/ 7415 h 10000"/>
                <a:gd name="connsiteX729" fmla="*/ 2167 w 10000"/>
                <a:gd name="connsiteY729" fmla="*/ 7742 h 10000"/>
                <a:gd name="connsiteX730" fmla="*/ 2159 w 10000"/>
                <a:gd name="connsiteY730" fmla="*/ 7833 h 10000"/>
                <a:gd name="connsiteX731" fmla="*/ 2157 w 10000"/>
                <a:gd name="connsiteY731" fmla="*/ 7882 h 10000"/>
                <a:gd name="connsiteX732" fmla="*/ 2157 w 10000"/>
                <a:gd name="connsiteY732" fmla="*/ 7938 h 10000"/>
                <a:gd name="connsiteX733" fmla="*/ 2159 w 10000"/>
                <a:gd name="connsiteY733" fmla="*/ 8006 h 10000"/>
                <a:gd name="connsiteX734" fmla="*/ 2162 w 10000"/>
                <a:gd name="connsiteY734" fmla="*/ 8079 h 10000"/>
                <a:gd name="connsiteX735" fmla="*/ 2159 w 10000"/>
                <a:gd name="connsiteY735" fmla="*/ 8156 h 10000"/>
                <a:gd name="connsiteX736" fmla="*/ 2157 w 10000"/>
                <a:gd name="connsiteY736" fmla="*/ 8193 h 10000"/>
                <a:gd name="connsiteX737" fmla="*/ 2154 w 10000"/>
                <a:gd name="connsiteY737" fmla="*/ 8228 h 10000"/>
                <a:gd name="connsiteX738" fmla="*/ 2146 w 10000"/>
                <a:gd name="connsiteY738" fmla="*/ 8261 h 10000"/>
                <a:gd name="connsiteX739" fmla="*/ 2136 w 10000"/>
                <a:gd name="connsiteY739" fmla="*/ 8291 h 10000"/>
                <a:gd name="connsiteX740" fmla="*/ 2124 w 10000"/>
                <a:gd name="connsiteY740" fmla="*/ 8319 h 10000"/>
                <a:gd name="connsiteX741" fmla="*/ 2109 w 10000"/>
                <a:gd name="connsiteY741" fmla="*/ 8345 h 10000"/>
                <a:gd name="connsiteX742" fmla="*/ 2098 w 10000"/>
                <a:gd name="connsiteY742" fmla="*/ 8354 h 10000"/>
                <a:gd name="connsiteX743" fmla="*/ 2088 w 10000"/>
                <a:gd name="connsiteY743" fmla="*/ 8364 h 10000"/>
                <a:gd name="connsiteX744" fmla="*/ 2078 w 10000"/>
                <a:gd name="connsiteY744" fmla="*/ 8373 h 10000"/>
                <a:gd name="connsiteX745" fmla="*/ 2063 w 10000"/>
                <a:gd name="connsiteY745" fmla="*/ 8380 h 10000"/>
                <a:gd name="connsiteX746" fmla="*/ 1990 w 10000"/>
                <a:gd name="connsiteY746" fmla="*/ 8422 h 10000"/>
                <a:gd name="connsiteX747" fmla="*/ 1904 w 10000"/>
                <a:gd name="connsiteY747" fmla="*/ 8481 h 10000"/>
                <a:gd name="connsiteX748" fmla="*/ 1856 w 10000"/>
                <a:gd name="connsiteY748" fmla="*/ 8506 h 10000"/>
                <a:gd name="connsiteX749" fmla="*/ 1816 w 10000"/>
                <a:gd name="connsiteY749" fmla="*/ 8527 h 10000"/>
                <a:gd name="connsiteX750" fmla="*/ 1793 w 10000"/>
                <a:gd name="connsiteY750" fmla="*/ 8539 h 10000"/>
                <a:gd name="connsiteX751" fmla="*/ 1775 w 10000"/>
                <a:gd name="connsiteY751" fmla="*/ 8546 h 10000"/>
                <a:gd name="connsiteX752" fmla="*/ 1758 w 10000"/>
                <a:gd name="connsiteY752" fmla="*/ 8548 h 10000"/>
                <a:gd name="connsiteX753" fmla="*/ 1742 w 10000"/>
                <a:gd name="connsiteY753" fmla="*/ 8551 h 10000"/>
                <a:gd name="connsiteX754" fmla="*/ 1727 w 10000"/>
                <a:gd name="connsiteY754" fmla="*/ 8537 h 10000"/>
                <a:gd name="connsiteX755" fmla="*/ 1717 w 10000"/>
                <a:gd name="connsiteY755" fmla="*/ 8518 h 10000"/>
                <a:gd name="connsiteX756" fmla="*/ 1684 w 10000"/>
                <a:gd name="connsiteY756" fmla="*/ 8429 h 10000"/>
                <a:gd name="connsiteX757" fmla="*/ 1525 w 10000"/>
                <a:gd name="connsiteY757" fmla="*/ 8186 h 10000"/>
                <a:gd name="connsiteX758" fmla="*/ 1500 w 10000"/>
                <a:gd name="connsiteY758" fmla="*/ 8191 h 10000"/>
                <a:gd name="connsiteX759" fmla="*/ 1472 w 10000"/>
                <a:gd name="connsiteY759" fmla="*/ 8198 h 10000"/>
                <a:gd name="connsiteX760" fmla="*/ 1434 w 10000"/>
                <a:gd name="connsiteY760" fmla="*/ 8223 h 10000"/>
                <a:gd name="connsiteX761" fmla="*/ 1149 w 10000"/>
                <a:gd name="connsiteY761" fmla="*/ 8256 h 10000"/>
                <a:gd name="connsiteX762" fmla="*/ 1139 w 10000"/>
                <a:gd name="connsiteY762" fmla="*/ 8249 h 10000"/>
                <a:gd name="connsiteX763" fmla="*/ 1126 w 10000"/>
                <a:gd name="connsiteY763" fmla="*/ 8240 h 10000"/>
                <a:gd name="connsiteX764" fmla="*/ 1114 w 10000"/>
                <a:gd name="connsiteY764" fmla="*/ 8240 h 10000"/>
                <a:gd name="connsiteX765" fmla="*/ 1091 w 10000"/>
                <a:gd name="connsiteY765" fmla="*/ 8242 h 10000"/>
                <a:gd name="connsiteX766" fmla="*/ 1071 w 10000"/>
                <a:gd name="connsiteY766" fmla="*/ 8252 h 10000"/>
                <a:gd name="connsiteX767" fmla="*/ 1048 w 10000"/>
                <a:gd name="connsiteY767" fmla="*/ 8261 h 10000"/>
                <a:gd name="connsiteX768" fmla="*/ 1030 w 10000"/>
                <a:gd name="connsiteY768" fmla="*/ 8273 h 10000"/>
                <a:gd name="connsiteX769" fmla="*/ 1010 w 10000"/>
                <a:gd name="connsiteY769" fmla="*/ 8287 h 10000"/>
                <a:gd name="connsiteX770" fmla="*/ 995 w 10000"/>
                <a:gd name="connsiteY770" fmla="*/ 8303 h 10000"/>
                <a:gd name="connsiteX771" fmla="*/ 975 w 10000"/>
                <a:gd name="connsiteY771" fmla="*/ 8322 h 10000"/>
                <a:gd name="connsiteX772" fmla="*/ 960 w 10000"/>
                <a:gd name="connsiteY772" fmla="*/ 8343 h 10000"/>
                <a:gd name="connsiteX773" fmla="*/ 927 w 10000"/>
                <a:gd name="connsiteY773" fmla="*/ 8380 h 10000"/>
                <a:gd name="connsiteX774" fmla="*/ 891 w 10000"/>
                <a:gd name="connsiteY774" fmla="*/ 8417 h 10000"/>
                <a:gd name="connsiteX775" fmla="*/ 874 w 10000"/>
                <a:gd name="connsiteY775" fmla="*/ 8436 h 10000"/>
                <a:gd name="connsiteX776" fmla="*/ 859 w 10000"/>
                <a:gd name="connsiteY776" fmla="*/ 8450 h 10000"/>
                <a:gd name="connsiteX777" fmla="*/ 838 w 10000"/>
                <a:gd name="connsiteY777" fmla="*/ 8462 h 10000"/>
                <a:gd name="connsiteX778" fmla="*/ 821 w 10000"/>
                <a:gd name="connsiteY778" fmla="*/ 8476 h 10000"/>
                <a:gd name="connsiteX779" fmla="*/ 742 w 10000"/>
                <a:gd name="connsiteY779" fmla="*/ 8562 h 10000"/>
                <a:gd name="connsiteX780" fmla="*/ 672 w 10000"/>
                <a:gd name="connsiteY780" fmla="*/ 8644 h 10000"/>
                <a:gd name="connsiteX781" fmla="*/ 639 w 10000"/>
                <a:gd name="connsiteY781" fmla="*/ 8684 h 10000"/>
                <a:gd name="connsiteX782" fmla="*/ 609 w 10000"/>
                <a:gd name="connsiteY782" fmla="*/ 8731 h 10000"/>
                <a:gd name="connsiteX783" fmla="*/ 583 w 10000"/>
                <a:gd name="connsiteY783" fmla="*/ 8777 h 10000"/>
                <a:gd name="connsiteX784" fmla="*/ 556 w 10000"/>
                <a:gd name="connsiteY784" fmla="*/ 8831 h 10000"/>
                <a:gd name="connsiteX785" fmla="*/ 545 w 10000"/>
                <a:gd name="connsiteY785" fmla="*/ 8852 h 10000"/>
                <a:gd name="connsiteX786" fmla="*/ 525 w 10000"/>
                <a:gd name="connsiteY786" fmla="*/ 8885 h 10000"/>
                <a:gd name="connsiteX787" fmla="*/ 503 w 10000"/>
                <a:gd name="connsiteY787" fmla="*/ 8925 h 10000"/>
                <a:gd name="connsiteX788" fmla="*/ 480 w 10000"/>
                <a:gd name="connsiteY788" fmla="*/ 8962 h 10000"/>
                <a:gd name="connsiteX789" fmla="*/ 465 w 10000"/>
                <a:gd name="connsiteY789" fmla="*/ 8981 h 10000"/>
                <a:gd name="connsiteX790" fmla="*/ 455 w 10000"/>
                <a:gd name="connsiteY790" fmla="*/ 8993 h 10000"/>
                <a:gd name="connsiteX791" fmla="*/ 444 w 10000"/>
                <a:gd name="connsiteY791" fmla="*/ 9000 h 10000"/>
                <a:gd name="connsiteX792" fmla="*/ 434 w 10000"/>
                <a:gd name="connsiteY792" fmla="*/ 9007 h 10000"/>
                <a:gd name="connsiteX793" fmla="*/ 432 w 10000"/>
                <a:gd name="connsiteY793" fmla="*/ 9007 h 10000"/>
                <a:gd name="connsiteX794" fmla="*/ 429 w 10000"/>
                <a:gd name="connsiteY794" fmla="*/ 9004 h 10000"/>
                <a:gd name="connsiteX795" fmla="*/ 427 w 10000"/>
                <a:gd name="connsiteY795" fmla="*/ 8997 h 10000"/>
                <a:gd name="connsiteX796" fmla="*/ 427 w 10000"/>
                <a:gd name="connsiteY796" fmla="*/ 8993 h 10000"/>
                <a:gd name="connsiteX797" fmla="*/ 424 w 10000"/>
                <a:gd name="connsiteY797" fmla="*/ 8976 h 10000"/>
                <a:gd name="connsiteX798" fmla="*/ 427 w 10000"/>
                <a:gd name="connsiteY798" fmla="*/ 8948 h 10000"/>
                <a:gd name="connsiteX799" fmla="*/ 437 w 10000"/>
                <a:gd name="connsiteY799" fmla="*/ 8913 h 10000"/>
                <a:gd name="connsiteX800" fmla="*/ 455 w 10000"/>
                <a:gd name="connsiteY800" fmla="*/ 8859 h 10000"/>
                <a:gd name="connsiteX801" fmla="*/ 462 w 10000"/>
                <a:gd name="connsiteY801" fmla="*/ 8834 h 10000"/>
                <a:gd name="connsiteX802" fmla="*/ 470 w 10000"/>
                <a:gd name="connsiteY802" fmla="*/ 8810 h 10000"/>
                <a:gd name="connsiteX803" fmla="*/ 472 w 10000"/>
                <a:gd name="connsiteY803" fmla="*/ 8794 h 10000"/>
                <a:gd name="connsiteX804" fmla="*/ 472 w 10000"/>
                <a:gd name="connsiteY804" fmla="*/ 8780 h 10000"/>
                <a:gd name="connsiteX805" fmla="*/ 462 w 10000"/>
                <a:gd name="connsiteY805" fmla="*/ 8784 h 10000"/>
                <a:gd name="connsiteX806" fmla="*/ 452 w 10000"/>
                <a:gd name="connsiteY806" fmla="*/ 8787 h 10000"/>
                <a:gd name="connsiteX807" fmla="*/ 437 w 10000"/>
                <a:gd name="connsiteY807" fmla="*/ 8794 h 10000"/>
                <a:gd name="connsiteX808" fmla="*/ 424 w 10000"/>
                <a:gd name="connsiteY808" fmla="*/ 8803 h 10000"/>
                <a:gd name="connsiteX809" fmla="*/ 394 w 10000"/>
                <a:gd name="connsiteY809" fmla="*/ 8829 h 10000"/>
                <a:gd name="connsiteX810" fmla="*/ 364 w 10000"/>
                <a:gd name="connsiteY810" fmla="*/ 8859 h 10000"/>
                <a:gd name="connsiteX811" fmla="*/ 311 w 10000"/>
                <a:gd name="connsiteY811" fmla="*/ 8922 h 10000"/>
                <a:gd name="connsiteX812" fmla="*/ 268 w 10000"/>
                <a:gd name="connsiteY812" fmla="*/ 8964 h 10000"/>
                <a:gd name="connsiteX813" fmla="*/ 205 w 10000"/>
                <a:gd name="connsiteY813" fmla="*/ 9016 h 10000"/>
                <a:gd name="connsiteX814" fmla="*/ 146 w 10000"/>
                <a:gd name="connsiteY814" fmla="*/ 9053 h 10000"/>
                <a:gd name="connsiteX815" fmla="*/ 139 w 10000"/>
                <a:gd name="connsiteY815" fmla="*/ 9063 h 10000"/>
                <a:gd name="connsiteX816" fmla="*/ 129 w 10000"/>
                <a:gd name="connsiteY816" fmla="*/ 9077 h 10000"/>
                <a:gd name="connsiteX817" fmla="*/ 126 w 10000"/>
                <a:gd name="connsiteY817" fmla="*/ 9086 h 10000"/>
                <a:gd name="connsiteX818" fmla="*/ 126 w 10000"/>
                <a:gd name="connsiteY818" fmla="*/ 9102 h 10000"/>
                <a:gd name="connsiteX819" fmla="*/ 129 w 10000"/>
                <a:gd name="connsiteY819" fmla="*/ 9116 h 10000"/>
                <a:gd name="connsiteX820" fmla="*/ 139 w 10000"/>
                <a:gd name="connsiteY820" fmla="*/ 9135 h 10000"/>
                <a:gd name="connsiteX821" fmla="*/ 149 w 10000"/>
                <a:gd name="connsiteY821" fmla="*/ 9151 h 10000"/>
                <a:gd name="connsiteX822" fmla="*/ 164 w 10000"/>
                <a:gd name="connsiteY822" fmla="*/ 9175 h 10000"/>
                <a:gd name="connsiteX823" fmla="*/ 184 w 10000"/>
                <a:gd name="connsiteY823" fmla="*/ 9196 h 10000"/>
                <a:gd name="connsiteX824" fmla="*/ 207 w 10000"/>
                <a:gd name="connsiteY824" fmla="*/ 9215 h 10000"/>
                <a:gd name="connsiteX825" fmla="*/ 227 w 10000"/>
                <a:gd name="connsiteY825" fmla="*/ 9233 h 10000"/>
                <a:gd name="connsiteX826" fmla="*/ 253 w 10000"/>
                <a:gd name="connsiteY826" fmla="*/ 9250 h 10000"/>
                <a:gd name="connsiteX827" fmla="*/ 303 w 10000"/>
                <a:gd name="connsiteY827" fmla="*/ 9282 h 10000"/>
                <a:gd name="connsiteX828" fmla="*/ 351 w 10000"/>
                <a:gd name="connsiteY828" fmla="*/ 9315 h 10000"/>
                <a:gd name="connsiteX829" fmla="*/ 414 w 10000"/>
                <a:gd name="connsiteY829" fmla="*/ 9364 h 10000"/>
                <a:gd name="connsiteX830" fmla="*/ 480 w 10000"/>
                <a:gd name="connsiteY830" fmla="*/ 9416 h 10000"/>
                <a:gd name="connsiteX831" fmla="*/ 513 w 10000"/>
                <a:gd name="connsiteY831" fmla="*/ 9437 h 10000"/>
                <a:gd name="connsiteX832" fmla="*/ 548 w 10000"/>
                <a:gd name="connsiteY832" fmla="*/ 9462 h 10000"/>
                <a:gd name="connsiteX833" fmla="*/ 581 w 10000"/>
                <a:gd name="connsiteY833" fmla="*/ 9483 h 10000"/>
                <a:gd name="connsiteX834" fmla="*/ 614 w 10000"/>
                <a:gd name="connsiteY834" fmla="*/ 9502 h 10000"/>
                <a:gd name="connsiteX835" fmla="*/ 641 w 10000"/>
                <a:gd name="connsiteY835" fmla="*/ 9525 h 10000"/>
                <a:gd name="connsiteX836" fmla="*/ 672 w 10000"/>
                <a:gd name="connsiteY836" fmla="*/ 9549 h 10000"/>
                <a:gd name="connsiteX837" fmla="*/ 702 w 10000"/>
                <a:gd name="connsiteY837" fmla="*/ 9568 h 10000"/>
                <a:gd name="connsiteX838" fmla="*/ 737 w 10000"/>
                <a:gd name="connsiteY838" fmla="*/ 9589 h 10000"/>
                <a:gd name="connsiteX839" fmla="*/ 770 w 10000"/>
                <a:gd name="connsiteY839" fmla="*/ 9605 h 10000"/>
                <a:gd name="connsiteX840" fmla="*/ 808 w 10000"/>
                <a:gd name="connsiteY840" fmla="*/ 9617 h 10000"/>
                <a:gd name="connsiteX841" fmla="*/ 843 w 10000"/>
                <a:gd name="connsiteY841" fmla="*/ 9624 h 10000"/>
                <a:gd name="connsiteX842" fmla="*/ 884 w 10000"/>
                <a:gd name="connsiteY842" fmla="*/ 9628 h 10000"/>
                <a:gd name="connsiteX843" fmla="*/ 902 w 10000"/>
                <a:gd name="connsiteY843" fmla="*/ 9628 h 10000"/>
                <a:gd name="connsiteX844" fmla="*/ 914 w 10000"/>
                <a:gd name="connsiteY844" fmla="*/ 9631 h 10000"/>
                <a:gd name="connsiteX845" fmla="*/ 932 w 10000"/>
                <a:gd name="connsiteY845" fmla="*/ 9638 h 10000"/>
                <a:gd name="connsiteX846" fmla="*/ 942 w 10000"/>
                <a:gd name="connsiteY846" fmla="*/ 9642 h 10000"/>
                <a:gd name="connsiteX847" fmla="*/ 967 w 10000"/>
                <a:gd name="connsiteY847" fmla="*/ 9652 h 10000"/>
                <a:gd name="connsiteX848" fmla="*/ 987 w 10000"/>
                <a:gd name="connsiteY848" fmla="*/ 9668 h 10000"/>
                <a:gd name="connsiteX849" fmla="*/ 1005 w 10000"/>
                <a:gd name="connsiteY849" fmla="*/ 9682 h 10000"/>
                <a:gd name="connsiteX850" fmla="*/ 1025 w 10000"/>
                <a:gd name="connsiteY850" fmla="*/ 9698 h 10000"/>
                <a:gd name="connsiteX851" fmla="*/ 1045 w 10000"/>
                <a:gd name="connsiteY851" fmla="*/ 9712 h 10000"/>
                <a:gd name="connsiteX852" fmla="*/ 1073 w 10000"/>
                <a:gd name="connsiteY852" fmla="*/ 9724 h 10000"/>
                <a:gd name="connsiteX853" fmla="*/ 1098 w 10000"/>
                <a:gd name="connsiteY853" fmla="*/ 9738 h 10000"/>
                <a:gd name="connsiteX854" fmla="*/ 1121 w 10000"/>
                <a:gd name="connsiteY854" fmla="*/ 9750 h 10000"/>
                <a:gd name="connsiteX855" fmla="*/ 1141 w 10000"/>
                <a:gd name="connsiteY855" fmla="*/ 9762 h 10000"/>
                <a:gd name="connsiteX856" fmla="*/ 1159 w 10000"/>
                <a:gd name="connsiteY856" fmla="*/ 9776 h 10000"/>
                <a:gd name="connsiteX857" fmla="*/ 1172 w 10000"/>
                <a:gd name="connsiteY857" fmla="*/ 9787 h 10000"/>
                <a:gd name="connsiteX858" fmla="*/ 1182 w 10000"/>
                <a:gd name="connsiteY858" fmla="*/ 9804 h 10000"/>
                <a:gd name="connsiteX859" fmla="*/ 1194 w 10000"/>
                <a:gd name="connsiteY859" fmla="*/ 9818 h 10000"/>
                <a:gd name="connsiteX860" fmla="*/ 1202 w 10000"/>
                <a:gd name="connsiteY860" fmla="*/ 9834 h 10000"/>
                <a:gd name="connsiteX861" fmla="*/ 1212 w 10000"/>
                <a:gd name="connsiteY861" fmla="*/ 9869 h 10000"/>
                <a:gd name="connsiteX862" fmla="*/ 1220 w 10000"/>
                <a:gd name="connsiteY862" fmla="*/ 9906 h 10000"/>
                <a:gd name="connsiteX863" fmla="*/ 1230 w 10000"/>
                <a:gd name="connsiteY863" fmla="*/ 9951 h 10000"/>
                <a:gd name="connsiteX864" fmla="*/ 1237 w 10000"/>
                <a:gd name="connsiteY864" fmla="*/ 10000 h 10000"/>
                <a:gd name="connsiteX865" fmla="*/ 1237 w 10000"/>
                <a:gd name="connsiteY86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611 w 10000"/>
                <a:gd name="connsiteY727" fmla="*/ 7412 h 10000"/>
                <a:gd name="connsiteX728" fmla="*/ 2167 w 10000"/>
                <a:gd name="connsiteY728" fmla="*/ 7742 h 10000"/>
                <a:gd name="connsiteX729" fmla="*/ 2159 w 10000"/>
                <a:gd name="connsiteY729" fmla="*/ 7833 h 10000"/>
                <a:gd name="connsiteX730" fmla="*/ 2157 w 10000"/>
                <a:gd name="connsiteY730" fmla="*/ 7882 h 10000"/>
                <a:gd name="connsiteX731" fmla="*/ 2157 w 10000"/>
                <a:gd name="connsiteY731" fmla="*/ 7938 h 10000"/>
                <a:gd name="connsiteX732" fmla="*/ 2159 w 10000"/>
                <a:gd name="connsiteY732" fmla="*/ 8006 h 10000"/>
                <a:gd name="connsiteX733" fmla="*/ 2162 w 10000"/>
                <a:gd name="connsiteY733" fmla="*/ 8079 h 10000"/>
                <a:gd name="connsiteX734" fmla="*/ 2159 w 10000"/>
                <a:gd name="connsiteY734" fmla="*/ 8156 h 10000"/>
                <a:gd name="connsiteX735" fmla="*/ 2157 w 10000"/>
                <a:gd name="connsiteY735" fmla="*/ 8193 h 10000"/>
                <a:gd name="connsiteX736" fmla="*/ 2154 w 10000"/>
                <a:gd name="connsiteY736" fmla="*/ 8228 h 10000"/>
                <a:gd name="connsiteX737" fmla="*/ 2146 w 10000"/>
                <a:gd name="connsiteY737" fmla="*/ 8261 h 10000"/>
                <a:gd name="connsiteX738" fmla="*/ 2136 w 10000"/>
                <a:gd name="connsiteY738" fmla="*/ 8291 h 10000"/>
                <a:gd name="connsiteX739" fmla="*/ 2124 w 10000"/>
                <a:gd name="connsiteY739" fmla="*/ 8319 h 10000"/>
                <a:gd name="connsiteX740" fmla="*/ 2109 w 10000"/>
                <a:gd name="connsiteY740" fmla="*/ 8345 h 10000"/>
                <a:gd name="connsiteX741" fmla="*/ 2098 w 10000"/>
                <a:gd name="connsiteY741" fmla="*/ 8354 h 10000"/>
                <a:gd name="connsiteX742" fmla="*/ 2088 w 10000"/>
                <a:gd name="connsiteY742" fmla="*/ 8364 h 10000"/>
                <a:gd name="connsiteX743" fmla="*/ 2078 w 10000"/>
                <a:gd name="connsiteY743" fmla="*/ 8373 h 10000"/>
                <a:gd name="connsiteX744" fmla="*/ 2063 w 10000"/>
                <a:gd name="connsiteY744" fmla="*/ 8380 h 10000"/>
                <a:gd name="connsiteX745" fmla="*/ 1990 w 10000"/>
                <a:gd name="connsiteY745" fmla="*/ 8422 h 10000"/>
                <a:gd name="connsiteX746" fmla="*/ 1904 w 10000"/>
                <a:gd name="connsiteY746" fmla="*/ 8481 h 10000"/>
                <a:gd name="connsiteX747" fmla="*/ 1856 w 10000"/>
                <a:gd name="connsiteY747" fmla="*/ 8506 h 10000"/>
                <a:gd name="connsiteX748" fmla="*/ 1816 w 10000"/>
                <a:gd name="connsiteY748" fmla="*/ 8527 h 10000"/>
                <a:gd name="connsiteX749" fmla="*/ 1793 w 10000"/>
                <a:gd name="connsiteY749" fmla="*/ 8539 h 10000"/>
                <a:gd name="connsiteX750" fmla="*/ 1775 w 10000"/>
                <a:gd name="connsiteY750" fmla="*/ 8546 h 10000"/>
                <a:gd name="connsiteX751" fmla="*/ 1758 w 10000"/>
                <a:gd name="connsiteY751" fmla="*/ 8548 h 10000"/>
                <a:gd name="connsiteX752" fmla="*/ 1742 w 10000"/>
                <a:gd name="connsiteY752" fmla="*/ 8551 h 10000"/>
                <a:gd name="connsiteX753" fmla="*/ 1727 w 10000"/>
                <a:gd name="connsiteY753" fmla="*/ 8537 h 10000"/>
                <a:gd name="connsiteX754" fmla="*/ 1717 w 10000"/>
                <a:gd name="connsiteY754" fmla="*/ 8518 h 10000"/>
                <a:gd name="connsiteX755" fmla="*/ 1684 w 10000"/>
                <a:gd name="connsiteY755" fmla="*/ 8429 h 10000"/>
                <a:gd name="connsiteX756" fmla="*/ 1525 w 10000"/>
                <a:gd name="connsiteY756" fmla="*/ 8186 h 10000"/>
                <a:gd name="connsiteX757" fmla="*/ 1500 w 10000"/>
                <a:gd name="connsiteY757" fmla="*/ 8191 h 10000"/>
                <a:gd name="connsiteX758" fmla="*/ 1472 w 10000"/>
                <a:gd name="connsiteY758" fmla="*/ 8198 h 10000"/>
                <a:gd name="connsiteX759" fmla="*/ 1434 w 10000"/>
                <a:gd name="connsiteY759" fmla="*/ 8223 h 10000"/>
                <a:gd name="connsiteX760" fmla="*/ 1149 w 10000"/>
                <a:gd name="connsiteY760" fmla="*/ 8256 h 10000"/>
                <a:gd name="connsiteX761" fmla="*/ 1139 w 10000"/>
                <a:gd name="connsiteY761" fmla="*/ 8249 h 10000"/>
                <a:gd name="connsiteX762" fmla="*/ 1126 w 10000"/>
                <a:gd name="connsiteY762" fmla="*/ 8240 h 10000"/>
                <a:gd name="connsiteX763" fmla="*/ 1114 w 10000"/>
                <a:gd name="connsiteY763" fmla="*/ 8240 h 10000"/>
                <a:gd name="connsiteX764" fmla="*/ 1091 w 10000"/>
                <a:gd name="connsiteY764" fmla="*/ 8242 h 10000"/>
                <a:gd name="connsiteX765" fmla="*/ 1071 w 10000"/>
                <a:gd name="connsiteY765" fmla="*/ 8252 h 10000"/>
                <a:gd name="connsiteX766" fmla="*/ 1048 w 10000"/>
                <a:gd name="connsiteY766" fmla="*/ 8261 h 10000"/>
                <a:gd name="connsiteX767" fmla="*/ 1030 w 10000"/>
                <a:gd name="connsiteY767" fmla="*/ 8273 h 10000"/>
                <a:gd name="connsiteX768" fmla="*/ 1010 w 10000"/>
                <a:gd name="connsiteY768" fmla="*/ 8287 h 10000"/>
                <a:gd name="connsiteX769" fmla="*/ 995 w 10000"/>
                <a:gd name="connsiteY769" fmla="*/ 8303 h 10000"/>
                <a:gd name="connsiteX770" fmla="*/ 975 w 10000"/>
                <a:gd name="connsiteY770" fmla="*/ 8322 h 10000"/>
                <a:gd name="connsiteX771" fmla="*/ 960 w 10000"/>
                <a:gd name="connsiteY771" fmla="*/ 8343 h 10000"/>
                <a:gd name="connsiteX772" fmla="*/ 927 w 10000"/>
                <a:gd name="connsiteY772" fmla="*/ 8380 h 10000"/>
                <a:gd name="connsiteX773" fmla="*/ 891 w 10000"/>
                <a:gd name="connsiteY773" fmla="*/ 8417 h 10000"/>
                <a:gd name="connsiteX774" fmla="*/ 874 w 10000"/>
                <a:gd name="connsiteY774" fmla="*/ 8436 h 10000"/>
                <a:gd name="connsiteX775" fmla="*/ 859 w 10000"/>
                <a:gd name="connsiteY775" fmla="*/ 8450 h 10000"/>
                <a:gd name="connsiteX776" fmla="*/ 838 w 10000"/>
                <a:gd name="connsiteY776" fmla="*/ 8462 h 10000"/>
                <a:gd name="connsiteX777" fmla="*/ 821 w 10000"/>
                <a:gd name="connsiteY777" fmla="*/ 8476 h 10000"/>
                <a:gd name="connsiteX778" fmla="*/ 742 w 10000"/>
                <a:gd name="connsiteY778" fmla="*/ 8562 h 10000"/>
                <a:gd name="connsiteX779" fmla="*/ 672 w 10000"/>
                <a:gd name="connsiteY779" fmla="*/ 8644 h 10000"/>
                <a:gd name="connsiteX780" fmla="*/ 639 w 10000"/>
                <a:gd name="connsiteY780" fmla="*/ 8684 h 10000"/>
                <a:gd name="connsiteX781" fmla="*/ 609 w 10000"/>
                <a:gd name="connsiteY781" fmla="*/ 8731 h 10000"/>
                <a:gd name="connsiteX782" fmla="*/ 583 w 10000"/>
                <a:gd name="connsiteY782" fmla="*/ 8777 h 10000"/>
                <a:gd name="connsiteX783" fmla="*/ 556 w 10000"/>
                <a:gd name="connsiteY783" fmla="*/ 8831 h 10000"/>
                <a:gd name="connsiteX784" fmla="*/ 545 w 10000"/>
                <a:gd name="connsiteY784" fmla="*/ 8852 h 10000"/>
                <a:gd name="connsiteX785" fmla="*/ 525 w 10000"/>
                <a:gd name="connsiteY785" fmla="*/ 8885 h 10000"/>
                <a:gd name="connsiteX786" fmla="*/ 503 w 10000"/>
                <a:gd name="connsiteY786" fmla="*/ 8925 h 10000"/>
                <a:gd name="connsiteX787" fmla="*/ 480 w 10000"/>
                <a:gd name="connsiteY787" fmla="*/ 8962 h 10000"/>
                <a:gd name="connsiteX788" fmla="*/ 465 w 10000"/>
                <a:gd name="connsiteY788" fmla="*/ 8981 h 10000"/>
                <a:gd name="connsiteX789" fmla="*/ 455 w 10000"/>
                <a:gd name="connsiteY789" fmla="*/ 8993 h 10000"/>
                <a:gd name="connsiteX790" fmla="*/ 444 w 10000"/>
                <a:gd name="connsiteY790" fmla="*/ 9000 h 10000"/>
                <a:gd name="connsiteX791" fmla="*/ 434 w 10000"/>
                <a:gd name="connsiteY791" fmla="*/ 9007 h 10000"/>
                <a:gd name="connsiteX792" fmla="*/ 432 w 10000"/>
                <a:gd name="connsiteY792" fmla="*/ 9007 h 10000"/>
                <a:gd name="connsiteX793" fmla="*/ 429 w 10000"/>
                <a:gd name="connsiteY793" fmla="*/ 9004 h 10000"/>
                <a:gd name="connsiteX794" fmla="*/ 427 w 10000"/>
                <a:gd name="connsiteY794" fmla="*/ 8997 h 10000"/>
                <a:gd name="connsiteX795" fmla="*/ 427 w 10000"/>
                <a:gd name="connsiteY795" fmla="*/ 8993 h 10000"/>
                <a:gd name="connsiteX796" fmla="*/ 424 w 10000"/>
                <a:gd name="connsiteY796" fmla="*/ 8976 h 10000"/>
                <a:gd name="connsiteX797" fmla="*/ 427 w 10000"/>
                <a:gd name="connsiteY797" fmla="*/ 8948 h 10000"/>
                <a:gd name="connsiteX798" fmla="*/ 437 w 10000"/>
                <a:gd name="connsiteY798" fmla="*/ 8913 h 10000"/>
                <a:gd name="connsiteX799" fmla="*/ 455 w 10000"/>
                <a:gd name="connsiteY799" fmla="*/ 8859 h 10000"/>
                <a:gd name="connsiteX800" fmla="*/ 462 w 10000"/>
                <a:gd name="connsiteY800" fmla="*/ 8834 h 10000"/>
                <a:gd name="connsiteX801" fmla="*/ 470 w 10000"/>
                <a:gd name="connsiteY801" fmla="*/ 8810 h 10000"/>
                <a:gd name="connsiteX802" fmla="*/ 472 w 10000"/>
                <a:gd name="connsiteY802" fmla="*/ 8794 h 10000"/>
                <a:gd name="connsiteX803" fmla="*/ 472 w 10000"/>
                <a:gd name="connsiteY803" fmla="*/ 8780 h 10000"/>
                <a:gd name="connsiteX804" fmla="*/ 462 w 10000"/>
                <a:gd name="connsiteY804" fmla="*/ 8784 h 10000"/>
                <a:gd name="connsiteX805" fmla="*/ 452 w 10000"/>
                <a:gd name="connsiteY805" fmla="*/ 8787 h 10000"/>
                <a:gd name="connsiteX806" fmla="*/ 437 w 10000"/>
                <a:gd name="connsiteY806" fmla="*/ 8794 h 10000"/>
                <a:gd name="connsiteX807" fmla="*/ 424 w 10000"/>
                <a:gd name="connsiteY807" fmla="*/ 8803 h 10000"/>
                <a:gd name="connsiteX808" fmla="*/ 394 w 10000"/>
                <a:gd name="connsiteY808" fmla="*/ 8829 h 10000"/>
                <a:gd name="connsiteX809" fmla="*/ 364 w 10000"/>
                <a:gd name="connsiteY809" fmla="*/ 8859 h 10000"/>
                <a:gd name="connsiteX810" fmla="*/ 311 w 10000"/>
                <a:gd name="connsiteY810" fmla="*/ 8922 h 10000"/>
                <a:gd name="connsiteX811" fmla="*/ 268 w 10000"/>
                <a:gd name="connsiteY811" fmla="*/ 8964 h 10000"/>
                <a:gd name="connsiteX812" fmla="*/ 205 w 10000"/>
                <a:gd name="connsiteY812" fmla="*/ 9016 h 10000"/>
                <a:gd name="connsiteX813" fmla="*/ 146 w 10000"/>
                <a:gd name="connsiteY813" fmla="*/ 9053 h 10000"/>
                <a:gd name="connsiteX814" fmla="*/ 139 w 10000"/>
                <a:gd name="connsiteY814" fmla="*/ 9063 h 10000"/>
                <a:gd name="connsiteX815" fmla="*/ 129 w 10000"/>
                <a:gd name="connsiteY815" fmla="*/ 9077 h 10000"/>
                <a:gd name="connsiteX816" fmla="*/ 126 w 10000"/>
                <a:gd name="connsiteY816" fmla="*/ 9086 h 10000"/>
                <a:gd name="connsiteX817" fmla="*/ 126 w 10000"/>
                <a:gd name="connsiteY817" fmla="*/ 9102 h 10000"/>
                <a:gd name="connsiteX818" fmla="*/ 129 w 10000"/>
                <a:gd name="connsiteY818" fmla="*/ 9116 h 10000"/>
                <a:gd name="connsiteX819" fmla="*/ 139 w 10000"/>
                <a:gd name="connsiteY819" fmla="*/ 9135 h 10000"/>
                <a:gd name="connsiteX820" fmla="*/ 149 w 10000"/>
                <a:gd name="connsiteY820" fmla="*/ 9151 h 10000"/>
                <a:gd name="connsiteX821" fmla="*/ 164 w 10000"/>
                <a:gd name="connsiteY821" fmla="*/ 9175 h 10000"/>
                <a:gd name="connsiteX822" fmla="*/ 184 w 10000"/>
                <a:gd name="connsiteY822" fmla="*/ 9196 h 10000"/>
                <a:gd name="connsiteX823" fmla="*/ 207 w 10000"/>
                <a:gd name="connsiteY823" fmla="*/ 9215 h 10000"/>
                <a:gd name="connsiteX824" fmla="*/ 227 w 10000"/>
                <a:gd name="connsiteY824" fmla="*/ 9233 h 10000"/>
                <a:gd name="connsiteX825" fmla="*/ 253 w 10000"/>
                <a:gd name="connsiteY825" fmla="*/ 9250 h 10000"/>
                <a:gd name="connsiteX826" fmla="*/ 303 w 10000"/>
                <a:gd name="connsiteY826" fmla="*/ 9282 h 10000"/>
                <a:gd name="connsiteX827" fmla="*/ 351 w 10000"/>
                <a:gd name="connsiteY827" fmla="*/ 9315 h 10000"/>
                <a:gd name="connsiteX828" fmla="*/ 414 w 10000"/>
                <a:gd name="connsiteY828" fmla="*/ 9364 h 10000"/>
                <a:gd name="connsiteX829" fmla="*/ 480 w 10000"/>
                <a:gd name="connsiteY829" fmla="*/ 9416 h 10000"/>
                <a:gd name="connsiteX830" fmla="*/ 513 w 10000"/>
                <a:gd name="connsiteY830" fmla="*/ 9437 h 10000"/>
                <a:gd name="connsiteX831" fmla="*/ 548 w 10000"/>
                <a:gd name="connsiteY831" fmla="*/ 9462 h 10000"/>
                <a:gd name="connsiteX832" fmla="*/ 581 w 10000"/>
                <a:gd name="connsiteY832" fmla="*/ 9483 h 10000"/>
                <a:gd name="connsiteX833" fmla="*/ 614 w 10000"/>
                <a:gd name="connsiteY833" fmla="*/ 9502 h 10000"/>
                <a:gd name="connsiteX834" fmla="*/ 641 w 10000"/>
                <a:gd name="connsiteY834" fmla="*/ 9525 h 10000"/>
                <a:gd name="connsiteX835" fmla="*/ 672 w 10000"/>
                <a:gd name="connsiteY835" fmla="*/ 9549 h 10000"/>
                <a:gd name="connsiteX836" fmla="*/ 702 w 10000"/>
                <a:gd name="connsiteY836" fmla="*/ 9568 h 10000"/>
                <a:gd name="connsiteX837" fmla="*/ 737 w 10000"/>
                <a:gd name="connsiteY837" fmla="*/ 9589 h 10000"/>
                <a:gd name="connsiteX838" fmla="*/ 770 w 10000"/>
                <a:gd name="connsiteY838" fmla="*/ 9605 h 10000"/>
                <a:gd name="connsiteX839" fmla="*/ 808 w 10000"/>
                <a:gd name="connsiteY839" fmla="*/ 9617 h 10000"/>
                <a:gd name="connsiteX840" fmla="*/ 843 w 10000"/>
                <a:gd name="connsiteY840" fmla="*/ 9624 h 10000"/>
                <a:gd name="connsiteX841" fmla="*/ 884 w 10000"/>
                <a:gd name="connsiteY841" fmla="*/ 9628 h 10000"/>
                <a:gd name="connsiteX842" fmla="*/ 902 w 10000"/>
                <a:gd name="connsiteY842" fmla="*/ 9628 h 10000"/>
                <a:gd name="connsiteX843" fmla="*/ 914 w 10000"/>
                <a:gd name="connsiteY843" fmla="*/ 9631 h 10000"/>
                <a:gd name="connsiteX844" fmla="*/ 932 w 10000"/>
                <a:gd name="connsiteY844" fmla="*/ 9638 h 10000"/>
                <a:gd name="connsiteX845" fmla="*/ 942 w 10000"/>
                <a:gd name="connsiteY845" fmla="*/ 9642 h 10000"/>
                <a:gd name="connsiteX846" fmla="*/ 967 w 10000"/>
                <a:gd name="connsiteY846" fmla="*/ 9652 h 10000"/>
                <a:gd name="connsiteX847" fmla="*/ 987 w 10000"/>
                <a:gd name="connsiteY847" fmla="*/ 9668 h 10000"/>
                <a:gd name="connsiteX848" fmla="*/ 1005 w 10000"/>
                <a:gd name="connsiteY848" fmla="*/ 9682 h 10000"/>
                <a:gd name="connsiteX849" fmla="*/ 1025 w 10000"/>
                <a:gd name="connsiteY849" fmla="*/ 9698 h 10000"/>
                <a:gd name="connsiteX850" fmla="*/ 1045 w 10000"/>
                <a:gd name="connsiteY850" fmla="*/ 9712 h 10000"/>
                <a:gd name="connsiteX851" fmla="*/ 1073 w 10000"/>
                <a:gd name="connsiteY851" fmla="*/ 9724 h 10000"/>
                <a:gd name="connsiteX852" fmla="*/ 1098 w 10000"/>
                <a:gd name="connsiteY852" fmla="*/ 9738 h 10000"/>
                <a:gd name="connsiteX853" fmla="*/ 1121 w 10000"/>
                <a:gd name="connsiteY853" fmla="*/ 9750 h 10000"/>
                <a:gd name="connsiteX854" fmla="*/ 1141 w 10000"/>
                <a:gd name="connsiteY854" fmla="*/ 9762 h 10000"/>
                <a:gd name="connsiteX855" fmla="*/ 1159 w 10000"/>
                <a:gd name="connsiteY855" fmla="*/ 9776 h 10000"/>
                <a:gd name="connsiteX856" fmla="*/ 1172 w 10000"/>
                <a:gd name="connsiteY856" fmla="*/ 9787 h 10000"/>
                <a:gd name="connsiteX857" fmla="*/ 1182 w 10000"/>
                <a:gd name="connsiteY857" fmla="*/ 9804 h 10000"/>
                <a:gd name="connsiteX858" fmla="*/ 1194 w 10000"/>
                <a:gd name="connsiteY858" fmla="*/ 9818 h 10000"/>
                <a:gd name="connsiteX859" fmla="*/ 1202 w 10000"/>
                <a:gd name="connsiteY859" fmla="*/ 9834 h 10000"/>
                <a:gd name="connsiteX860" fmla="*/ 1212 w 10000"/>
                <a:gd name="connsiteY860" fmla="*/ 9869 h 10000"/>
                <a:gd name="connsiteX861" fmla="*/ 1220 w 10000"/>
                <a:gd name="connsiteY861" fmla="*/ 9906 h 10000"/>
                <a:gd name="connsiteX862" fmla="*/ 1230 w 10000"/>
                <a:gd name="connsiteY862" fmla="*/ 9951 h 10000"/>
                <a:gd name="connsiteX863" fmla="*/ 1237 w 10000"/>
                <a:gd name="connsiteY863" fmla="*/ 10000 h 10000"/>
                <a:gd name="connsiteX864" fmla="*/ 1237 w 10000"/>
                <a:gd name="connsiteY86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58 w 10000"/>
                <a:gd name="connsiteY723" fmla="*/ 7438 h 10000"/>
                <a:gd name="connsiteX724" fmla="*/ 2593 w 10000"/>
                <a:gd name="connsiteY724" fmla="*/ 7415 h 10000"/>
                <a:gd name="connsiteX725" fmla="*/ 2598 w 10000"/>
                <a:gd name="connsiteY725" fmla="*/ 7412 h 10000"/>
                <a:gd name="connsiteX726" fmla="*/ 2606 w 10000"/>
                <a:gd name="connsiteY726" fmla="*/ 7412 h 10000"/>
                <a:gd name="connsiteX727" fmla="*/ 2167 w 10000"/>
                <a:gd name="connsiteY727" fmla="*/ 7742 h 10000"/>
                <a:gd name="connsiteX728" fmla="*/ 2159 w 10000"/>
                <a:gd name="connsiteY728" fmla="*/ 7833 h 10000"/>
                <a:gd name="connsiteX729" fmla="*/ 2157 w 10000"/>
                <a:gd name="connsiteY729" fmla="*/ 7882 h 10000"/>
                <a:gd name="connsiteX730" fmla="*/ 2157 w 10000"/>
                <a:gd name="connsiteY730" fmla="*/ 7938 h 10000"/>
                <a:gd name="connsiteX731" fmla="*/ 2159 w 10000"/>
                <a:gd name="connsiteY731" fmla="*/ 8006 h 10000"/>
                <a:gd name="connsiteX732" fmla="*/ 2162 w 10000"/>
                <a:gd name="connsiteY732" fmla="*/ 8079 h 10000"/>
                <a:gd name="connsiteX733" fmla="*/ 2159 w 10000"/>
                <a:gd name="connsiteY733" fmla="*/ 8156 h 10000"/>
                <a:gd name="connsiteX734" fmla="*/ 2157 w 10000"/>
                <a:gd name="connsiteY734" fmla="*/ 8193 h 10000"/>
                <a:gd name="connsiteX735" fmla="*/ 2154 w 10000"/>
                <a:gd name="connsiteY735" fmla="*/ 8228 h 10000"/>
                <a:gd name="connsiteX736" fmla="*/ 2146 w 10000"/>
                <a:gd name="connsiteY736" fmla="*/ 8261 h 10000"/>
                <a:gd name="connsiteX737" fmla="*/ 2136 w 10000"/>
                <a:gd name="connsiteY737" fmla="*/ 8291 h 10000"/>
                <a:gd name="connsiteX738" fmla="*/ 2124 w 10000"/>
                <a:gd name="connsiteY738" fmla="*/ 8319 h 10000"/>
                <a:gd name="connsiteX739" fmla="*/ 2109 w 10000"/>
                <a:gd name="connsiteY739" fmla="*/ 8345 h 10000"/>
                <a:gd name="connsiteX740" fmla="*/ 2098 w 10000"/>
                <a:gd name="connsiteY740" fmla="*/ 8354 h 10000"/>
                <a:gd name="connsiteX741" fmla="*/ 2088 w 10000"/>
                <a:gd name="connsiteY741" fmla="*/ 8364 h 10000"/>
                <a:gd name="connsiteX742" fmla="*/ 2078 w 10000"/>
                <a:gd name="connsiteY742" fmla="*/ 8373 h 10000"/>
                <a:gd name="connsiteX743" fmla="*/ 2063 w 10000"/>
                <a:gd name="connsiteY743" fmla="*/ 8380 h 10000"/>
                <a:gd name="connsiteX744" fmla="*/ 1990 w 10000"/>
                <a:gd name="connsiteY744" fmla="*/ 8422 h 10000"/>
                <a:gd name="connsiteX745" fmla="*/ 1904 w 10000"/>
                <a:gd name="connsiteY745" fmla="*/ 8481 h 10000"/>
                <a:gd name="connsiteX746" fmla="*/ 1856 w 10000"/>
                <a:gd name="connsiteY746" fmla="*/ 8506 h 10000"/>
                <a:gd name="connsiteX747" fmla="*/ 1816 w 10000"/>
                <a:gd name="connsiteY747" fmla="*/ 8527 h 10000"/>
                <a:gd name="connsiteX748" fmla="*/ 1793 w 10000"/>
                <a:gd name="connsiteY748" fmla="*/ 8539 h 10000"/>
                <a:gd name="connsiteX749" fmla="*/ 1775 w 10000"/>
                <a:gd name="connsiteY749" fmla="*/ 8546 h 10000"/>
                <a:gd name="connsiteX750" fmla="*/ 1758 w 10000"/>
                <a:gd name="connsiteY750" fmla="*/ 8548 h 10000"/>
                <a:gd name="connsiteX751" fmla="*/ 1742 w 10000"/>
                <a:gd name="connsiteY751" fmla="*/ 8551 h 10000"/>
                <a:gd name="connsiteX752" fmla="*/ 1727 w 10000"/>
                <a:gd name="connsiteY752" fmla="*/ 8537 h 10000"/>
                <a:gd name="connsiteX753" fmla="*/ 1717 w 10000"/>
                <a:gd name="connsiteY753" fmla="*/ 8518 h 10000"/>
                <a:gd name="connsiteX754" fmla="*/ 1684 w 10000"/>
                <a:gd name="connsiteY754" fmla="*/ 8429 h 10000"/>
                <a:gd name="connsiteX755" fmla="*/ 1525 w 10000"/>
                <a:gd name="connsiteY755" fmla="*/ 8186 h 10000"/>
                <a:gd name="connsiteX756" fmla="*/ 1500 w 10000"/>
                <a:gd name="connsiteY756" fmla="*/ 8191 h 10000"/>
                <a:gd name="connsiteX757" fmla="*/ 1472 w 10000"/>
                <a:gd name="connsiteY757" fmla="*/ 8198 h 10000"/>
                <a:gd name="connsiteX758" fmla="*/ 1434 w 10000"/>
                <a:gd name="connsiteY758" fmla="*/ 8223 h 10000"/>
                <a:gd name="connsiteX759" fmla="*/ 1149 w 10000"/>
                <a:gd name="connsiteY759" fmla="*/ 8256 h 10000"/>
                <a:gd name="connsiteX760" fmla="*/ 1139 w 10000"/>
                <a:gd name="connsiteY760" fmla="*/ 8249 h 10000"/>
                <a:gd name="connsiteX761" fmla="*/ 1126 w 10000"/>
                <a:gd name="connsiteY761" fmla="*/ 8240 h 10000"/>
                <a:gd name="connsiteX762" fmla="*/ 1114 w 10000"/>
                <a:gd name="connsiteY762" fmla="*/ 8240 h 10000"/>
                <a:gd name="connsiteX763" fmla="*/ 1091 w 10000"/>
                <a:gd name="connsiteY763" fmla="*/ 8242 h 10000"/>
                <a:gd name="connsiteX764" fmla="*/ 1071 w 10000"/>
                <a:gd name="connsiteY764" fmla="*/ 8252 h 10000"/>
                <a:gd name="connsiteX765" fmla="*/ 1048 w 10000"/>
                <a:gd name="connsiteY765" fmla="*/ 8261 h 10000"/>
                <a:gd name="connsiteX766" fmla="*/ 1030 w 10000"/>
                <a:gd name="connsiteY766" fmla="*/ 8273 h 10000"/>
                <a:gd name="connsiteX767" fmla="*/ 1010 w 10000"/>
                <a:gd name="connsiteY767" fmla="*/ 8287 h 10000"/>
                <a:gd name="connsiteX768" fmla="*/ 995 w 10000"/>
                <a:gd name="connsiteY768" fmla="*/ 8303 h 10000"/>
                <a:gd name="connsiteX769" fmla="*/ 975 w 10000"/>
                <a:gd name="connsiteY769" fmla="*/ 8322 h 10000"/>
                <a:gd name="connsiteX770" fmla="*/ 960 w 10000"/>
                <a:gd name="connsiteY770" fmla="*/ 8343 h 10000"/>
                <a:gd name="connsiteX771" fmla="*/ 927 w 10000"/>
                <a:gd name="connsiteY771" fmla="*/ 8380 h 10000"/>
                <a:gd name="connsiteX772" fmla="*/ 891 w 10000"/>
                <a:gd name="connsiteY772" fmla="*/ 8417 h 10000"/>
                <a:gd name="connsiteX773" fmla="*/ 874 w 10000"/>
                <a:gd name="connsiteY773" fmla="*/ 8436 h 10000"/>
                <a:gd name="connsiteX774" fmla="*/ 859 w 10000"/>
                <a:gd name="connsiteY774" fmla="*/ 8450 h 10000"/>
                <a:gd name="connsiteX775" fmla="*/ 838 w 10000"/>
                <a:gd name="connsiteY775" fmla="*/ 8462 h 10000"/>
                <a:gd name="connsiteX776" fmla="*/ 821 w 10000"/>
                <a:gd name="connsiteY776" fmla="*/ 8476 h 10000"/>
                <a:gd name="connsiteX777" fmla="*/ 742 w 10000"/>
                <a:gd name="connsiteY777" fmla="*/ 8562 h 10000"/>
                <a:gd name="connsiteX778" fmla="*/ 672 w 10000"/>
                <a:gd name="connsiteY778" fmla="*/ 8644 h 10000"/>
                <a:gd name="connsiteX779" fmla="*/ 639 w 10000"/>
                <a:gd name="connsiteY779" fmla="*/ 8684 h 10000"/>
                <a:gd name="connsiteX780" fmla="*/ 609 w 10000"/>
                <a:gd name="connsiteY780" fmla="*/ 8731 h 10000"/>
                <a:gd name="connsiteX781" fmla="*/ 583 w 10000"/>
                <a:gd name="connsiteY781" fmla="*/ 8777 h 10000"/>
                <a:gd name="connsiteX782" fmla="*/ 556 w 10000"/>
                <a:gd name="connsiteY782" fmla="*/ 8831 h 10000"/>
                <a:gd name="connsiteX783" fmla="*/ 545 w 10000"/>
                <a:gd name="connsiteY783" fmla="*/ 8852 h 10000"/>
                <a:gd name="connsiteX784" fmla="*/ 525 w 10000"/>
                <a:gd name="connsiteY784" fmla="*/ 8885 h 10000"/>
                <a:gd name="connsiteX785" fmla="*/ 503 w 10000"/>
                <a:gd name="connsiteY785" fmla="*/ 8925 h 10000"/>
                <a:gd name="connsiteX786" fmla="*/ 480 w 10000"/>
                <a:gd name="connsiteY786" fmla="*/ 8962 h 10000"/>
                <a:gd name="connsiteX787" fmla="*/ 465 w 10000"/>
                <a:gd name="connsiteY787" fmla="*/ 8981 h 10000"/>
                <a:gd name="connsiteX788" fmla="*/ 455 w 10000"/>
                <a:gd name="connsiteY788" fmla="*/ 8993 h 10000"/>
                <a:gd name="connsiteX789" fmla="*/ 444 w 10000"/>
                <a:gd name="connsiteY789" fmla="*/ 9000 h 10000"/>
                <a:gd name="connsiteX790" fmla="*/ 434 w 10000"/>
                <a:gd name="connsiteY790" fmla="*/ 9007 h 10000"/>
                <a:gd name="connsiteX791" fmla="*/ 432 w 10000"/>
                <a:gd name="connsiteY791" fmla="*/ 9007 h 10000"/>
                <a:gd name="connsiteX792" fmla="*/ 429 w 10000"/>
                <a:gd name="connsiteY792" fmla="*/ 9004 h 10000"/>
                <a:gd name="connsiteX793" fmla="*/ 427 w 10000"/>
                <a:gd name="connsiteY793" fmla="*/ 8997 h 10000"/>
                <a:gd name="connsiteX794" fmla="*/ 427 w 10000"/>
                <a:gd name="connsiteY794" fmla="*/ 8993 h 10000"/>
                <a:gd name="connsiteX795" fmla="*/ 424 w 10000"/>
                <a:gd name="connsiteY795" fmla="*/ 8976 h 10000"/>
                <a:gd name="connsiteX796" fmla="*/ 427 w 10000"/>
                <a:gd name="connsiteY796" fmla="*/ 8948 h 10000"/>
                <a:gd name="connsiteX797" fmla="*/ 437 w 10000"/>
                <a:gd name="connsiteY797" fmla="*/ 8913 h 10000"/>
                <a:gd name="connsiteX798" fmla="*/ 455 w 10000"/>
                <a:gd name="connsiteY798" fmla="*/ 8859 h 10000"/>
                <a:gd name="connsiteX799" fmla="*/ 462 w 10000"/>
                <a:gd name="connsiteY799" fmla="*/ 8834 h 10000"/>
                <a:gd name="connsiteX800" fmla="*/ 470 w 10000"/>
                <a:gd name="connsiteY800" fmla="*/ 8810 h 10000"/>
                <a:gd name="connsiteX801" fmla="*/ 472 w 10000"/>
                <a:gd name="connsiteY801" fmla="*/ 8794 h 10000"/>
                <a:gd name="connsiteX802" fmla="*/ 472 w 10000"/>
                <a:gd name="connsiteY802" fmla="*/ 8780 h 10000"/>
                <a:gd name="connsiteX803" fmla="*/ 462 w 10000"/>
                <a:gd name="connsiteY803" fmla="*/ 8784 h 10000"/>
                <a:gd name="connsiteX804" fmla="*/ 452 w 10000"/>
                <a:gd name="connsiteY804" fmla="*/ 8787 h 10000"/>
                <a:gd name="connsiteX805" fmla="*/ 437 w 10000"/>
                <a:gd name="connsiteY805" fmla="*/ 8794 h 10000"/>
                <a:gd name="connsiteX806" fmla="*/ 424 w 10000"/>
                <a:gd name="connsiteY806" fmla="*/ 8803 h 10000"/>
                <a:gd name="connsiteX807" fmla="*/ 394 w 10000"/>
                <a:gd name="connsiteY807" fmla="*/ 8829 h 10000"/>
                <a:gd name="connsiteX808" fmla="*/ 364 w 10000"/>
                <a:gd name="connsiteY808" fmla="*/ 8859 h 10000"/>
                <a:gd name="connsiteX809" fmla="*/ 311 w 10000"/>
                <a:gd name="connsiteY809" fmla="*/ 8922 h 10000"/>
                <a:gd name="connsiteX810" fmla="*/ 268 w 10000"/>
                <a:gd name="connsiteY810" fmla="*/ 8964 h 10000"/>
                <a:gd name="connsiteX811" fmla="*/ 205 w 10000"/>
                <a:gd name="connsiteY811" fmla="*/ 9016 h 10000"/>
                <a:gd name="connsiteX812" fmla="*/ 146 w 10000"/>
                <a:gd name="connsiteY812" fmla="*/ 9053 h 10000"/>
                <a:gd name="connsiteX813" fmla="*/ 139 w 10000"/>
                <a:gd name="connsiteY813" fmla="*/ 9063 h 10000"/>
                <a:gd name="connsiteX814" fmla="*/ 129 w 10000"/>
                <a:gd name="connsiteY814" fmla="*/ 9077 h 10000"/>
                <a:gd name="connsiteX815" fmla="*/ 126 w 10000"/>
                <a:gd name="connsiteY815" fmla="*/ 9086 h 10000"/>
                <a:gd name="connsiteX816" fmla="*/ 126 w 10000"/>
                <a:gd name="connsiteY816" fmla="*/ 9102 h 10000"/>
                <a:gd name="connsiteX817" fmla="*/ 129 w 10000"/>
                <a:gd name="connsiteY817" fmla="*/ 9116 h 10000"/>
                <a:gd name="connsiteX818" fmla="*/ 139 w 10000"/>
                <a:gd name="connsiteY818" fmla="*/ 9135 h 10000"/>
                <a:gd name="connsiteX819" fmla="*/ 149 w 10000"/>
                <a:gd name="connsiteY819" fmla="*/ 9151 h 10000"/>
                <a:gd name="connsiteX820" fmla="*/ 164 w 10000"/>
                <a:gd name="connsiteY820" fmla="*/ 9175 h 10000"/>
                <a:gd name="connsiteX821" fmla="*/ 184 w 10000"/>
                <a:gd name="connsiteY821" fmla="*/ 9196 h 10000"/>
                <a:gd name="connsiteX822" fmla="*/ 207 w 10000"/>
                <a:gd name="connsiteY822" fmla="*/ 9215 h 10000"/>
                <a:gd name="connsiteX823" fmla="*/ 227 w 10000"/>
                <a:gd name="connsiteY823" fmla="*/ 9233 h 10000"/>
                <a:gd name="connsiteX824" fmla="*/ 253 w 10000"/>
                <a:gd name="connsiteY824" fmla="*/ 9250 h 10000"/>
                <a:gd name="connsiteX825" fmla="*/ 303 w 10000"/>
                <a:gd name="connsiteY825" fmla="*/ 9282 h 10000"/>
                <a:gd name="connsiteX826" fmla="*/ 351 w 10000"/>
                <a:gd name="connsiteY826" fmla="*/ 9315 h 10000"/>
                <a:gd name="connsiteX827" fmla="*/ 414 w 10000"/>
                <a:gd name="connsiteY827" fmla="*/ 9364 h 10000"/>
                <a:gd name="connsiteX828" fmla="*/ 480 w 10000"/>
                <a:gd name="connsiteY828" fmla="*/ 9416 h 10000"/>
                <a:gd name="connsiteX829" fmla="*/ 513 w 10000"/>
                <a:gd name="connsiteY829" fmla="*/ 9437 h 10000"/>
                <a:gd name="connsiteX830" fmla="*/ 548 w 10000"/>
                <a:gd name="connsiteY830" fmla="*/ 9462 h 10000"/>
                <a:gd name="connsiteX831" fmla="*/ 581 w 10000"/>
                <a:gd name="connsiteY831" fmla="*/ 9483 h 10000"/>
                <a:gd name="connsiteX832" fmla="*/ 614 w 10000"/>
                <a:gd name="connsiteY832" fmla="*/ 9502 h 10000"/>
                <a:gd name="connsiteX833" fmla="*/ 641 w 10000"/>
                <a:gd name="connsiteY833" fmla="*/ 9525 h 10000"/>
                <a:gd name="connsiteX834" fmla="*/ 672 w 10000"/>
                <a:gd name="connsiteY834" fmla="*/ 9549 h 10000"/>
                <a:gd name="connsiteX835" fmla="*/ 702 w 10000"/>
                <a:gd name="connsiteY835" fmla="*/ 9568 h 10000"/>
                <a:gd name="connsiteX836" fmla="*/ 737 w 10000"/>
                <a:gd name="connsiteY836" fmla="*/ 9589 h 10000"/>
                <a:gd name="connsiteX837" fmla="*/ 770 w 10000"/>
                <a:gd name="connsiteY837" fmla="*/ 9605 h 10000"/>
                <a:gd name="connsiteX838" fmla="*/ 808 w 10000"/>
                <a:gd name="connsiteY838" fmla="*/ 9617 h 10000"/>
                <a:gd name="connsiteX839" fmla="*/ 843 w 10000"/>
                <a:gd name="connsiteY839" fmla="*/ 9624 h 10000"/>
                <a:gd name="connsiteX840" fmla="*/ 884 w 10000"/>
                <a:gd name="connsiteY840" fmla="*/ 9628 h 10000"/>
                <a:gd name="connsiteX841" fmla="*/ 902 w 10000"/>
                <a:gd name="connsiteY841" fmla="*/ 9628 h 10000"/>
                <a:gd name="connsiteX842" fmla="*/ 914 w 10000"/>
                <a:gd name="connsiteY842" fmla="*/ 9631 h 10000"/>
                <a:gd name="connsiteX843" fmla="*/ 932 w 10000"/>
                <a:gd name="connsiteY843" fmla="*/ 9638 h 10000"/>
                <a:gd name="connsiteX844" fmla="*/ 942 w 10000"/>
                <a:gd name="connsiteY844" fmla="*/ 9642 h 10000"/>
                <a:gd name="connsiteX845" fmla="*/ 967 w 10000"/>
                <a:gd name="connsiteY845" fmla="*/ 9652 h 10000"/>
                <a:gd name="connsiteX846" fmla="*/ 987 w 10000"/>
                <a:gd name="connsiteY846" fmla="*/ 9668 h 10000"/>
                <a:gd name="connsiteX847" fmla="*/ 1005 w 10000"/>
                <a:gd name="connsiteY847" fmla="*/ 9682 h 10000"/>
                <a:gd name="connsiteX848" fmla="*/ 1025 w 10000"/>
                <a:gd name="connsiteY848" fmla="*/ 9698 h 10000"/>
                <a:gd name="connsiteX849" fmla="*/ 1045 w 10000"/>
                <a:gd name="connsiteY849" fmla="*/ 9712 h 10000"/>
                <a:gd name="connsiteX850" fmla="*/ 1073 w 10000"/>
                <a:gd name="connsiteY850" fmla="*/ 9724 h 10000"/>
                <a:gd name="connsiteX851" fmla="*/ 1098 w 10000"/>
                <a:gd name="connsiteY851" fmla="*/ 9738 h 10000"/>
                <a:gd name="connsiteX852" fmla="*/ 1121 w 10000"/>
                <a:gd name="connsiteY852" fmla="*/ 9750 h 10000"/>
                <a:gd name="connsiteX853" fmla="*/ 1141 w 10000"/>
                <a:gd name="connsiteY853" fmla="*/ 9762 h 10000"/>
                <a:gd name="connsiteX854" fmla="*/ 1159 w 10000"/>
                <a:gd name="connsiteY854" fmla="*/ 9776 h 10000"/>
                <a:gd name="connsiteX855" fmla="*/ 1172 w 10000"/>
                <a:gd name="connsiteY855" fmla="*/ 9787 h 10000"/>
                <a:gd name="connsiteX856" fmla="*/ 1182 w 10000"/>
                <a:gd name="connsiteY856" fmla="*/ 9804 h 10000"/>
                <a:gd name="connsiteX857" fmla="*/ 1194 w 10000"/>
                <a:gd name="connsiteY857" fmla="*/ 9818 h 10000"/>
                <a:gd name="connsiteX858" fmla="*/ 1202 w 10000"/>
                <a:gd name="connsiteY858" fmla="*/ 9834 h 10000"/>
                <a:gd name="connsiteX859" fmla="*/ 1212 w 10000"/>
                <a:gd name="connsiteY859" fmla="*/ 9869 h 10000"/>
                <a:gd name="connsiteX860" fmla="*/ 1220 w 10000"/>
                <a:gd name="connsiteY860" fmla="*/ 9906 h 10000"/>
                <a:gd name="connsiteX861" fmla="*/ 1230 w 10000"/>
                <a:gd name="connsiteY861" fmla="*/ 9951 h 10000"/>
                <a:gd name="connsiteX862" fmla="*/ 1237 w 10000"/>
                <a:gd name="connsiteY862" fmla="*/ 10000 h 10000"/>
                <a:gd name="connsiteX863" fmla="*/ 1237 w 10000"/>
                <a:gd name="connsiteY86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0 w 10000"/>
                <a:gd name="connsiteY720" fmla="*/ 7473 h 10000"/>
                <a:gd name="connsiteX721" fmla="*/ 2508 w 10000"/>
                <a:gd name="connsiteY721" fmla="*/ 7471 h 10000"/>
                <a:gd name="connsiteX722" fmla="*/ 2520 w 10000"/>
                <a:gd name="connsiteY722" fmla="*/ 7466 h 10000"/>
                <a:gd name="connsiteX723" fmla="*/ 2593 w 10000"/>
                <a:gd name="connsiteY723" fmla="*/ 7415 h 10000"/>
                <a:gd name="connsiteX724" fmla="*/ 2598 w 10000"/>
                <a:gd name="connsiteY724" fmla="*/ 7412 h 10000"/>
                <a:gd name="connsiteX725" fmla="*/ 2606 w 10000"/>
                <a:gd name="connsiteY725" fmla="*/ 7412 h 10000"/>
                <a:gd name="connsiteX726" fmla="*/ 2167 w 10000"/>
                <a:gd name="connsiteY726" fmla="*/ 7742 h 10000"/>
                <a:gd name="connsiteX727" fmla="*/ 2159 w 10000"/>
                <a:gd name="connsiteY727" fmla="*/ 7833 h 10000"/>
                <a:gd name="connsiteX728" fmla="*/ 2157 w 10000"/>
                <a:gd name="connsiteY728" fmla="*/ 7882 h 10000"/>
                <a:gd name="connsiteX729" fmla="*/ 2157 w 10000"/>
                <a:gd name="connsiteY729" fmla="*/ 7938 h 10000"/>
                <a:gd name="connsiteX730" fmla="*/ 2159 w 10000"/>
                <a:gd name="connsiteY730" fmla="*/ 8006 h 10000"/>
                <a:gd name="connsiteX731" fmla="*/ 2162 w 10000"/>
                <a:gd name="connsiteY731" fmla="*/ 8079 h 10000"/>
                <a:gd name="connsiteX732" fmla="*/ 2159 w 10000"/>
                <a:gd name="connsiteY732" fmla="*/ 8156 h 10000"/>
                <a:gd name="connsiteX733" fmla="*/ 2157 w 10000"/>
                <a:gd name="connsiteY733" fmla="*/ 8193 h 10000"/>
                <a:gd name="connsiteX734" fmla="*/ 2154 w 10000"/>
                <a:gd name="connsiteY734" fmla="*/ 8228 h 10000"/>
                <a:gd name="connsiteX735" fmla="*/ 2146 w 10000"/>
                <a:gd name="connsiteY735" fmla="*/ 8261 h 10000"/>
                <a:gd name="connsiteX736" fmla="*/ 2136 w 10000"/>
                <a:gd name="connsiteY736" fmla="*/ 8291 h 10000"/>
                <a:gd name="connsiteX737" fmla="*/ 2124 w 10000"/>
                <a:gd name="connsiteY737" fmla="*/ 8319 h 10000"/>
                <a:gd name="connsiteX738" fmla="*/ 2109 w 10000"/>
                <a:gd name="connsiteY738" fmla="*/ 8345 h 10000"/>
                <a:gd name="connsiteX739" fmla="*/ 2098 w 10000"/>
                <a:gd name="connsiteY739" fmla="*/ 8354 h 10000"/>
                <a:gd name="connsiteX740" fmla="*/ 2088 w 10000"/>
                <a:gd name="connsiteY740" fmla="*/ 8364 h 10000"/>
                <a:gd name="connsiteX741" fmla="*/ 2078 w 10000"/>
                <a:gd name="connsiteY741" fmla="*/ 8373 h 10000"/>
                <a:gd name="connsiteX742" fmla="*/ 2063 w 10000"/>
                <a:gd name="connsiteY742" fmla="*/ 8380 h 10000"/>
                <a:gd name="connsiteX743" fmla="*/ 1990 w 10000"/>
                <a:gd name="connsiteY743" fmla="*/ 8422 h 10000"/>
                <a:gd name="connsiteX744" fmla="*/ 1904 w 10000"/>
                <a:gd name="connsiteY744" fmla="*/ 8481 h 10000"/>
                <a:gd name="connsiteX745" fmla="*/ 1856 w 10000"/>
                <a:gd name="connsiteY745" fmla="*/ 8506 h 10000"/>
                <a:gd name="connsiteX746" fmla="*/ 1816 w 10000"/>
                <a:gd name="connsiteY746" fmla="*/ 8527 h 10000"/>
                <a:gd name="connsiteX747" fmla="*/ 1793 w 10000"/>
                <a:gd name="connsiteY747" fmla="*/ 8539 h 10000"/>
                <a:gd name="connsiteX748" fmla="*/ 1775 w 10000"/>
                <a:gd name="connsiteY748" fmla="*/ 8546 h 10000"/>
                <a:gd name="connsiteX749" fmla="*/ 1758 w 10000"/>
                <a:gd name="connsiteY749" fmla="*/ 8548 h 10000"/>
                <a:gd name="connsiteX750" fmla="*/ 1742 w 10000"/>
                <a:gd name="connsiteY750" fmla="*/ 8551 h 10000"/>
                <a:gd name="connsiteX751" fmla="*/ 1727 w 10000"/>
                <a:gd name="connsiteY751" fmla="*/ 8537 h 10000"/>
                <a:gd name="connsiteX752" fmla="*/ 1717 w 10000"/>
                <a:gd name="connsiteY752" fmla="*/ 8518 h 10000"/>
                <a:gd name="connsiteX753" fmla="*/ 1684 w 10000"/>
                <a:gd name="connsiteY753" fmla="*/ 8429 h 10000"/>
                <a:gd name="connsiteX754" fmla="*/ 1525 w 10000"/>
                <a:gd name="connsiteY754" fmla="*/ 8186 h 10000"/>
                <a:gd name="connsiteX755" fmla="*/ 1500 w 10000"/>
                <a:gd name="connsiteY755" fmla="*/ 8191 h 10000"/>
                <a:gd name="connsiteX756" fmla="*/ 1472 w 10000"/>
                <a:gd name="connsiteY756" fmla="*/ 8198 h 10000"/>
                <a:gd name="connsiteX757" fmla="*/ 1434 w 10000"/>
                <a:gd name="connsiteY757" fmla="*/ 8223 h 10000"/>
                <a:gd name="connsiteX758" fmla="*/ 1149 w 10000"/>
                <a:gd name="connsiteY758" fmla="*/ 8256 h 10000"/>
                <a:gd name="connsiteX759" fmla="*/ 1139 w 10000"/>
                <a:gd name="connsiteY759" fmla="*/ 8249 h 10000"/>
                <a:gd name="connsiteX760" fmla="*/ 1126 w 10000"/>
                <a:gd name="connsiteY760" fmla="*/ 8240 h 10000"/>
                <a:gd name="connsiteX761" fmla="*/ 1114 w 10000"/>
                <a:gd name="connsiteY761" fmla="*/ 8240 h 10000"/>
                <a:gd name="connsiteX762" fmla="*/ 1091 w 10000"/>
                <a:gd name="connsiteY762" fmla="*/ 8242 h 10000"/>
                <a:gd name="connsiteX763" fmla="*/ 1071 w 10000"/>
                <a:gd name="connsiteY763" fmla="*/ 8252 h 10000"/>
                <a:gd name="connsiteX764" fmla="*/ 1048 w 10000"/>
                <a:gd name="connsiteY764" fmla="*/ 8261 h 10000"/>
                <a:gd name="connsiteX765" fmla="*/ 1030 w 10000"/>
                <a:gd name="connsiteY765" fmla="*/ 8273 h 10000"/>
                <a:gd name="connsiteX766" fmla="*/ 1010 w 10000"/>
                <a:gd name="connsiteY766" fmla="*/ 8287 h 10000"/>
                <a:gd name="connsiteX767" fmla="*/ 995 w 10000"/>
                <a:gd name="connsiteY767" fmla="*/ 8303 h 10000"/>
                <a:gd name="connsiteX768" fmla="*/ 975 w 10000"/>
                <a:gd name="connsiteY768" fmla="*/ 8322 h 10000"/>
                <a:gd name="connsiteX769" fmla="*/ 960 w 10000"/>
                <a:gd name="connsiteY769" fmla="*/ 8343 h 10000"/>
                <a:gd name="connsiteX770" fmla="*/ 927 w 10000"/>
                <a:gd name="connsiteY770" fmla="*/ 8380 h 10000"/>
                <a:gd name="connsiteX771" fmla="*/ 891 w 10000"/>
                <a:gd name="connsiteY771" fmla="*/ 8417 h 10000"/>
                <a:gd name="connsiteX772" fmla="*/ 874 w 10000"/>
                <a:gd name="connsiteY772" fmla="*/ 8436 h 10000"/>
                <a:gd name="connsiteX773" fmla="*/ 859 w 10000"/>
                <a:gd name="connsiteY773" fmla="*/ 8450 h 10000"/>
                <a:gd name="connsiteX774" fmla="*/ 838 w 10000"/>
                <a:gd name="connsiteY774" fmla="*/ 8462 h 10000"/>
                <a:gd name="connsiteX775" fmla="*/ 821 w 10000"/>
                <a:gd name="connsiteY775" fmla="*/ 8476 h 10000"/>
                <a:gd name="connsiteX776" fmla="*/ 742 w 10000"/>
                <a:gd name="connsiteY776" fmla="*/ 8562 h 10000"/>
                <a:gd name="connsiteX777" fmla="*/ 672 w 10000"/>
                <a:gd name="connsiteY777" fmla="*/ 8644 h 10000"/>
                <a:gd name="connsiteX778" fmla="*/ 639 w 10000"/>
                <a:gd name="connsiteY778" fmla="*/ 8684 h 10000"/>
                <a:gd name="connsiteX779" fmla="*/ 609 w 10000"/>
                <a:gd name="connsiteY779" fmla="*/ 8731 h 10000"/>
                <a:gd name="connsiteX780" fmla="*/ 583 w 10000"/>
                <a:gd name="connsiteY780" fmla="*/ 8777 h 10000"/>
                <a:gd name="connsiteX781" fmla="*/ 556 w 10000"/>
                <a:gd name="connsiteY781" fmla="*/ 8831 h 10000"/>
                <a:gd name="connsiteX782" fmla="*/ 545 w 10000"/>
                <a:gd name="connsiteY782" fmla="*/ 8852 h 10000"/>
                <a:gd name="connsiteX783" fmla="*/ 525 w 10000"/>
                <a:gd name="connsiteY783" fmla="*/ 8885 h 10000"/>
                <a:gd name="connsiteX784" fmla="*/ 503 w 10000"/>
                <a:gd name="connsiteY784" fmla="*/ 8925 h 10000"/>
                <a:gd name="connsiteX785" fmla="*/ 480 w 10000"/>
                <a:gd name="connsiteY785" fmla="*/ 8962 h 10000"/>
                <a:gd name="connsiteX786" fmla="*/ 465 w 10000"/>
                <a:gd name="connsiteY786" fmla="*/ 8981 h 10000"/>
                <a:gd name="connsiteX787" fmla="*/ 455 w 10000"/>
                <a:gd name="connsiteY787" fmla="*/ 8993 h 10000"/>
                <a:gd name="connsiteX788" fmla="*/ 444 w 10000"/>
                <a:gd name="connsiteY788" fmla="*/ 9000 h 10000"/>
                <a:gd name="connsiteX789" fmla="*/ 434 w 10000"/>
                <a:gd name="connsiteY789" fmla="*/ 9007 h 10000"/>
                <a:gd name="connsiteX790" fmla="*/ 432 w 10000"/>
                <a:gd name="connsiteY790" fmla="*/ 9007 h 10000"/>
                <a:gd name="connsiteX791" fmla="*/ 429 w 10000"/>
                <a:gd name="connsiteY791" fmla="*/ 9004 h 10000"/>
                <a:gd name="connsiteX792" fmla="*/ 427 w 10000"/>
                <a:gd name="connsiteY792" fmla="*/ 8997 h 10000"/>
                <a:gd name="connsiteX793" fmla="*/ 427 w 10000"/>
                <a:gd name="connsiteY793" fmla="*/ 8993 h 10000"/>
                <a:gd name="connsiteX794" fmla="*/ 424 w 10000"/>
                <a:gd name="connsiteY794" fmla="*/ 8976 h 10000"/>
                <a:gd name="connsiteX795" fmla="*/ 427 w 10000"/>
                <a:gd name="connsiteY795" fmla="*/ 8948 h 10000"/>
                <a:gd name="connsiteX796" fmla="*/ 437 w 10000"/>
                <a:gd name="connsiteY796" fmla="*/ 8913 h 10000"/>
                <a:gd name="connsiteX797" fmla="*/ 455 w 10000"/>
                <a:gd name="connsiteY797" fmla="*/ 8859 h 10000"/>
                <a:gd name="connsiteX798" fmla="*/ 462 w 10000"/>
                <a:gd name="connsiteY798" fmla="*/ 8834 h 10000"/>
                <a:gd name="connsiteX799" fmla="*/ 470 w 10000"/>
                <a:gd name="connsiteY799" fmla="*/ 8810 h 10000"/>
                <a:gd name="connsiteX800" fmla="*/ 472 w 10000"/>
                <a:gd name="connsiteY800" fmla="*/ 8794 h 10000"/>
                <a:gd name="connsiteX801" fmla="*/ 472 w 10000"/>
                <a:gd name="connsiteY801" fmla="*/ 8780 h 10000"/>
                <a:gd name="connsiteX802" fmla="*/ 462 w 10000"/>
                <a:gd name="connsiteY802" fmla="*/ 8784 h 10000"/>
                <a:gd name="connsiteX803" fmla="*/ 452 w 10000"/>
                <a:gd name="connsiteY803" fmla="*/ 8787 h 10000"/>
                <a:gd name="connsiteX804" fmla="*/ 437 w 10000"/>
                <a:gd name="connsiteY804" fmla="*/ 8794 h 10000"/>
                <a:gd name="connsiteX805" fmla="*/ 424 w 10000"/>
                <a:gd name="connsiteY805" fmla="*/ 8803 h 10000"/>
                <a:gd name="connsiteX806" fmla="*/ 394 w 10000"/>
                <a:gd name="connsiteY806" fmla="*/ 8829 h 10000"/>
                <a:gd name="connsiteX807" fmla="*/ 364 w 10000"/>
                <a:gd name="connsiteY807" fmla="*/ 8859 h 10000"/>
                <a:gd name="connsiteX808" fmla="*/ 311 w 10000"/>
                <a:gd name="connsiteY808" fmla="*/ 8922 h 10000"/>
                <a:gd name="connsiteX809" fmla="*/ 268 w 10000"/>
                <a:gd name="connsiteY809" fmla="*/ 8964 h 10000"/>
                <a:gd name="connsiteX810" fmla="*/ 205 w 10000"/>
                <a:gd name="connsiteY810" fmla="*/ 9016 h 10000"/>
                <a:gd name="connsiteX811" fmla="*/ 146 w 10000"/>
                <a:gd name="connsiteY811" fmla="*/ 9053 h 10000"/>
                <a:gd name="connsiteX812" fmla="*/ 139 w 10000"/>
                <a:gd name="connsiteY812" fmla="*/ 9063 h 10000"/>
                <a:gd name="connsiteX813" fmla="*/ 129 w 10000"/>
                <a:gd name="connsiteY813" fmla="*/ 9077 h 10000"/>
                <a:gd name="connsiteX814" fmla="*/ 126 w 10000"/>
                <a:gd name="connsiteY814" fmla="*/ 9086 h 10000"/>
                <a:gd name="connsiteX815" fmla="*/ 126 w 10000"/>
                <a:gd name="connsiteY815" fmla="*/ 9102 h 10000"/>
                <a:gd name="connsiteX816" fmla="*/ 129 w 10000"/>
                <a:gd name="connsiteY816" fmla="*/ 9116 h 10000"/>
                <a:gd name="connsiteX817" fmla="*/ 139 w 10000"/>
                <a:gd name="connsiteY817" fmla="*/ 9135 h 10000"/>
                <a:gd name="connsiteX818" fmla="*/ 149 w 10000"/>
                <a:gd name="connsiteY818" fmla="*/ 9151 h 10000"/>
                <a:gd name="connsiteX819" fmla="*/ 164 w 10000"/>
                <a:gd name="connsiteY819" fmla="*/ 9175 h 10000"/>
                <a:gd name="connsiteX820" fmla="*/ 184 w 10000"/>
                <a:gd name="connsiteY820" fmla="*/ 9196 h 10000"/>
                <a:gd name="connsiteX821" fmla="*/ 207 w 10000"/>
                <a:gd name="connsiteY821" fmla="*/ 9215 h 10000"/>
                <a:gd name="connsiteX822" fmla="*/ 227 w 10000"/>
                <a:gd name="connsiteY822" fmla="*/ 9233 h 10000"/>
                <a:gd name="connsiteX823" fmla="*/ 253 w 10000"/>
                <a:gd name="connsiteY823" fmla="*/ 9250 h 10000"/>
                <a:gd name="connsiteX824" fmla="*/ 303 w 10000"/>
                <a:gd name="connsiteY824" fmla="*/ 9282 h 10000"/>
                <a:gd name="connsiteX825" fmla="*/ 351 w 10000"/>
                <a:gd name="connsiteY825" fmla="*/ 9315 h 10000"/>
                <a:gd name="connsiteX826" fmla="*/ 414 w 10000"/>
                <a:gd name="connsiteY826" fmla="*/ 9364 h 10000"/>
                <a:gd name="connsiteX827" fmla="*/ 480 w 10000"/>
                <a:gd name="connsiteY827" fmla="*/ 9416 h 10000"/>
                <a:gd name="connsiteX828" fmla="*/ 513 w 10000"/>
                <a:gd name="connsiteY828" fmla="*/ 9437 h 10000"/>
                <a:gd name="connsiteX829" fmla="*/ 548 w 10000"/>
                <a:gd name="connsiteY829" fmla="*/ 9462 h 10000"/>
                <a:gd name="connsiteX830" fmla="*/ 581 w 10000"/>
                <a:gd name="connsiteY830" fmla="*/ 9483 h 10000"/>
                <a:gd name="connsiteX831" fmla="*/ 614 w 10000"/>
                <a:gd name="connsiteY831" fmla="*/ 9502 h 10000"/>
                <a:gd name="connsiteX832" fmla="*/ 641 w 10000"/>
                <a:gd name="connsiteY832" fmla="*/ 9525 h 10000"/>
                <a:gd name="connsiteX833" fmla="*/ 672 w 10000"/>
                <a:gd name="connsiteY833" fmla="*/ 9549 h 10000"/>
                <a:gd name="connsiteX834" fmla="*/ 702 w 10000"/>
                <a:gd name="connsiteY834" fmla="*/ 9568 h 10000"/>
                <a:gd name="connsiteX835" fmla="*/ 737 w 10000"/>
                <a:gd name="connsiteY835" fmla="*/ 9589 h 10000"/>
                <a:gd name="connsiteX836" fmla="*/ 770 w 10000"/>
                <a:gd name="connsiteY836" fmla="*/ 9605 h 10000"/>
                <a:gd name="connsiteX837" fmla="*/ 808 w 10000"/>
                <a:gd name="connsiteY837" fmla="*/ 9617 h 10000"/>
                <a:gd name="connsiteX838" fmla="*/ 843 w 10000"/>
                <a:gd name="connsiteY838" fmla="*/ 9624 h 10000"/>
                <a:gd name="connsiteX839" fmla="*/ 884 w 10000"/>
                <a:gd name="connsiteY839" fmla="*/ 9628 h 10000"/>
                <a:gd name="connsiteX840" fmla="*/ 902 w 10000"/>
                <a:gd name="connsiteY840" fmla="*/ 9628 h 10000"/>
                <a:gd name="connsiteX841" fmla="*/ 914 w 10000"/>
                <a:gd name="connsiteY841" fmla="*/ 9631 h 10000"/>
                <a:gd name="connsiteX842" fmla="*/ 932 w 10000"/>
                <a:gd name="connsiteY842" fmla="*/ 9638 h 10000"/>
                <a:gd name="connsiteX843" fmla="*/ 942 w 10000"/>
                <a:gd name="connsiteY843" fmla="*/ 9642 h 10000"/>
                <a:gd name="connsiteX844" fmla="*/ 967 w 10000"/>
                <a:gd name="connsiteY844" fmla="*/ 9652 h 10000"/>
                <a:gd name="connsiteX845" fmla="*/ 987 w 10000"/>
                <a:gd name="connsiteY845" fmla="*/ 9668 h 10000"/>
                <a:gd name="connsiteX846" fmla="*/ 1005 w 10000"/>
                <a:gd name="connsiteY846" fmla="*/ 9682 h 10000"/>
                <a:gd name="connsiteX847" fmla="*/ 1025 w 10000"/>
                <a:gd name="connsiteY847" fmla="*/ 9698 h 10000"/>
                <a:gd name="connsiteX848" fmla="*/ 1045 w 10000"/>
                <a:gd name="connsiteY848" fmla="*/ 9712 h 10000"/>
                <a:gd name="connsiteX849" fmla="*/ 1073 w 10000"/>
                <a:gd name="connsiteY849" fmla="*/ 9724 h 10000"/>
                <a:gd name="connsiteX850" fmla="*/ 1098 w 10000"/>
                <a:gd name="connsiteY850" fmla="*/ 9738 h 10000"/>
                <a:gd name="connsiteX851" fmla="*/ 1121 w 10000"/>
                <a:gd name="connsiteY851" fmla="*/ 9750 h 10000"/>
                <a:gd name="connsiteX852" fmla="*/ 1141 w 10000"/>
                <a:gd name="connsiteY852" fmla="*/ 9762 h 10000"/>
                <a:gd name="connsiteX853" fmla="*/ 1159 w 10000"/>
                <a:gd name="connsiteY853" fmla="*/ 9776 h 10000"/>
                <a:gd name="connsiteX854" fmla="*/ 1172 w 10000"/>
                <a:gd name="connsiteY854" fmla="*/ 9787 h 10000"/>
                <a:gd name="connsiteX855" fmla="*/ 1182 w 10000"/>
                <a:gd name="connsiteY855" fmla="*/ 9804 h 10000"/>
                <a:gd name="connsiteX856" fmla="*/ 1194 w 10000"/>
                <a:gd name="connsiteY856" fmla="*/ 9818 h 10000"/>
                <a:gd name="connsiteX857" fmla="*/ 1202 w 10000"/>
                <a:gd name="connsiteY857" fmla="*/ 9834 h 10000"/>
                <a:gd name="connsiteX858" fmla="*/ 1212 w 10000"/>
                <a:gd name="connsiteY858" fmla="*/ 9869 h 10000"/>
                <a:gd name="connsiteX859" fmla="*/ 1220 w 10000"/>
                <a:gd name="connsiteY859" fmla="*/ 9906 h 10000"/>
                <a:gd name="connsiteX860" fmla="*/ 1230 w 10000"/>
                <a:gd name="connsiteY860" fmla="*/ 9951 h 10000"/>
                <a:gd name="connsiteX861" fmla="*/ 1237 w 10000"/>
                <a:gd name="connsiteY861" fmla="*/ 10000 h 10000"/>
                <a:gd name="connsiteX862" fmla="*/ 1237 w 10000"/>
                <a:gd name="connsiteY86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8 w 10000"/>
                <a:gd name="connsiteY720" fmla="*/ 7471 h 10000"/>
                <a:gd name="connsiteX721" fmla="*/ 2520 w 10000"/>
                <a:gd name="connsiteY721" fmla="*/ 7466 h 10000"/>
                <a:gd name="connsiteX722" fmla="*/ 2593 w 10000"/>
                <a:gd name="connsiteY722" fmla="*/ 7415 h 10000"/>
                <a:gd name="connsiteX723" fmla="*/ 2598 w 10000"/>
                <a:gd name="connsiteY723" fmla="*/ 7412 h 10000"/>
                <a:gd name="connsiteX724" fmla="*/ 2606 w 10000"/>
                <a:gd name="connsiteY724" fmla="*/ 7412 h 10000"/>
                <a:gd name="connsiteX725" fmla="*/ 2167 w 10000"/>
                <a:gd name="connsiteY725" fmla="*/ 7742 h 10000"/>
                <a:gd name="connsiteX726" fmla="*/ 2159 w 10000"/>
                <a:gd name="connsiteY726" fmla="*/ 7833 h 10000"/>
                <a:gd name="connsiteX727" fmla="*/ 2157 w 10000"/>
                <a:gd name="connsiteY727" fmla="*/ 7882 h 10000"/>
                <a:gd name="connsiteX728" fmla="*/ 2157 w 10000"/>
                <a:gd name="connsiteY728" fmla="*/ 7938 h 10000"/>
                <a:gd name="connsiteX729" fmla="*/ 2159 w 10000"/>
                <a:gd name="connsiteY729" fmla="*/ 8006 h 10000"/>
                <a:gd name="connsiteX730" fmla="*/ 2162 w 10000"/>
                <a:gd name="connsiteY730" fmla="*/ 8079 h 10000"/>
                <a:gd name="connsiteX731" fmla="*/ 2159 w 10000"/>
                <a:gd name="connsiteY731" fmla="*/ 8156 h 10000"/>
                <a:gd name="connsiteX732" fmla="*/ 2157 w 10000"/>
                <a:gd name="connsiteY732" fmla="*/ 8193 h 10000"/>
                <a:gd name="connsiteX733" fmla="*/ 2154 w 10000"/>
                <a:gd name="connsiteY733" fmla="*/ 8228 h 10000"/>
                <a:gd name="connsiteX734" fmla="*/ 2146 w 10000"/>
                <a:gd name="connsiteY734" fmla="*/ 8261 h 10000"/>
                <a:gd name="connsiteX735" fmla="*/ 2136 w 10000"/>
                <a:gd name="connsiteY735" fmla="*/ 8291 h 10000"/>
                <a:gd name="connsiteX736" fmla="*/ 2124 w 10000"/>
                <a:gd name="connsiteY736" fmla="*/ 8319 h 10000"/>
                <a:gd name="connsiteX737" fmla="*/ 2109 w 10000"/>
                <a:gd name="connsiteY737" fmla="*/ 8345 h 10000"/>
                <a:gd name="connsiteX738" fmla="*/ 2098 w 10000"/>
                <a:gd name="connsiteY738" fmla="*/ 8354 h 10000"/>
                <a:gd name="connsiteX739" fmla="*/ 2088 w 10000"/>
                <a:gd name="connsiteY739" fmla="*/ 8364 h 10000"/>
                <a:gd name="connsiteX740" fmla="*/ 2078 w 10000"/>
                <a:gd name="connsiteY740" fmla="*/ 8373 h 10000"/>
                <a:gd name="connsiteX741" fmla="*/ 2063 w 10000"/>
                <a:gd name="connsiteY741" fmla="*/ 8380 h 10000"/>
                <a:gd name="connsiteX742" fmla="*/ 1990 w 10000"/>
                <a:gd name="connsiteY742" fmla="*/ 8422 h 10000"/>
                <a:gd name="connsiteX743" fmla="*/ 1904 w 10000"/>
                <a:gd name="connsiteY743" fmla="*/ 8481 h 10000"/>
                <a:gd name="connsiteX744" fmla="*/ 1856 w 10000"/>
                <a:gd name="connsiteY744" fmla="*/ 8506 h 10000"/>
                <a:gd name="connsiteX745" fmla="*/ 1816 w 10000"/>
                <a:gd name="connsiteY745" fmla="*/ 8527 h 10000"/>
                <a:gd name="connsiteX746" fmla="*/ 1793 w 10000"/>
                <a:gd name="connsiteY746" fmla="*/ 8539 h 10000"/>
                <a:gd name="connsiteX747" fmla="*/ 1775 w 10000"/>
                <a:gd name="connsiteY747" fmla="*/ 8546 h 10000"/>
                <a:gd name="connsiteX748" fmla="*/ 1758 w 10000"/>
                <a:gd name="connsiteY748" fmla="*/ 8548 h 10000"/>
                <a:gd name="connsiteX749" fmla="*/ 1742 w 10000"/>
                <a:gd name="connsiteY749" fmla="*/ 8551 h 10000"/>
                <a:gd name="connsiteX750" fmla="*/ 1727 w 10000"/>
                <a:gd name="connsiteY750" fmla="*/ 8537 h 10000"/>
                <a:gd name="connsiteX751" fmla="*/ 1717 w 10000"/>
                <a:gd name="connsiteY751" fmla="*/ 8518 h 10000"/>
                <a:gd name="connsiteX752" fmla="*/ 1684 w 10000"/>
                <a:gd name="connsiteY752" fmla="*/ 8429 h 10000"/>
                <a:gd name="connsiteX753" fmla="*/ 1525 w 10000"/>
                <a:gd name="connsiteY753" fmla="*/ 8186 h 10000"/>
                <a:gd name="connsiteX754" fmla="*/ 1500 w 10000"/>
                <a:gd name="connsiteY754" fmla="*/ 8191 h 10000"/>
                <a:gd name="connsiteX755" fmla="*/ 1472 w 10000"/>
                <a:gd name="connsiteY755" fmla="*/ 8198 h 10000"/>
                <a:gd name="connsiteX756" fmla="*/ 1434 w 10000"/>
                <a:gd name="connsiteY756" fmla="*/ 8223 h 10000"/>
                <a:gd name="connsiteX757" fmla="*/ 1149 w 10000"/>
                <a:gd name="connsiteY757" fmla="*/ 8256 h 10000"/>
                <a:gd name="connsiteX758" fmla="*/ 1139 w 10000"/>
                <a:gd name="connsiteY758" fmla="*/ 8249 h 10000"/>
                <a:gd name="connsiteX759" fmla="*/ 1126 w 10000"/>
                <a:gd name="connsiteY759" fmla="*/ 8240 h 10000"/>
                <a:gd name="connsiteX760" fmla="*/ 1114 w 10000"/>
                <a:gd name="connsiteY760" fmla="*/ 8240 h 10000"/>
                <a:gd name="connsiteX761" fmla="*/ 1091 w 10000"/>
                <a:gd name="connsiteY761" fmla="*/ 8242 h 10000"/>
                <a:gd name="connsiteX762" fmla="*/ 1071 w 10000"/>
                <a:gd name="connsiteY762" fmla="*/ 8252 h 10000"/>
                <a:gd name="connsiteX763" fmla="*/ 1048 w 10000"/>
                <a:gd name="connsiteY763" fmla="*/ 8261 h 10000"/>
                <a:gd name="connsiteX764" fmla="*/ 1030 w 10000"/>
                <a:gd name="connsiteY764" fmla="*/ 8273 h 10000"/>
                <a:gd name="connsiteX765" fmla="*/ 1010 w 10000"/>
                <a:gd name="connsiteY765" fmla="*/ 8287 h 10000"/>
                <a:gd name="connsiteX766" fmla="*/ 995 w 10000"/>
                <a:gd name="connsiteY766" fmla="*/ 8303 h 10000"/>
                <a:gd name="connsiteX767" fmla="*/ 975 w 10000"/>
                <a:gd name="connsiteY767" fmla="*/ 8322 h 10000"/>
                <a:gd name="connsiteX768" fmla="*/ 960 w 10000"/>
                <a:gd name="connsiteY768" fmla="*/ 8343 h 10000"/>
                <a:gd name="connsiteX769" fmla="*/ 927 w 10000"/>
                <a:gd name="connsiteY769" fmla="*/ 8380 h 10000"/>
                <a:gd name="connsiteX770" fmla="*/ 891 w 10000"/>
                <a:gd name="connsiteY770" fmla="*/ 8417 h 10000"/>
                <a:gd name="connsiteX771" fmla="*/ 874 w 10000"/>
                <a:gd name="connsiteY771" fmla="*/ 8436 h 10000"/>
                <a:gd name="connsiteX772" fmla="*/ 859 w 10000"/>
                <a:gd name="connsiteY772" fmla="*/ 8450 h 10000"/>
                <a:gd name="connsiteX773" fmla="*/ 838 w 10000"/>
                <a:gd name="connsiteY773" fmla="*/ 8462 h 10000"/>
                <a:gd name="connsiteX774" fmla="*/ 821 w 10000"/>
                <a:gd name="connsiteY774" fmla="*/ 8476 h 10000"/>
                <a:gd name="connsiteX775" fmla="*/ 742 w 10000"/>
                <a:gd name="connsiteY775" fmla="*/ 8562 h 10000"/>
                <a:gd name="connsiteX776" fmla="*/ 672 w 10000"/>
                <a:gd name="connsiteY776" fmla="*/ 8644 h 10000"/>
                <a:gd name="connsiteX777" fmla="*/ 639 w 10000"/>
                <a:gd name="connsiteY777" fmla="*/ 8684 h 10000"/>
                <a:gd name="connsiteX778" fmla="*/ 609 w 10000"/>
                <a:gd name="connsiteY778" fmla="*/ 8731 h 10000"/>
                <a:gd name="connsiteX779" fmla="*/ 583 w 10000"/>
                <a:gd name="connsiteY779" fmla="*/ 8777 h 10000"/>
                <a:gd name="connsiteX780" fmla="*/ 556 w 10000"/>
                <a:gd name="connsiteY780" fmla="*/ 8831 h 10000"/>
                <a:gd name="connsiteX781" fmla="*/ 545 w 10000"/>
                <a:gd name="connsiteY781" fmla="*/ 8852 h 10000"/>
                <a:gd name="connsiteX782" fmla="*/ 525 w 10000"/>
                <a:gd name="connsiteY782" fmla="*/ 8885 h 10000"/>
                <a:gd name="connsiteX783" fmla="*/ 503 w 10000"/>
                <a:gd name="connsiteY783" fmla="*/ 8925 h 10000"/>
                <a:gd name="connsiteX784" fmla="*/ 480 w 10000"/>
                <a:gd name="connsiteY784" fmla="*/ 8962 h 10000"/>
                <a:gd name="connsiteX785" fmla="*/ 465 w 10000"/>
                <a:gd name="connsiteY785" fmla="*/ 8981 h 10000"/>
                <a:gd name="connsiteX786" fmla="*/ 455 w 10000"/>
                <a:gd name="connsiteY786" fmla="*/ 8993 h 10000"/>
                <a:gd name="connsiteX787" fmla="*/ 444 w 10000"/>
                <a:gd name="connsiteY787" fmla="*/ 9000 h 10000"/>
                <a:gd name="connsiteX788" fmla="*/ 434 w 10000"/>
                <a:gd name="connsiteY788" fmla="*/ 9007 h 10000"/>
                <a:gd name="connsiteX789" fmla="*/ 432 w 10000"/>
                <a:gd name="connsiteY789" fmla="*/ 9007 h 10000"/>
                <a:gd name="connsiteX790" fmla="*/ 429 w 10000"/>
                <a:gd name="connsiteY790" fmla="*/ 9004 h 10000"/>
                <a:gd name="connsiteX791" fmla="*/ 427 w 10000"/>
                <a:gd name="connsiteY791" fmla="*/ 8997 h 10000"/>
                <a:gd name="connsiteX792" fmla="*/ 427 w 10000"/>
                <a:gd name="connsiteY792" fmla="*/ 8993 h 10000"/>
                <a:gd name="connsiteX793" fmla="*/ 424 w 10000"/>
                <a:gd name="connsiteY793" fmla="*/ 8976 h 10000"/>
                <a:gd name="connsiteX794" fmla="*/ 427 w 10000"/>
                <a:gd name="connsiteY794" fmla="*/ 8948 h 10000"/>
                <a:gd name="connsiteX795" fmla="*/ 437 w 10000"/>
                <a:gd name="connsiteY795" fmla="*/ 8913 h 10000"/>
                <a:gd name="connsiteX796" fmla="*/ 455 w 10000"/>
                <a:gd name="connsiteY796" fmla="*/ 8859 h 10000"/>
                <a:gd name="connsiteX797" fmla="*/ 462 w 10000"/>
                <a:gd name="connsiteY797" fmla="*/ 8834 h 10000"/>
                <a:gd name="connsiteX798" fmla="*/ 470 w 10000"/>
                <a:gd name="connsiteY798" fmla="*/ 8810 h 10000"/>
                <a:gd name="connsiteX799" fmla="*/ 472 w 10000"/>
                <a:gd name="connsiteY799" fmla="*/ 8794 h 10000"/>
                <a:gd name="connsiteX800" fmla="*/ 472 w 10000"/>
                <a:gd name="connsiteY800" fmla="*/ 8780 h 10000"/>
                <a:gd name="connsiteX801" fmla="*/ 462 w 10000"/>
                <a:gd name="connsiteY801" fmla="*/ 8784 h 10000"/>
                <a:gd name="connsiteX802" fmla="*/ 452 w 10000"/>
                <a:gd name="connsiteY802" fmla="*/ 8787 h 10000"/>
                <a:gd name="connsiteX803" fmla="*/ 437 w 10000"/>
                <a:gd name="connsiteY803" fmla="*/ 8794 h 10000"/>
                <a:gd name="connsiteX804" fmla="*/ 424 w 10000"/>
                <a:gd name="connsiteY804" fmla="*/ 8803 h 10000"/>
                <a:gd name="connsiteX805" fmla="*/ 394 w 10000"/>
                <a:gd name="connsiteY805" fmla="*/ 8829 h 10000"/>
                <a:gd name="connsiteX806" fmla="*/ 364 w 10000"/>
                <a:gd name="connsiteY806" fmla="*/ 8859 h 10000"/>
                <a:gd name="connsiteX807" fmla="*/ 311 w 10000"/>
                <a:gd name="connsiteY807" fmla="*/ 8922 h 10000"/>
                <a:gd name="connsiteX808" fmla="*/ 268 w 10000"/>
                <a:gd name="connsiteY808" fmla="*/ 8964 h 10000"/>
                <a:gd name="connsiteX809" fmla="*/ 205 w 10000"/>
                <a:gd name="connsiteY809" fmla="*/ 9016 h 10000"/>
                <a:gd name="connsiteX810" fmla="*/ 146 w 10000"/>
                <a:gd name="connsiteY810" fmla="*/ 9053 h 10000"/>
                <a:gd name="connsiteX811" fmla="*/ 139 w 10000"/>
                <a:gd name="connsiteY811" fmla="*/ 9063 h 10000"/>
                <a:gd name="connsiteX812" fmla="*/ 129 w 10000"/>
                <a:gd name="connsiteY812" fmla="*/ 9077 h 10000"/>
                <a:gd name="connsiteX813" fmla="*/ 126 w 10000"/>
                <a:gd name="connsiteY813" fmla="*/ 9086 h 10000"/>
                <a:gd name="connsiteX814" fmla="*/ 126 w 10000"/>
                <a:gd name="connsiteY814" fmla="*/ 9102 h 10000"/>
                <a:gd name="connsiteX815" fmla="*/ 129 w 10000"/>
                <a:gd name="connsiteY815" fmla="*/ 9116 h 10000"/>
                <a:gd name="connsiteX816" fmla="*/ 139 w 10000"/>
                <a:gd name="connsiteY816" fmla="*/ 9135 h 10000"/>
                <a:gd name="connsiteX817" fmla="*/ 149 w 10000"/>
                <a:gd name="connsiteY817" fmla="*/ 9151 h 10000"/>
                <a:gd name="connsiteX818" fmla="*/ 164 w 10000"/>
                <a:gd name="connsiteY818" fmla="*/ 9175 h 10000"/>
                <a:gd name="connsiteX819" fmla="*/ 184 w 10000"/>
                <a:gd name="connsiteY819" fmla="*/ 9196 h 10000"/>
                <a:gd name="connsiteX820" fmla="*/ 207 w 10000"/>
                <a:gd name="connsiteY820" fmla="*/ 9215 h 10000"/>
                <a:gd name="connsiteX821" fmla="*/ 227 w 10000"/>
                <a:gd name="connsiteY821" fmla="*/ 9233 h 10000"/>
                <a:gd name="connsiteX822" fmla="*/ 253 w 10000"/>
                <a:gd name="connsiteY822" fmla="*/ 9250 h 10000"/>
                <a:gd name="connsiteX823" fmla="*/ 303 w 10000"/>
                <a:gd name="connsiteY823" fmla="*/ 9282 h 10000"/>
                <a:gd name="connsiteX824" fmla="*/ 351 w 10000"/>
                <a:gd name="connsiteY824" fmla="*/ 9315 h 10000"/>
                <a:gd name="connsiteX825" fmla="*/ 414 w 10000"/>
                <a:gd name="connsiteY825" fmla="*/ 9364 h 10000"/>
                <a:gd name="connsiteX826" fmla="*/ 480 w 10000"/>
                <a:gd name="connsiteY826" fmla="*/ 9416 h 10000"/>
                <a:gd name="connsiteX827" fmla="*/ 513 w 10000"/>
                <a:gd name="connsiteY827" fmla="*/ 9437 h 10000"/>
                <a:gd name="connsiteX828" fmla="*/ 548 w 10000"/>
                <a:gd name="connsiteY828" fmla="*/ 9462 h 10000"/>
                <a:gd name="connsiteX829" fmla="*/ 581 w 10000"/>
                <a:gd name="connsiteY829" fmla="*/ 9483 h 10000"/>
                <a:gd name="connsiteX830" fmla="*/ 614 w 10000"/>
                <a:gd name="connsiteY830" fmla="*/ 9502 h 10000"/>
                <a:gd name="connsiteX831" fmla="*/ 641 w 10000"/>
                <a:gd name="connsiteY831" fmla="*/ 9525 h 10000"/>
                <a:gd name="connsiteX832" fmla="*/ 672 w 10000"/>
                <a:gd name="connsiteY832" fmla="*/ 9549 h 10000"/>
                <a:gd name="connsiteX833" fmla="*/ 702 w 10000"/>
                <a:gd name="connsiteY833" fmla="*/ 9568 h 10000"/>
                <a:gd name="connsiteX834" fmla="*/ 737 w 10000"/>
                <a:gd name="connsiteY834" fmla="*/ 9589 h 10000"/>
                <a:gd name="connsiteX835" fmla="*/ 770 w 10000"/>
                <a:gd name="connsiteY835" fmla="*/ 9605 h 10000"/>
                <a:gd name="connsiteX836" fmla="*/ 808 w 10000"/>
                <a:gd name="connsiteY836" fmla="*/ 9617 h 10000"/>
                <a:gd name="connsiteX837" fmla="*/ 843 w 10000"/>
                <a:gd name="connsiteY837" fmla="*/ 9624 h 10000"/>
                <a:gd name="connsiteX838" fmla="*/ 884 w 10000"/>
                <a:gd name="connsiteY838" fmla="*/ 9628 h 10000"/>
                <a:gd name="connsiteX839" fmla="*/ 902 w 10000"/>
                <a:gd name="connsiteY839" fmla="*/ 9628 h 10000"/>
                <a:gd name="connsiteX840" fmla="*/ 914 w 10000"/>
                <a:gd name="connsiteY840" fmla="*/ 9631 h 10000"/>
                <a:gd name="connsiteX841" fmla="*/ 932 w 10000"/>
                <a:gd name="connsiteY841" fmla="*/ 9638 h 10000"/>
                <a:gd name="connsiteX842" fmla="*/ 942 w 10000"/>
                <a:gd name="connsiteY842" fmla="*/ 9642 h 10000"/>
                <a:gd name="connsiteX843" fmla="*/ 967 w 10000"/>
                <a:gd name="connsiteY843" fmla="*/ 9652 h 10000"/>
                <a:gd name="connsiteX844" fmla="*/ 987 w 10000"/>
                <a:gd name="connsiteY844" fmla="*/ 9668 h 10000"/>
                <a:gd name="connsiteX845" fmla="*/ 1005 w 10000"/>
                <a:gd name="connsiteY845" fmla="*/ 9682 h 10000"/>
                <a:gd name="connsiteX846" fmla="*/ 1025 w 10000"/>
                <a:gd name="connsiteY846" fmla="*/ 9698 h 10000"/>
                <a:gd name="connsiteX847" fmla="*/ 1045 w 10000"/>
                <a:gd name="connsiteY847" fmla="*/ 9712 h 10000"/>
                <a:gd name="connsiteX848" fmla="*/ 1073 w 10000"/>
                <a:gd name="connsiteY848" fmla="*/ 9724 h 10000"/>
                <a:gd name="connsiteX849" fmla="*/ 1098 w 10000"/>
                <a:gd name="connsiteY849" fmla="*/ 9738 h 10000"/>
                <a:gd name="connsiteX850" fmla="*/ 1121 w 10000"/>
                <a:gd name="connsiteY850" fmla="*/ 9750 h 10000"/>
                <a:gd name="connsiteX851" fmla="*/ 1141 w 10000"/>
                <a:gd name="connsiteY851" fmla="*/ 9762 h 10000"/>
                <a:gd name="connsiteX852" fmla="*/ 1159 w 10000"/>
                <a:gd name="connsiteY852" fmla="*/ 9776 h 10000"/>
                <a:gd name="connsiteX853" fmla="*/ 1172 w 10000"/>
                <a:gd name="connsiteY853" fmla="*/ 9787 h 10000"/>
                <a:gd name="connsiteX854" fmla="*/ 1182 w 10000"/>
                <a:gd name="connsiteY854" fmla="*/ 9804 h 10000"/>
                <a:gd name="connsiteX855" fmla="*/ 1194 w 10000"/>
                <a:gd name="connsiteY855" fmla="*/ 9818 h 10000"/>
                <a:gd name="connsiteX856" fmla="*/ 1202 w 10000"/>
                <a:gd name="connsiteY856" fmla="*/ 9834 h 10000"/>
                <a:gd name="connsiteX857" fmla="*/ 1212 w 10000"/>
                <a:gd name="connsiteY857" fmla="*/ 9869 h 10000"/>
                <a:gd name="connsiteX858" fmla="*/ 1220 w 10000"/>
                <a:gd name="connsiteY858" fmla="*/ 9906 h 10000"/>
                <a:gd name="connsiteX859" fmla="*/ 1230 w 10000"/>
                <a:gd name="connsiteY859" fmla="*/ 9951 h 10000"/>
                <a:gd name="connsiteX860" fmla="*/ 1237 w 10000"/>
                <a:gd name="connsiteY860" fmla="*/ 10000 h 10000"/>
                <a:gd name="connsiteX861" fmla="*/ 1237 w 10000"/>
                <a:gd name="connsiteY86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8 w 10000"/>
                <a:gd name="connsiteY720" fmla="*/ 7471 h 10000"/>
                <a:gd name="connsiteX721" fmla="*/ 2520 w 10000"/>
                <a:gd name="connsiteY721" fmla="*/ 7466 h 10000"/>
                <a:gd name="connsiteX722" fmla="*/ 2593 w 10000"/>
                <a:gd name="connsiteY722" fmla="*/ 7415 h 10000"/>
                <a:gd name="connsiteX723" fmla="*/ 2598 w 10000"/>
                <a:gd name="connsiteY723" fmla="*/ 7412 h 10000"/>
                <a:gd name="connsiteX724" fmla="*/ 2167 w 10000"/>
                <a:gd name="connsiteY724" fmla="*/ 7742 h 10000"/>
                <a:gd name="connsiteX725" fmla="*/ 2159 w 10000"/>
                <a:gd name="connsiteY725" fmla="*/ 7833 h 10000"/>
                <a:gd name="connsiteX726" fmla="*/ 2157 w 10000"/>
                <a:gd name="connsiteY726" fmla="*/ 7882 h 10000"/>
                <a:gd name="connsiteX727" fmla="*/ 2157 w 10000"/>
                <a:gd name="connsiteY727" fmla="*/ 7938 h 10000"/>
                <a:gd name="connsiteX728" fmla="*/ 2159 w 10000"/>
                <a:gd name="connsiteY728" fmla="*/ 8006 h 10000"/>
                <a:gd name="connsiteX729" fmla="*/ 2162 w 10000"/>
                <a:gd name="connsiteY729" fmla="*/ 8079 h 10000"/>
                <a:gd name="connsiteX730" fmla="*/ 2159 w 10000"/>
                <a:gd name="connsiteY730" fmla="*/ 8156 h 10000"/>
                <a:gd name="connsiteX731" fmla="*/ 2157 w 10000"/>
                <a:gd name="connsiteY731" fmla="*/ 8193 h 10000"/>
                <a:gd name="connsiteX732" fmla="*/ 2154 w 10000"/>
                <a:gd name="connsiteY732" fmla="*/ 8228 h 10000"/>
                <a:gd name="connsiteX733" fmla="*/ 2146 w 10000"/>
                <a:gd name="connsiteY733" fmla="*/ 8261 h 10000"/>
                <a:gd name="connsiteX734" fmla="*/ 2136 w 10000"/>
                <a:gd name="connsiteY734" fmla="*/ 8291 h 10000"/>
                <a:gd name="connsiteX735" fmla="*/ 2124 w 10000"/>
                <a:gd name="connsiteY735" fmla="*/ 8319 h 10000"/>
                <a:gd name="connsiteX736" fmla="*/ 2109 w 10000"/>
                <a:gd name="connsiteY736" fmla="*/ 8345 h 10000"/>
                <a:gd name="connsiteX737" fmla="*/ 2098 w 10000"/>
                <a:gd name="connsiteY737" fmla="*/ 8354 h 10000"/>
                <a:gd name="connsiteX738" fmla="*/ 2088 w 10000"/>
                <a:gd name="connsiteY738" fmla="*/ 8364 h 10000"/>
                <a:gd name="connsiteX739" fmla="*/ 2078 w 10000"/>
                <a:gd name="connsiteY739" fmla="*/ 8373 h 10000"/>
                <a:gd name="connsiteX740" fmla="*/ 2063 w 10000"/>
                <a:gd name="connsiteY740" fmla="*/ 8380 h 10000"/>
                <a:gd name="connsiteX741" fmla="*/ 1990 w 10000"/>
                <a:gd name="connsiteY741" fmla="*/ 8422 h 10000"/>
                <a:gd name="connsiteX742" fmla="*/ 1904 w 10000"/>
                <a:gd name="connsiteY742" fmla="*/ 8481 h 10000"/>
                <a:gd name="connsiteX743" fmla="*/ 1856 w 10000"/>
                <a:gd name="connsiteY743" fmla="*/ 8506 h 10000"/>
                <a:gd name="connsiteX744" fmla="*/ 1816 w 10000"/>
                <a:gd name="connsiteY744" fmla="*/ 8527 h 10000"/>
                <a:gd name="connsiteX745" fmla="*/ 1793 w 10000"/>
                <a:gd name="connsiteY745" fmla="*/ 8539 h 10000"/>
                <a:gd name="connsiteX746" fmla="*/ 1775 w 10000"/>
                <a:gd name="connsiteY746" fmla="*/ 8546 h 10000"/>
                <a:gd name="connsiteX747" fmla="*/ 1758 w 10000"/>
                <a:gd name="connsiteY747" fmla="*/ 8548 h 10000"/>
                <a:gd name="connsiteX748" fmla="*/ 1742 w 10000"/>
                <a:gd name="connsiteY748" fmla="*/ 8551 h 10000"/>
                <a:gd name="connsiteX749" fmla="*/ 1727 w 10000"/>
                <a:gd name="connsiteY749" fmla="*/ 8537 h 10000"/>
                <a:gd name="connsiteX750" fmla="*/ 1717 w 10000"/>
                <a:gd name="connsiteY750" fmla="*/ 8518 h 10000"/>
                <a:gd name="connsiteX751" fmla="*/ 1684 w 10000"/>
                <a:gd name="connsiteY751" fmla="*/ 8429 h 10000"/>
                <a:gd name="connsiteX752" fmla="*/ 1525 w 10000"/>
                <a:gd name="connsiteY752" fmla="*/ 8186 h 10000"/>
                <a:gd name="connsiteX753" fmla="*/ 1500 w 10000"/>
                <a:gd name="connsiteY753" fmla="*/ 8191 h 10000"/>
                <a:gd name="connsiteX754" fmla="*/ 1472 w 10000"/>
                <a:gd name="connsiteY754" fmla="*/ 8198 h 10000"/>
                <a:gd name="connsiteX755" fmla="*/ 1434 w 10000"/>
                <a:gd name="connsiteY755" fmla="*/ 8223 h 10000"/>
                <a:gd name="connsiteX756" fmla="*/ 1149 w 10000"/>
                <a:gd name="connsiteY756" fmla="*/ 8256 h 10000"/>
                <a:gd name="connsiteX757" fmla="*/ 1139 w 10000"/>
                <a:gd name="connsiteY757" fmla="*/ 8249 h 10000"/>
                <a:gd name="connsiteX758" fmla="*/ 1126 w 10000"/>
                <a:gd name="connsiteY758" fmla="*/ 8240 h 10000"/>
                <a:gd name="connsiteX759" fmla="*/ 1114 w 10000"/>
                <a:gd name="connsiteY759" fmla="*/ 8240 h 10000"/>
                <a:gd name="connsiteX760" fmla="*/ 1091 w 10000"/>
                <a:gd name="connsiteY760" fmla="*/ 8242 h 10000"/>
                <a:gd name="connsiteX761" fmla="*/ 1071 w 10000"/>
                <a:gd name="connsiteY761" fmla="*/ 8252 h 10000"/>
                <a:gd name="connsiteX762" fmla="*/ 1048 w 10000"/>
                <a:gd name="connsiteY762" fmla="*/ 8261 h 10000"/>
                <a:gd name="connsiteX763" fmla="*/ 1030 w 10000"/>
                <a:gd name="connsiteY763" fmla="*/ 8273 h 10000"/>
                <a:gd name="connsiteX764" fmla="*/ 1010 w 10000"/>
                <a:gd name="connsiteY764" fmla="*/ 8287 h 10000"/>
                <a:gd name="connsiteX765" fmla="*/ 995 w 10000"/>
                <a:gd name="connsiteY765" fmla="*/ 8303 h 10000"/>
                <a:gd name="connsiteX766" fmla="*/ 975 w 10000"/>
                <a:gd name="connsiteY766" fmla="*/ 8322 h 10000"/>
                <a:gd name="connsiteX767" fmla="*/ 960 w 10000"/>
                <a:gd name="connsiteY767" fmla="*/ 8343 h 10000"/>
                <a:gd name="connsiteX768" fmla="*/ 927 w 10000"/>
                <a:gd name="connsiteY768" fmla="*/ 8380 h 10000"/>
                <a:gd name="connsiteX769" fmla="*/ 891 w 10000"/>
                <a:gd name="connsiteY769" fmla="*/ 8417 h 10000"/>
                <a:gd name="connsiteX770" fmla="*/ 874 w 10000"/>
                <a:gd name="connsiteY770" fmla="*/ 8436 h 10000"/>
                <a:gd name="connsiteX771" fmla="*/ 859 w 10000"/>
                <a:gd name="connsiteY771" fmla="*/ 8450 h 10000"/>
                <a:gd name="connsiteX772" fmla="*/ 838 w 10000"/>
                <a:gd name="connsiteY772" fmla="*/ 8462 h 10000"/>
                <a:gd name="connsiteX773" fmla="*/ 821 w 10000"/>
                <a:gd name="connsiteY773" fmla="*/ 8476 h 10000"/>
                <a:gd name="connsiteX774" fmla="*/ 742 w 10000"/>
                <a:gd name="connsiteY774" fmla="*/ 8562 h 10000"/>
                <a:gd name="connsiteX775" fmla="*/ 672 w 10000"/>
                <a:gd name="connsiteY775" fmla="*/ 8644 h 10000"/>
                <a:gd name="connsiteX776" fmla="*/ 639 w 10000"/>
                <a:gd name="connsiteY776" fmla="*/ 8684 h 10000"/>
                <a:gd name="connsiteX777" fmla="*/ 609 w 10000"/>
                <a:gd name="connsiteY777" fmla="*/ 8731 h 10000"/>
                <a:gd name="connsiteX778" fmla="*/ 583 w 10000"/>
                <a:gd name="connsiteY778" fmla="*/ 8777 h 10000"/>
                <a:gd name="connsiteX779" fmla="*/ 556 w 10000"/>
                <a:gd name="connsiteY779" fmla="*/ 8831 h 10000"/>
                <a:gd name="connsiteX780" fmla="*/ 545 w 10000"/>
                <a:gd name="connsiteY780" fmla="*/ 8852 h 10000"/>
                <a:gd name="connsiteX781" fmla="*/ 525 w 10000"/>
                <a:gd name="connsiteY781" fmla="*/ 8885 h 10000"/>
                <a:gd name="connsiteX782" fmla="*/ 503 w 10000"/>
                <a:gd name="connsiteY782" fmla="*/ 8925 h 10000"/>
                <a:gd name="connsiteX783" fmla="*/ 480 w 10000"/>
                <a:gd name="connsiteY783" fmla="*/ 8962 h 10000"/>
                <a:gd name="connsiteX784" fmla="*/ 465 w 10000"/>
                <a:gd name="connsiteY784" fmla="*/ 8981 h 10000"/>
                <a:gd name="connsiteX785" fmla="*/ 455 w 10000"/>
                <a:gd name="connsiteY785" fmla="*/ 8993 h 10000"/>
                <a:gd name="connsiteX786" fmla="*/ 444 w 10000"/>
                <a:gd name="connsiteY786" fmla="*/ 9000 h 10000"/>
                <a:gd name="connsiteX787" fmla="*/ 434 w 10000"/>
                <a:gd name="connsiteY787" fmla="*/ 9007 h 10000"/>
                <a:gd name="connsiteX788" fmla="*/ 432 w 10000"/>
                <a:gd name="connsiteY788" fmla="*/ 9007 h 10000"/>
                <a:gd name="connsiteX789" fmla="*/ 429 w 10000"/>
                <a:gd name="connsiteY789" fmla="*/ 9004 h 10000"/>
                <a:gd name="connsiteX790" fmla="*/ 427 w 10000"/>
                <a:gd name="connsiteY790" fmla="*/ 8997 h 10000"/>
                <a:gd name="connsiteX791" fmla="*/ 427 w 10000"/>
                <a:gd name="connsiteY791" fmla="*/ 8993 h 10000"/>
                <a:gd name="connsiteX792" fmla="*/ 424 w 10000"/>
                <a:gd name="connsiteY792" fmla="*/ 8976 h 10000"/>
                <a:gd name="connsiteX793" fmla="*/ 427 w 10000"/>
                <a:gd name="connsiteY793" fmla="*/ 8948 h 10000"/>
                <a:gd name="connsiteX794" fmla="*/ 437 w 10000"/>
                <a:gd name="connsiteY794" fmla="*/ 8913 h 10000"/>
                <a:gd name="connsiteX795" fmla="*/ 455 w 10000"/>
                <a:gd name="connsiteY795" fmla="*/ 8859 h 10000"/>
                <a:gd name="connsiteX796" fmla="*/ 462 w 10000"/>
                <a:gd name="connsiteY796" fmla="*/ 8834 h 10000"/>
                <a:gd name="connsiteX797" fmla="*/ 470 w 10000"/>
                <a:gd name="connsiteY797" fmla="*/ 8810 h 10000"/>
                <a:gd name="connsiteX798" fmla="*/ 472 w 10000"/>
                <a:gd name="connsiteY798" fmla="*/ 8794 h 10000"/>
                <a:gd name="connsiteX799" fmla="*/ 472 w 10000"/>
                <a:gd name="connsiteY799" fmla="*/ 8780 h 10000"/>
                <a:gd name="connsiteX800" fmla="*/ 462 w 10000"/>
                <a:gd name="connsiteY800" fmla="*/ 8784 h 10000"/>
                <a:gd name="connsiteX801" fmla="*/ 452 w 10000"/>
                <a:gd name="connsiteY801" fmla="*/ 8787 h 10000"/>
                <a:gd name="connsiteX802" fmla="*/ 437 w 10000"/>
                <a:gd name="connsiteY802" fmla="*/ 8794 h 10000"/>
                <a:gd name="connsiteX803" fmla="*/ 424 w 10000"/>
                <a:gd name="connsiteY803" fmla="*/ 8803 h 10000"/>
                <a:gd name="connsiteX804" fmla="*/ 394 w 10000"/>
                <a:gd name="connsiteY804" fmla="*/ 8829 h 10000"/>
                <a:gd name="connsiteX805" fmla="*/ 364 w 10000"/>
                <a:gd name="connsiteY805" fmla="*/ 8859 h 10000"/>
                <a:gd name="connsiteX806" fmla="*/ 311 w 10000"/>
                <a:gd name="connsiteY806" fmla="*/ 8922 h 10000"/>
                <a:gd name="connsiteX807" fmla="*/ 268 w 10000"/>
                <a:gd name="connsiteY807" fmla="*/ 8964 h 10000"/>
                <a:gd name="connsiteX808" fmla="*/ 205 w 10000"/>
                <a:gd name="connsiteY808" fmla="*/ 9016 h 10000"/>
                <a:gd name="connsiteX809" fmla="*/ 146 w 10000"/>
                <a:gd name="connsiteY809" fmla="*/ 9053 h 10000"/>
                <a:gd name="connsiteX810" fmla="*/ 139 w 10000"/>
                <a:gd name="connsiteY810" fmla="*/ 9063 h 10000"/>
                <a:gd name="connsiteX811" fmla="*/ 129 w 10000"/>
                <a:gd name="connsiteY811" fmla="*/ 9077 h 10000"/>
                <a:gd name="connsiteX812" fmla="*/ 126 w 10000"/>
                <a:gd name="connsiteY812" fmla="*/ 9086 h 10000"/>
                <a:gd name="connsiteX813" fmla="*/ 126 w 10000"/>
                <a:gd name="connsiteY813" fmla="*/ 9102 h 10000"/>
                <a:gd name="connsiteX814" fmla="*/ 129 w 10000"/>
                <a:gd name="connsiteY814" fmla="*/ 9116 h 10000"/>
                <a:gd name="connsiteX815" fmla="*/ 139 w 10000"/>
                <a:gd name="connsiteY815" fmla="*/ 9135 h 10000"/>
                <a:gd name="connsiteX816" fmla="*/ 149 w 10000"/>
                <a:gd name="connsiteY816" fmla="*/ 9151 h 10000"/>
                <a:gd name="connsiteX817" fmla="*/ 164 w 10000"/>
                <a:gd name="connsiteY817" fmla="*/ 9175 h 10000"/>
                <a:gd name="connsiteX818" fmla="*/ 184 w 10000"/>
                <a:gd name="connsiteY818" fmla="*/ 9196 h 10000"/>
                <a:gd name="connsiteX819" fmla="*/ 207 w 10000"/>
                <a:gd name="connsiteY819" fmla="*/ 9215 h 10000"/>
                <a:gd name="connsiteX820" fmla="*/ 227 w 10000"/>
                <a:gd name="connsiteY820" fmla="*/ 9233 h 10000"/>
                <a:gd name="connsiteX821" fmla="*/ 253 w 10000"/>
                <a:gd name="connsiteY821" fmla="*/ 9250 h 10000"/>
                <a:gd name="connsiteX822" fmla="*/ 303 w 10000"/>
                <a:gd name="connsiteY822" fmla="*/ 9282 h 10000"/>
                <a:gd name="connsiteX823" fmla="*/ 351 w 10000"/>
                <a:gd name="connsiteY823" fmla="*/ 9315 h 10000"/>
                <a:gd name="connsiteX824" fmla="*/ 414 w 10000"/>
                <a:gd name="connsiteY824" fmla="*/ 9364 h 10000"/>
                <a:gd name="connsiteX825" fmla="*/ 480 w 10000"/>
                <a:gd name="connsiteY825" fmla="*/ 9416 h 10000"/>
                <a:gd name="connsiteX826" fmla="*/ 513 w 10000"/>
                <a:gd name="connsiteY826" fmla="*/ 9437 h 10000"/>
                <a:gd name="connsiteX827" fmla="*/ 548 w 10000"/>
                <a:gd name="connsiteY827" fmla="*/ 9462 h 10000"/>
                <a:gd name="connsiteX828" fmla="*/ 581 w 10000"/>
                <a:gd name="connsiteY828" fmla="*/ 9483 h 10000"/>
                <a:gd name="connsiteX829" fmla="*/ 614 w 10000"/>
                <a:gd name="connsiteY829" fmla="*/ 9502 h 10000"/>
                <a:gd name="connsiteX830" fmla="*/ 641 w 10000"/>
                <a:gd name="connsiteY830" fmla="*/ 9525 h 10000"/>
                <a:gd name="connsiteX831" fmla="*/ 672 w 10000"/>
                <a:gd name="connsiteY831" fmla="*/ 9549 h 10000"/>
                <a:gd name="connsiteX832" fmla="*/ 702 w 10000"/>
                <a:gd name="connsiteY832" fmla="*/ 9568 h 10000"/>
                <a:gd name="connsiteX833" fmla="*/ 737 w 10000"/>
                <a:gd name="connsiteY833" fmla="*/ 9589 h 10000"/>
                <a:gd name="connsiteX834" fmla="*/ 770 w 10000"/>
                <a:gd name="connsiteY834" fmla="*/ 9605 h 10000"/>
                <a:gd name="connsiteX835" fmla="*/ 808 w 10000"/>
                <a:gd name="connsiteY835" fmla="*/ 9617 h 10000"/>
                <a:gd name="connsiteX836" fmla="*/ 843 w 10000"/>
                <a:gd name="connsiteY836" fmla="*/ 9624 h 10000"/>
                <a:gd name="connsiteX837" fmla="*/ 884 w 10000"/>
                <a:gd name="connsiteY837" fmla="*/ 9628 h 10000"/>
                <a:gd name="connsiteX838" fmla="*/ 902 w 10000"/>
                <a:gd name="connsiteY838" fmla="*/ 9628 h 10000"/>
                <a:gd name="connsiteX839" fmla="*/ 914 w 10000"/>
                <a:gd name="connsiteY839" fmla="*/ 9631 h 10000"/>
                <a:gd name="connsiteX840" fmla="*/ 932 w 10000"/>
                <a:gd name="connsiteY840" fmla="*/ 9638 h 10000"/>
                <a:gd name="connsiteX841" fmla="*/ 942 w 10000"/>
                <a:gd name="connsiteY841" fmla="*/ 9642 h 10000"/>
                <a:gd name="connsiteX842" fmla="*/ 967 w 10000"/>
                <a:gd name="connsiteY842" fmla="*/ 9652 h 10000"/>
                <a:gd name="connsiteX843" fmla="*/ 987 w 10000"/>
                <a:gd name="connsiteY843" fmla="*/ 9668 h 10000"/>
                <a:gd name="connsiteX844" fmla="*/ 1005 w 10000"/>
                <a:gd name="connsiteY844" fmla="*/ 9682 h 10000"/>
                <a:gd name="connsiteX845" fmla="*/ 1025 w 10000"/>
                <a:gd name="connsiteY845" fmla="*/ 9698 h 10000"/>
                <a:gd name="connsiteX846" fmla="*/ 1045 w 10000"/>
                <a:gd name="connsiteY846" fmla="*/ 9712 h 10000"/>
                <a:gd name="connsiteX847" fmla="*/ 1073 w 10000"/>
                <a:gd name="connsiteY847" fmla="*/ 9724 h 10000"/>
                <a:gd name="connsiteX848" fmla="*/ 1098 w 10000"/>
                <a:gd name="connsiteY848" fmla="*/ 9738 h 10000"/>
                <a:gd name="connsiteX849" fmla="*/ 1121 w 10000"/>
                <a:gd name="connsiteY849" fmla="*/ 9750 h 10000"/>
                <a:gd name="connsiteX850" fmla="*/ 1141 w 10000"/>
                <a:gd name="connsiteY850" fmla="*/ 9762 h 10000"/>
                <a:gd name="connsiteX851" fmla="*/ 1159 w 10000"/>
                <a:gd name="connsiteY851" fmla="*/ 9776 h 10000"/>
                <a:gd name="connsiteX852" fmla="*/ 1172 w 10000"/>
                <a:gd name="connsiteY852" fmla="*/ 9787 h 10000"/>
                <a:gd name="connsiteX853" fmla="*/ 1182 w 10000"/>
                <a:gd name="connsiteY853" fmla="*/ 9804 h 10000"/>
                <a:gd name="connsiteX854" fmla="*/ 1194 w 10000"/>
                <a:gd name="connsiteY854" fmla="*/ 9818 h 10000"/>
                <a:gd name="connsiteX855" fmla="*/ 1202 w 10000"/>
                <a:gd name="connsiteY855" fmla="*/ 9834 h 10000"/>
                <a:gd name="connsiteX856" fmla="*/ 1212 w 10000"/>
                <a:gd name="connsiteY856" fmla="*/ 9869 h 10000"/>
                <a:gd name="connsiteX857" fmla="*/ 1220 w 10000"/>
                <a:gd name="connsiteY857" fmla="*/ 9906 h 10000"/>
                <a:gd name="connsiteX858" fmla="*/ 1230 w 10000"/>
                <a:gd name="connsiteY858" fmla="*/ 9951 h 10000"/>
                <a:gd name="connsiteX859" fmla="*/ 1237 w 10000"/>
                <a:gd name="connsiteY859" fmla="*/ 10000 h 10000"/>
                <a:gd name="connsiteX860" fmla="*/ 1237 w 10000"/>
                <a:gd name="connsiteY86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08 w 10000"/>
                <a:gd name="connsiteY720" fmla="*/ 7471 h 10000"/>
                <a:gd name="connsiteX721" fmla="*/ 2520 w 10000"/>
                <a:gd name="connsiteY721" fmla="*/ 7466 h 10000"/>
                <a:gd name="connsiteX722" fmla="*/ 2593 w 10000"/>
                <a:gd name="connsiteY722" fmla="*/ 7415 h 10000"/>
                <a:gd name="connsiteX723" fmla="*/ 2167 w 10000"/>
                <a:gd name="connsiteY723" fmla="*/ 7742 h 10000"/>
                <a:gd name="connsiteX724" fmla="*/ 2159 w 10000"/>
                <a:gd name="connsiteY724" fmla="*/ 7833 h 10000"/>
                <a:gd name="connsiteX725" fmla="*/ 2157 w 10000"/>
                <a:gd name="connsiteY725" fmla="*/ 7882 h 10000"/>
                <a:gd name="connsiteX726" fmla="*/ 2157 w 10000"/>
                <a:gd name="connsiteY726" fmla="*/ 7938 h 10000"/>
                <a:gd name="connsiteX727" fmla="*/ 2159 w 10000"/>
                <a:gd name="connsiteY727" fmla="*/ 8006 h 10000"/>
                <a:gd name="connsiteX728" fmla="*/ 2162 w 10000"/>
                <a:gd name="connsiteY728" fmla="*/ 8079 h 10000"/>
                <a:gd name="connsiteX729" fmla="*/ 2159 w 10000"/>
                <a:gd name="connsiteY729" fmla="*/ 8156 h 10000"/>
                <a:gd name="connsiteX730" fmla="*/ 2157 w 10000"/>
                <a:gd name="connsiteY730" fmla="*/ 8193 h 10000"/>
                <a:gd name="connsiteX731" fmla="*/ 2154 w 10000"/>
                <a:gd name="connsiteY731" fmla="*/ 8228 h 10000"/>
                <a:gd name="connsiteX732" fmla="*/ 2146 w 10000"/>
                <a:gd name="connsiteY732" fmla="*/ 8261 h 10000"/>
                <a:gd name="connsiteX733" fmla="*/ 2136 w 10000"/>
                <a:gd name="connsiteY733" fmla="*/ 8291 h 10000"/>
                <a:gd name="connsiteX734" fmla="*/ 2124 w 10000"/>
                <a:gd name="connsiteY734" fmla="*/ 8319 h 10000"/>
                <a:gd name="connsiteX735" fmla="*/ 2109 w 10000"/>
                <a:gd name="connsiteY735" fmla="*/ 8345 h 10000"/>
                <a:gd name="connsiteX736" fmla="*/ 2098 w 10000"/>
                <a:gd name="connsiteY736" fmla="*/ 8354 h 10000"/>
                <a:gd name="connsiteX737" fmla="*/ 2088 w 10000"/>
                <a:gd name="connsiteY737" fmla="*/ 8364 h 10000"/>
                <a:gd name="connsiteX738" fmla="*/ 2078 w 10000"/>
                <a:gd name="connsiteY738" fmla="*/ 8373 h 10000"/>
                <a:gd name="connsiteX739" fmla="*/ 2063 w 10000"/>
                <a:gd name="connsiteY739" fmla="*/ 8380 h 10000"/>
                <a:gd name="connsiteX740" fmla="*/ 1990 w 10000"/>
                <a:gd name="connsiteY740" fmla="*/ 8422 h 10000"/>
                <a:gd name="connsiteX741" fmla="*/ 1904 w 10000"/>
                <a:gd name="connsiteY741" fmla="*/ 8481 h 10000"/>
                <a:gd name="connsiteX742" fmla="*/ 1856 w 10000"/>
                <a:gd name="connsiteY742" fmla="*/ 8506 h 10000"/>
                <a:gd name="connsiteX743" fmla="*/ 1816 w 10000"/>
                <a:gd name="connsiteY743" fmla="*/ 8527 h 10000"/>
                <a:gd name="connsiteX744" fmla="*/ 1793 w 10000"/>
                <a:gd name="connsiteY744" fmla="*/ 8539 h 10000"/>
                <a:gd name="connsiteX745" fmla="*/ 1775 w 10000"/>
                <a:gd name="connsiteY745" fmla="*/ 8546 h 10000"/>
                <a:gd name="connsiteX746" fmla="*/ 1758 w 10000"/>
                <a:gd name="connsiteY746" fmla="*/ 8548 h 10000"/>
                <a:gd name="connsiteX747" fmla="*/ 1742 w 10000"/>
                <a:gd name="connsiteY747" fmla="*/ 8551 h 10000"/>
                <a:gd name="connsiteX748" fmla="*/ 1727 w 10000"/>
                <a:gd name="connsiteY748" fmla="*/ 8537 h 10000"/>
                <a:gd name="connsiteX749" fmla="*/ 1717 w 10000"/>
                <a:gd name="connsiteY749" fmla="*/ 8518 h 10000"/>
                <a:gd name="connsiteX750" fmla="*/ 1684 w 10000"/>
                <a:gd name="connsiteY750" fmla="*/ 8429 h 10000"/>
                <a:gd name="connsiteX751" fmla="*/ 1525 w 10000"/>
                <a:gd name="connsiteY751" fmla="*/ 8186 h 10000"/>
                <a:gd name="connsiteX752" fmla="*/ 1500 w 10000"/>
                <a:gd name="connsiteY752" fmla="*/ 8191 h 10000"/>
                <a:gd name="connsiteX753" fmla="*/ 1472 w 10000"/>
                <a:gd name="connsiteY753" fmla="*/ 8198 h 10000"/>
                <a:gd name="connsiteX754" fmla="*/ 1434 w 10000"/>
                <a:gd name="connsiteY754" fmla="*/ 8223 h 10000"/>
                <a:gd name="connsiteX755" fmla="*/ 1149 w 10000"/>
                <a:gd name="connsiteY755" fmla="*/ 8256 h 10000"/>
                <a:gd name="connsiteX756" fmla="*/ 1139 w 10000"/>
                <a:gd name="connsiteY756" fmla="*/ 8249 h 10000"/>
                <a:gd name="connsiteX757" fmla="*/ 1126 w 10000"/>
                <a:gd name="connsiteY757" fmla="*/ 8240 h 10000"/>
                <a:gd name="connsiteX758" fmla="*/ 1114 w 10000"/>
                <a:gd name="connsiteY758" fmla="*/ 8240 h 10000"/>
                <a:gd name="connsiteX759" fmla="*/ 1091 w 10000"/>
                <a:gd name="connsiteY759" fmla="*/ 8242 h 10000"/>
                <a:gd name="connsiteX760" fmla="*/ 1071 w 10000"/>
                <a:gd name="connsiteY760" fmla="*/ 8252 h 10000"/>
                <a:gd name="connsiteX761" fmla="*/ 1048 w 10000"/>
                <a:gd name="connsiteY761" fmla="*/ 8261 h 10000"/>
                <a:gd name="connsiteX762" fmla="*/ 1030 w 10000"/>
                <a:gd name="connsiteY762" fmla="*/ 8273 h 10000"/>
                <a:gd name="connsiteX763" fmla="*/ 1010 w 10000"/>
                <a:gd name="connsiteY763" fmla="*/ 8287 h 10000"/>
                <a:gd name="connsiteX764" fmla="*/ 995 w 10000"/>
                <a:gd name="connsiteY764" fmla="*/ 8303 h 10000"/>
                <a:gd name="connsiteX765" fmla="*/ 975 w 10000"/>
                <a:gd name="connsiteY765" fmla="*/ 8322 h 10000"/>
                <a:gd name="connsiteX766" fmla="*/ 960 w 10000"/>
                <a:gd name="connsiteY766" fmla="*/ 8343 h 10000"/>
                <a:gd name="connsiteX767" fmla="*/ 927 w 10000"/>
                <a:gd name="connsiteY767" fmla="*/ 8380 h 10000"/>
                <a:gd name="connsiteX768" fmla="*/ 891 w 10000"/>
                <a:gd name="connsiteY768" fmla="*/ 8417 h 10000"/>
                <a:gd name="connsiteX769" fmla="*/ 874 w 10000"/>
                <a:gd name="connsiteY769" fmla="*/ 8436 h 10000"/>
                <a:gd name="connsiteX770" fmla="*/ 859 w 10000"/>
                <a:gd name="connsiteY770" fmla="*/ 8450 h 10000"/>
                <a:gd name="connsiteX771" fmla="*/ 838 w 10000"/>
                <a:gd name="connsiteY771" fmla="*/ 8462 h 10000"/>
                <a:gd name="connsiteX772" fmla="*/ 821 w 10000"/>
                <a:gd name="connsiteY772" fmla="*/ 8476 h 10000"/>
                <a:gd name="connsiteX773" fmla="*/ 742 w 10000"/>
                <a:gd name="connsiteY773" fmla="*/ 8562 h 10000"/>
                <a:gd name="connsiteX774" fmla="*/ 672 w 10000"/>
                <a:gd name="connsiteY774" fmla="*/ 8644 h 10000"/>
                <a:gd name="connsiteX775" fmla="*/ 639 w 10000"/>
                <a:gd name="connsiteY775" fmla="*/ 8684 h 10000"/>
                <a:gd name="connsiteX776" fmla="*/ 609 w 10000"/>
                <a:gd name="connsiteY776" fmla="*/ 8731 h 10000"/>
                <a:gd name="connsiteX777" fmla="*/ 583 w 10000"/>
                <a:gd name="connsiteY777" fmla="*/ 8777 h 10000"/>
                <a:gd name="connsiteX778" fmla="*/ 556 w 10000"/>
                <a:gd name="connsiteY778" fmla="*/ 8831 h 10000"/>
                <a:gd name="connsiteX779" fmla="*/ 545 w 10000"/>
                <a:gd name="connsiteY779" fmla="*/ 8852 h 10000"/>
                <a:gd name="connsiteX780" fmla="*/ 525 w 10000"/>
                <a:gd name="connsiteY780" fmla="*/ 8885 h 10000"/>
                <a:gd name="connsiteX781" fmla="*/ 503 w 10000"/>
                <a:gd name="connsiteY781" fmla="*/ 8925 h 10000"/>
                <a:gd name="connsiteX782" fmla="*/ 480 w 10000"/>
                <a:gd name="connsiteY782" fmla="*/ 8962 h 10000"/>
                <a:gd name="connsiteX783" fmla="*/ 465 w 10000"/>
                <a:gd name="connsiteY783" fmla="*/ 8981 h 10000"/>
                <a:gd name="connsiteX784" fmla="*/ 455 w 10000"/>
                <a:gd name="connsiteY784" fmla="*/ 8993 h 10000"/>
                <a:gd name="connsiteX785" fmla="*/ 444 w 10000"/>
                <a:gd name="connsiteY785" fmla="*/ 9000 h 10000"/>
                <a:gd name="connsiteX786" fmla="*/ 434 w 10000"/>
                <a:gd name="connsiteY786" fmla="*/ 9007 h 10000"/>
                <a:gd name="connsiteX787" fmla="*/ 432 w 10000"/>
                <a:gd name="connsiteY787" fmla="*/ 9007 h 10000"/>
                <a:gd name="connsiteX788" fmla="*/ 429 w 10000"/>
                <a:gd name="connsiteY788" fmla="*/ 9004 h 10000"/>
                <a:gd name="connsiteX789" fmla="*/ 427 w 10000"/>
                <a:gd name="connsiteY789" fmla="*/ 8997 h 10000"/>
                <a:gd name="connsiteX790" fmla="*/ 427 w 10000"/>
                <a:gd name="connsiteY790" fmla="*/ 8993 h 10000"/>
                <a:gd name="connsiteX791" fmla="*/ 424 w 10000"/>
                <a:gd name="connsiteY791" fmla="*/ 8976 h 10000"/>
                <a:gd name="connsiteX792" fmla="*/ 427 w 10000"/>
                <a:gd name="connsiteY792" fmla="*/ 8948 h 10000"/>
                <a:gd name="connsiteX793" fmla="*/ 437 w 10000"/>
                <a:gd name="connsiteY793" fmla="*/ 8913 h 10000"/>
                <a:gd name="connsiteX794" fmla="*/ 455 w 10000"/>
                <a:gd name="connsiteY794" fmla="*/ 8859 h 10000"/>
                <a:gd name="connsiteX795" fmla="*/ 462 w 10000"/>
                <a:gd name="connsiteY795" fmla="*/ 8834 h 10000"/>
                <a:gd name="connsiteX796" fmla="*/ 470 w 10000"/>
                <a:gd name="connsiteY796" fmla="*/ 8810 h 10000"/>
                <a:gd name="connsiteX797" fmla="*/ 472 w 10000"/>
                <a:gd name="connsiteY797" fmla="*/ 8794 h 10000"/>
                <a:gd name="connsiteX798" fmla="*/ 472 w 10000"/>
                <a:gd name="connsiteY798" fmla="*/ 8780 h 10000"/>
                <a:gd name="connsiteX799" fmla="*/ 462 w 10000"/>
                <a:gd name="connsiteY799" fmla="*/ 8784 h 10000"/>
                <a:gd name="connsiteX800" fmla="*/ 452 w 10000"/>
                <a:gd name="connsiteY800" fmla="*/ 8787 h 10000"/>
                <a:gd name="connsiteX801" fmla="*/ 437 w 10000"/>
                <a:gd name="connsiteY801" fmla="*/ 8794 h 10000"/>
                <a:gd name="connsiteX802" fmla="*/ 424 w 10000"/>
                <a:gd name="connsiteY802" fmla="*/ 8803 h 10000"/>
                <a:gd name="connsiteX803" fmla="*/ 394 w 10000"/>
                <a:gd name="connsiteY803" fmla="*/ 8829 h 10000"/>
                <a:gd name="connsiteX804" fmla="*/ 364 w 10000"/>
                <a:gd name="connsiteY804" fmla="*/ 8859 h 10000"/>
                <a:gd name="connsiteX805" fmla="*/ 311 w 10000"/>
                <a:gd name="connsiteY805" fmla="*/ 8922 h 10000"/>
                <a:gd name="connsiteX806" fmla="*/ 268 w 10000"/>
                <a:gd name="connsiteY806" fmla="*/ 8964 h 10000"/>
                <a:gd name="connsiteX807" fmla="*/ 205 w 10000"/>
                <a:gd name="connsiteY807" fmla="*/ 9016 h 10000"/>
                <a:gd name="connsiteX808" fmla="*/ 146 w 10000"/>
                <a:gd name="connsiteY808" fmla="*/ 9053 h 10000"/>
                <a:gd name="connsiteX809" fmla="*/ 139 w 10000"/>
                <a:gd name="connsiteY809" fmla="*/ 9063 h 10000"/>
                <a:gd name="connsiteX810" fmla="*/ 129 w 10000"/>
                <a:gd name="connsiteY810" fmla="*/ 9077 h 10000"/>
                <a:gd name="connsiteX811" fmla="*/ 126 w 10000"/>
                <a:gd name="connsiteY811" fmla="*/ 9086 h 10000"/>
                <a:gd name="connsiteX812" fmla="*/ 126 w 10000"/>
                <a:gd name="connsiteY812" fmla="*/ 9102 h 10000"/>
                <a:gd name="connsiteX813" fmla="*/ 129 w 10000"/>
                <a:gd name="connsiteY813" fmla="*/ 9116 h 10000"/>
                <a:gd name="connsiteX814" fmla="*/ 139 w 10000"/>
                <a:gd name="connsiteY814" fmla="*/ 9135 h 10000"/>
                <a:gd name="connsiteX815" fmla="*/ 149 w 10000"/>
                <a:gd name="connsiteY815" fmla="*/ 9151 h 10000"/>
                <a:gd name="connsiteX816" fmla="*/ 164 w 10000"/>
                <a:gd name="connsiteY816" fmla="*/ 9175 h 10000"/>
                <a:gd name="connsiteX817" fmla="*/ 184 w 10000"/>
                <a:gd name="connsiteY817" fmla="*/ 9196 h 10000"/>
                <a:gd name="connsiteX818" fmla="*/ 207 w 10000"/>
                <a:gd name="connsiteY818" fmla="*/ 9215 h 10000"/>
                <a:gd name="connsiteX819" fmla="*/ 227 w 10000"/>
                <a:gd name="connsiteY819" fmla="*/ 9233 h 10000"/>
                <a:gd name="connsiteX820" fmla="*/ 253 w 10000"/>
                <a:gd name="connsiteY820" fmla="*/ 9250 h 10000"/>
                <a:gd name="connsiteX821" fmla="*/ 303 w 10000"/>
                <a:gd name="connsiteY821" fmla="*/ 9282 h 10000"/>
                <a:gd name="connsiteX822" fmla="*/ 351 w 10000"/>
                <a:gd name="connsiteY822" fmla="*/ 9315 h 10000"/>
                <a:gd name="connsiteX823" fmla="*/ 414 w 10000"/>
                <a:gd name="connsiteY823" fmla="*/ 9364 h 10000"/>
                <a:gd name="connsiteX824" fmla="*/ 480 w 10000"/>
                <a:gd name="connsiteY824" fmla="*/ 9416 h 10000"/>
                <a:gd name="connsiteX825" fmla="*/ 513 w 10000"/>
                <a:gd name="connsiteY825" fmla="*/ 9437 h 10000"/>
                <a:gd name="connsiteX826" fmla="*/ 548 w 10000"/>
                <a:gd name="connsiteY826" fmla="*/ 9462 h 10000"/>
                <a:gd name="connsiteX827" fmla="*/ 581 w 10000"/>
                <a:gd name="connsiteY827" fmla="*/ 9483 h 10000"/>
                <a:gd name="connsiteX828" fmla="*/ 614 w 10000"/>
                <a:gd name="connsiteY828" fmla="*/ 9502 h 10000"/>
                <a:gd name="connsiteX829" fmla="*/ 641 w 10000"/>
                <a:gd name="connsiteY829" fmla="*/ 9525 h 10000"/>
                <a:gd name="connsiteX830" fmla="*/ 672 w 10000"/>
                <a:gd name="connsiteY830" fmla="*/ 9549 h 10000"/>
                <a:gd name="connsiteX831" fmla="*/ 702 w 10000"/>
                <a:gd name="connsiteY831" fmla="*/ 9568 h 10000"/>
                <a:gd name="connsiteX832" fmla="*/ 737 w 10000"/>
                <a:gd name="connsiteY832" fmla="*/ 9589 h 10000"/>
                <a:gd name="connsiteX833" fmla="*/ 770 w 10000"/>
                <a:gd name="connsiteY833" fmla="*/ 9605 h 10000"/>
                <a:gd name="connsiteX834" fmla="*/ 808 w 10000"/>
                <a:gd name="connsiteY834" fmla="*/ 9617 h 10000"/>
                <a:gd name="connsiteX835" fmla="*/ 843 w 10000"/>
                <a:gd name="connsiteY835" fmla="*/ 9624 h 10000"/>
                <a:gd name="connsiteX836" fmla="*/ 884 w 10000"/>
                <a:gd name="connsiteY836" fmla="*/ 9628 h 10000"/>
                <a:gd name="connsiteX837" fmla="*/ 902 w 10000"/>
                <a:gd name="connsiteY837" fmla="*/ 9628 h 10000"/>
                <a:gd name="connsiteX838" fmla="*/ 914 w 10000"/>
                <a:gd name="connsiteY838" fmla="*/ 9631 h 10000"/>
                <a:gd name="connsiteX839" fmla="*/ 932 w 10000"/>
                <a:gd name="connsiteY839" fmla="*/ 9638 h 10000"/>
                <a:gd name="connsiteX840" fmla="*/ 942 w 10000"/>
                <a:gd name="connsiteY840" fmla="*/ 9642 h 10000"/>
                <a:gd name="connsiteX841" fmla="*/ 967 w 10000"/>
                <a:gd name="connsiteY841" fmla="*/ 9652 h 10000"/>
                <a:gd name="connsiteX842" fmla="*/ 987 w 10000"/>
                <a:gd name="connsiteY842" fmla="*/ 9668 h 10000"/>
                <a:gd name="connsiteX843" fmla="*/ 1005 w 10000"/>
                <a:gd name="connsiteY843" fmla="*/ 9682 h 10000"/>
                <a:gd name="connsiteX844" fmla="*/ 1025 w 10000"/>
                <a:gd name="connsiteY844" fmla="*/ 9698 h 10000"/>
                <a:gd name="connsiteX845" fmla="*/ 1045 w 10000"/>
                <a:gd name="connsiteY845" fmla="*/ 9712 h 10000"/>
                <a:gd name="connsiteX846" fmla="*/ 1073 w 10000"/>
                <a:gd name="connsiteY846" fmla="*/ 9724 h 10000"/>
                <a:gd name="connsiteX847" fmla="*/ 1098 w 10000"/>
                <a:gd name="connsiteY847" fmla="*/ 9738 h 10000"/>
                <a:gd name="connsiteX848" fmla="*/ 1121 w 10000"/>
                <a:gd name="connsiteY848" fmla="*/ 9750 h 10000"/>
                <a:gd name="connsiteX849" fmla="*/ 1141 w 10000"/>
                <a:gd name="connsiteY849" fmla="*/ 9762 h 10000"/>
                <a:gd name="connsiteX850" fmla="*/ 1159 w 10000"/>
                <a:gd name="connsiteY850" fmla="*/ 9776 h 10000"/>
                <a:gd name="connsiteX851" fmla="*/ 1172 w 10000"/>
                <a:gd name="connsiteY851" fmla="*/ 9787 h 10000"/>
                <a:gd name="connsiteX852" fmla="*/ 1182 w 10000"/>
                <a:gd name="connsiteY852" fmla="*/ 9804 h 10000"/>
                <a:gd name="connsiteX853" fmla="*/ 1194 w 10000"/>
                <a:gd name="connsiteY853" fmla="*/ 9818 h 10000"/>
                <a:gd name="connsiteX854" fmla="*/ 1202 w 10000"/>
                <a:gd name="connsiteY854" fmla="*/ 9834 h 10000"/>
                <a:gd name="connsiteX855" fmla="*/ 1212 w 10000"/>
                <a:gd name="connsiteY855" fmla="*/ 9869 h 10000"/>
                <a:gd name="connsiteX856" fmla="*/ 1220 w 10000"/>
                <a:gd name="connsiteY856" fmla="*/ 9906 h 10000"/>
                <a:gd name="connsiteX857" fmla="*/ 1230 w 10000"/>
                <a:gd name="connsiteY857" fmla="*/ 9951 h 10000"/>
                <a:gd name="connsiteX858" fmla="*/ 1237 w 10000"/>
                <a:gd name="connsiteY858" fmla="*/ 10000 h 10000"/>
                <a:gd name="connsiteX859" fmla="*/ 1237 w 10000"/>
                <a:gd name="connsiteY85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381 w 10000"/>
                <a:gd name="connsiteY712" fmla="*/ 7356 h 10000"/>
                <a:gd name="connsiteX713" fmla="*/ 2414 w 10000"/>
                <a:gd name="connsiteY713" fmla="*/ 7403 h 10000"/>
                <a:gd name="connsiteX714" fmla="*/ 2439 w 10000"/>
                <a:gd name="connsiteY714" fmla="*/ 7445 h 10000"/>
                <a:gd name="connsiteX715" fmla="*/ 2452 w 10000"/>
                <a:gd name="connsiteY715" fmla="*/ 7459 h 10000"/>
                <a:gd name="connsiteX716" fmla="*/ 2460 w 10000"/>
                <a:gd name="connsiteY716" fmla="*/ 7466 h 10000"/>
                <a:gd name="connsiteX717" fmla="*/ 2470 w 10000"/>
                <a:gd name="connsiteY717" fmla="*/ 7473 h 10000"/>
                <a:gd name="connsiteX718" fmla="*/ 2482 w 10000"/>
                <a:gd name="connsiteY718" fmla="*/ 7475 h 10000"/>
                <a:gd name="connsiteX719" fmla="*/ 2490 w 10000"/>
                <a:gd name="connsiteY719" fmla="*/ 7475 h 10000"/>
                <a:gd name="connsiteX720" fmla="*/ 2520 w 10000"/>
                <a:gd name="connsiteY720" fmla="*/ 7466 h 10000"/>
                <a:gd name="connsiteX721" fmla="*/ 2593 w 10000"/>
                <a:gd name="connsiteY721" fmla="*/ 7415 h 10000"/>
                <a:gd name="connsiteX722" fmla="*/ 2167 w 10000"/>
                <a:gd name="connsiteY722" fmla="*/ 7742 h 10000"/>
                <a:gd name="connsiteX723" fmla="*/ 2159 w 10000"/>
                <a:gd name="connsiteY723" fmla="*/ 7833 h 10000"/>
                <a:gd name="connsiteX724" fmla="*/ 2157 w 10000"/>
                <a:gd name="connsiteY724" fmla="*/ 7882 h 10000"/>
                <a:gd name="connsiteX725" fmla="*/ 2157 w 10000"/>
                <a:gd name="connsiteY725" fmla="*/ 7938 h 10000"/>
                <a:gd name="connsiteX726" fmla="*/ 2159 w 10000"/>
                <a:gd name="connsiteY726" fmla="*/ 8006 h 10000"/>
                <a:gd name="connsiteX727" fmla="*/ 2162 w 10000"/>
                <a:gd name="connsiteY727" fmla="*/ 8079 h 10000"/>
                <a:gd name="connsiteX728" fmla="*/ 2159 w 10000"/>
                <a:gd name="connsiteY728" fmla="*/ 8156 h 10000"/>
                <a:gd name="connsiteX729" fmla="*/ 2157 w 10000"/>
                <a:gd name="connsiteY729" fmla="*/ 8193 h 10000"/>
                <a:gd name="connsiteX730" fmla="*/ 2154 w 10000"/>
                <a:gd name="connsiteY730" fmla="*/ 8228 h 10000"/>
                <a:gd name="connsiteX731" fmla="*/ 2146 w 10000"/>
                <a:gd name="connsiteY731" fmla="*/ 8261 h 10000"/>
                <a:gd name="connsiteX732" fmla="*/ 2136 w 10000"/>
                <a:gd name="connsiteY732" fmla="*/ 8291 h 10000"/>
                <a:gd name="connsiteX733" fmla="*/ 2124 w 10000"/>
                <a:gd name="connsiteY733" fmla="*/ 8319 h 10000"/>
                <a:gd name="connsiteX734" fmla="*/ 2109 w 10000"/>
                <a:gd name="connsiteY734" fmla="*/ 8345 h 10000"/>
                <a:gd name="connsiteX735" fmla="*/ 2098 w 10000"/>
                <a:gd name="connsiteY735" fmla="*/ 8354 h 10000"/>
                <a:gd name="connsiteX736" fmla="*/ 2088 w 10000"/>
                <a:gd name="connsiteY736" fmla="*/ 8364 h 10000"/>
                <a:gd name="connsiteX737" fmla="*/ 2078 w 10000"/>
                <a:gd name="connsiteY737" fmla="*/ 8373 h 10000"/>
                <a:gd name="connsiteX738" fmla="*/ 2063 w 10000"/>
                <a:gd name="connsiteY738" fmla="*/ 8380 h 10000"/>
                <a:gd name="connsiteX739" fmla="*/ 1990 w 10000"/>
                <a:gd name="connsiteY739" fmla="*/ 8422 h 10000"/>
                <a:gd name="connsiteX740" fmla="*/ 1904 w 10000"/>
                <a:gd name="connsiteY740" fmla="*/ 8481 h 10000"/>
                <a:gd name="connsiteX741" fmla="*/ 1856 w 10000"/>
                <a:gd name="connsiteY741" fmla="*/ 8506 h 10000"/>
                <a:gd name="connsiteX742" fmla="*/ 1816 w 10000"/>
                <a:gd name="connsiteY742" fmla="*/ 8527 h 10000"/>
                <a:gd name="connsiteX743" fmla="*/ 1793 w 10000"/>
                <a:gd name="connsiteY743" fmla="*/ 8539 h 10000"/>
                <a:gd name="connsiteX744" fmla="*/ 1775 w 10000"/>
                <a:gd name="connsiteY744" fmla="*/ 8546 h 10000"/>
                <a:gd name="connsiteX745" fmla="*/ 1758 w 10000"/>
                <a:gd name="connsiteY745" fmla="*/ 8548 h 10000"/>
                <a:gd name="connsiteX746" fmla="*/ 1742 w 10000"/>
                <a:gd name="connsiteY746" fmla="*/ 8551 h 10000"/>
                <a:gd name="connsiteX747" fmla="*/ 1727 w 10000"/>
                <a:gd name="connsiteY747" fmla="*/ 8537 h 10000"/>
                <a:gd name="connsiteX748" fmla="*/ 1717 w 10000"/>
                <a:gd name="connsiteY748" fmla="*/ 8518 h 10000"/>
                <a:gd name="connsiteX749" fmla="*/ 1684 w 10000"/>
                <a:gd name="connsiteY749" fmla="*/ 8429 h 10000"/>
                <a:gd name="connsiteX750" fmla="*/ 1525 w 10000"/>
                <a:gd name="connsiteY750" fmla="*/ 8186 h 10000"/>
                <a:gd name="connsiteX751" fmla="*/ 1500 w 10000"/>
                <a:gd name="connsiteY751" fmla="*/ 8191 h 10000"/>
                <a:gd name="connsiteX752" fmla="*/ 1472 w 10000"/>
                <a:gd name="connsiteY752" fmla="*/ 8198 h 10000"/>
                <a:gd name="connsiteX753" fmla="*/ 1434 w 10000"/>
                <a:gd name="connsiteY753" fmla="*/ 8223 h 10000"/>
                <a:gd name="connsiteX754" fmla="*/ 1149 w 10000"/>
                <a:gd name="connsiteY754" fmla="*/ 8256 h 10000"/>
                <a:gd name="connsiteX755" fmla="*/ 1139 w 10000"/>
                <a:gd name="connsiteY755" fmla="*/ 8249 h 10000"/>
                <a:gd name="connsiteX756" fmla="*/ 1126 w 10000"/>
                <a:gd name="connsiteY756" fmla="*/ 8240 h 10000"/>
                <a:gd name="connsiteX757" fmla="*/ 1114 w 10000"/>
                <a:gd name="connsiteY757" fmla="*/ 8240 h 10000"/>
                <a:gd name="connsiteX758" fmla="*/ 1091 w 10000"/>
                <a:gd name="connsiteY758" fmla="*/ 8242 h 10000"/>
                <a:gd name="connsiteX759" fmla="*/ 1071 w 10000"/>
                <a:gd name="connsiteY759" fmla="*/ 8252 h 10000"/>
                <a:gd name="connsiteX760" fmla="*/ 1048 w 10000"/>
                <a:gd name="connsiteY760" fmla="*/ 8261 h 10000"/>
                <a:gd name="connsiteX761" fmla="*/ 1030 w 10000"/>
                <a:gd name="connsiteY761" fmla="*/ 8273 h 10000"/>
                <a:gd name="connsiteX762" fmla="*/ 1010 w 10000"/>
                <a:gd name="connsiteY762" fmla="*/ 8287 h 10000"/>
                <a:gd name="connsiteX763" fmla="*/ 995 w 10000"/>
                <a:gd name="connsiteY763" fmla="*/ 8303 h 10000"/>
                <a:gd name="connsiteX764" fmla="*/ 975 w 10000"/>
                <a:gd name="connsiteY764" fmla="*/ 8322 h 10000"/>
                <a:gd name="connsiteX765" fmla="*/ 960 w 10000"/>
                <a:gd name="connsiteY765" fmla="*/ 8343 h 10000"/>
                <a:gd name="connsiteX766" fmla="*/ 927 w 10000"/>
                <a:gd name="connsiteY766" fmla="*/ 8380 h 10000"/>
                <a:gd name="connsiteX767" fmla="*/ 891 w 10000"/>
                <a:gd name="connsiteY767" fmla="*/ 8417 h 10000"/>
                <a:gd name="connsiteX768" fmla="*/ 874 w 10000"/>
                <a:gd name="connsiteY768" fmla="*/ 8436 h 10000"/>
                <a:gd name="connsiteX769" fmla="*/ 859 w 10000"/>
                <a:gd name="connsiteY769" fmla="*/ 8450 h 10000"/>
                <a:gd name="connsiteX770" fmla="*/ 838 w 10000"/>
                <a:gd name="connsiteY770" fmla="*/ 8462 h 10000"/>
                <a:gd name="connsiteX771" fmla="*/ 821 w 10000"/>
                <a:gd name="connsiteY771" fmla="*/ 8476 h 10000"/>
                <a:gd name="connsiteX772" fmla="*/ 742 w 10000"/>
                <a:gd name="connsiteY772" fmla="*/ 8562 h 10000"/>
                <a:gd name="connsiteX773" fmla="*/ 672 w 10000"/>
                <a:gd name="connsiteY773" fmla="*/ 8644 h 10000"/>
                <a:gd name="connsiteX774" fmla="*/ 639 w 10000"/>
                <a:gd name="connsiteY774" fmla="*/ 8684 h 10000"/>
                <a:gd name="connsiteX775" fmla="*/ 609 w 10000"/>
                <a:gd name="connsiteY775" fmla="*/ 8731 h 10000"/>
                <a:gd name="connsiteX776" fmla="*/ 583 w 10000"/>
                <a:gd name="connsiteY776" fmla="*/ 8777 h 10000"/>
                <a:gd name="connsiteX777" fmla="*/ 556 w 10000"/>
                <a:gd name="connsiteY777" fmla="*/ 8831 h 10000"/>
                <a:gd name="connsiteX778" fmla="*/ 545 w 10000"/>
                <a:gd name="connsiteY778" fmla="*/ 8852 h 10000"/>
                <a:gd name="connsiteX779" fmla="*/ 525 w 10000"/>
                <a:gd name="connsiteY779" fmla="*/ 8885 h 10000"/>
                <a:gd name="connsiteX780" fmla="*/ 503 w 10000"/>
                <a:gd name="connsiteY780" fmla="*/ 8925 h 10000"/>
                <a:gd name="connsiteX781" fmla="*/ 480 w 10000"/>
                <a:gd name="connsiteY781" fmla="*/ 8962 h 10000"/>
                <a:gd name="connsiteX782" fmla="*/ 465 w 10000"/>
                <a:gd name="connsiteY782" fmla="*/ 8981 h 10000"/>
                <a:gd name="connsiteX783" fmla="*/ 455 w 10000"/>
                <a:gd name="connsiteY783" fmla="*/ 8993 h 10000"/>
                <a:gd name="connsiteX784" fmla="*/ 444 w 10000"/>
                <a:gd name="connsiteY784" fmla="*/ 9000 h 10000"/>
                <a:gd name="connsiteX785" fmla="*/ 434 w 10000"/>
                <a:gd name="connsiteY785" fmla="*/ 9007 h 10000"/>
                <a:gd name="connsiteX786" fmla="*/ 432 w 10000"/>
                <a:gd name="connsiteY786" fmla="*/ 9007 h 10000"/>
                <a:gd name="connsiteX787" fmla="*/ 429 w 10000"/>
                <a:gd name="connsiteY787" fmla="*/ 9004 h 10000"/>
                <a:gd name="connsiteX788" fmla="*/ 427 w 10000"/>
                <a:gd name="connsiteY788" fmla="*/ 8997 h 10000"/>
                <a:gd name="connsiteX789" fmla="*/ 427 w 10000"/>
                <a:gd name="connsiteY789" fmla="*/ 8993 h 10000"/>
                <a:gd name="connsiteX790" fmla="*/ 424 w 10000"/>
                <a:gd name="connsiteY790" fmla="*/ 8976 h 10000"/>
                <a:gd name="connsiteX791" fmla="*/ 427 w 10000"/>
                <a:gd name="connsiteY791" fmla="*/ 8948 h 10000"/>
                <a:gd name="connsiteX792" fmla="*/ 437 w 10000"/>
                <a:gd name="connsiteY792" fmla="*/ 8913 h 10000"/>
                <a:gd name="connsiteX793" fmla="*/ 455 w 10000"/>
                <a:gd name="connsiteY793" fmla="*/ 8859 h 10000"/>
                <a:gd name="connsiteX794" fmla="*/ 462 w 10000"/>
                <a:gd name="connsiteY794" fmla="*/ 8834 h 10000"/>
                <a:gd name="connsiteX795" fmla="*/ 470 w 10000"/>
                <a:gd name="connsiteY795" fmla="*/ 8810 h 10000"/>
                <a:gd name="connsiteX796" fmla="*/ 472 w 10000"/>
                <a:gd name="connsiteY796" fmla="*/ 8794 h 10000"/>
                <a:gd name="connsiteX797" fmla="*/ 472 w 10000"/>
                <a:gd name="connsiteY797" fmla="*/ 8780 h 10000"/>
                <a:gd name="connsiteX798" fmla="*/ 462 w 10000"/>
                <a:gd name="connsiteY798" fmla="*/ 8784 h 10000"/>
                <a:gd name="connsiteX799" fmla="*/ 452 w 10000"/>
                <a:gd name="connsiteY799" fmla="*/ 8787 h 10000"/>
                <a:gd name="connsiteX800" fmla="*/ 437 w 10000"/>
                <a:gd name="connsiteY800" fmla="*/ 8794 h 10000"/>
                <a:gd name="connsiteX801" fmla="*/ 424 w 10000"/>
                <a:gd name="connsiteY801" fmla="*/ 8803 h 10000"/>
                <a:gd name="connsiteX802" fmla="*/ 394 w 10000"/>
                <a:gd name="connsiteY802" fmla="*/ 8829 h 10000"/>
                <a:gd name="connsiteX803" fmla="*/ 364 w 10000"/>
                <a:gd name="connsiteY803" fmla="*/ 8859 h 10000"/>
                <a:gd name="connsiteX804" fmla="*/ 311 w 10000"/>
                <a:gd name="connsiteY804" fmla="*/ 8922 h 10000"/>
                <a:gd name="connsiteX805" fmla="*/ 268 w 10000"/>
                <a:gd name="connsiteY805" fmla="*/ 8964 h 10000"/>
                <a:gd name="connsiteX806" fmla="*/ 205 w 10000"/>
                <a:gd name="connsiteY806" fmla="*/ 9016 h 10000"/>
                <a:gd name="connsiteX807" fmla="*/ 146 w 10000"/>
                <a:gd name="connsiteY807" fmla="*/ 9053 h 10000"/>
                <a:gd name="connsiteX808" fmla="*/ 139 w 10000"/>
                <a:gd name="connsiteY808" fmla="*/ 9063 h 10000"/>
                <a:gd name="connsiteX809" fmla="*/ 129 w 10000"/>
                <a:gd name="connsiteY809" fmla="*/ 9077 h 10000"/>
                <a:gd name="connsiteX810" fmla="*/ 126 w 10000"/>
                <a:gd name="connsiteY810" fmla="*/ 9086 h 10000"/>
                <a:gd name="connsiteX811" fmla="*/ 126 w 10000"/>
                <a:gd name="connsiteY811" fmla="*/ 9102 h 10000"/>
                <a:gd name="connsiteX812" fmla="*/ 129 w 10000"/>
                <a:gd name="connsiteY812" fmla="*/ 9116 h 10000"/>
                <a:gd name="connsiteX813" fmla="*/ 139 w 10000"/>
                <a:gd name="connsiteY813" fmla="*/ 9135 h 10000"/>
                <a:gd name="connsiteX814" fmla="*/ 149 w 10000"/>
                <a:gd name="connsiteY814" fmla="*/ 9151 h 10000"/>
                <a:gd name="connsiteX815" fmla="*/ 164 w 10000"/>
                <a:gd name="connsiteY815" fmla="*/ 9175 h 10000"/>
                <a:gd name="connsiteX816" fmla="*/ 184 w 10000"/>
                <a:gd name="connsiteY816" fmla="*/ 9196 h 10000"/>
                <a:gd name="connsiteX817" fmla="*/ 207 w 10000"/>
                <a:gd name="connsiteY817" fmla="*/ 9215 h 10000"/>
                <a:gd name="connsiteX818" fmla="*/ 227 w 10000"/>
                <a:gd name="connsiteY818" fmla="*/ 9233 h 10000"/>
                <a:gd name="connsiteX819" fmla="*/ 253 w 10000"/>
                <a:gd name="connsiteY819" fmla="*/ 9250 h 10000"/>
                <a:gd name="connsiteX820" fmla="*/ 303 w 10000"/>
                <a:gd name="connsiteY820" fmla="*/ 9282 h 10000"/>
                <a:gd name="connsiteX821" fmla="*/ 351 w 10000"/>
                <a:gd name="connsiteY821" fmla="*/ 9315 h 10000"/>
                <a:gd name="connsiteX822" fmla="*/ 414 w 10000"/>
                <a:gd name="connsiteY822" fmla="*/ 9364 h 10000"/>
                <a:gd name="connsiteX823" fmla="*/ 480 w 10000"/>
                <a:gd name="connsiteY823" fmla="*/ 9416 h 10000"/>
                <a:gd name="connsiteX824" fmla="*/ 513 w 10000"/>
                <a:gd name="connsiteY824" fmla="*/ 9437 h 10000"/>
                <a:gd name="connsiteX825" fmla="*/ 548 w 10000"/>
                <a:gd name="connsiteY825" fmla="*/ 9462 h 10000"/>
                <a:gd name="connsiteX826" fmla="*/ 581 w 10000"/>
                <a:gd name="connsiteY826" fmla="*/ 9483 h 10000"/>
                <a:gd name="connsiteX827" fmla="*/ 614 w 10000"/>
                <a:gd name="connsiteY827" fmla="*/ 9502 h 10000"/>
                <a:gd name="connsiteX828" fmla="*/ 641 w 10000"/>
                <a:gd name="connsiteY828" fmla="*/ 9525 h 10000"/>
                <a:gd name="connsiteX829" fmla="*/ 672 w 10000"/>
                <a:gd name="connsiteY829" fmla="*/ 9549 h 10000"/>
                <a:gd name="connsiteX830" fmla="*/ 702 w 10000"/>
                <a:gd name="connsiteY830" fmla="*/ 9568 h 10000"/>
                <a:gd name="connsiteX831" fmla="*/ 737 w 10000"/>
                <a:gd name="connsiteY831" fmla="*/ 9589 h 10000"/>
                <a:gd name="connsiteX832" fmla="*/ 770 w 10000"/>
                <a:gd name="connsiteY832" fmla="*/ 9605 h 10000"/>
                <a:gd name="connsiteX833" fmla="*/ 808 w 10000"/>
                <a:gd name="connsiteY833" fmla="*/ 9617 h 10000"/>
                <a:gd name="connsiteX834" fmla="*/ 843 w 10000"/>
                <a:gd name="connsiteY834" fmla="*/ 9624 h 10000"/>
                <a:gd name="connsiteX835" fmla="*/ 884 w 10000"/>
                <a:gd name="connsiteY835" fmla="*/ 9628 h 10000"/>
                <a:gd name="connsiteX836" fmla="*/ 902 w 10000"/>
                <a:gd name="connsiteY836" fmla="*/ 9628 h 10000"/>
                <a:gd name="connsiteX837" fmla="*/ 914 w 10000"/>
                <a:gd name="connsiteY837" fmla="*/ 9631 h 10000"/>
                <a:gd name="connsiteX838" fmla="*/ 932 w 10000"/>
                <a:gd name="connsiteY838" fmla="*/ 9638 h 10000"/>
                <a:gd name="connsiteX839" fmla="*/ 942 w 10000"/>
                <a:gd name="connsiteY839" fmla="*/ 9642 h 10000"/>
                <a:gd name="connsiteX840" fmla="*/ 967 w 10000"/>
                <a:gd name="connsiteY840" fmla="*/ 9652 h 10000"/>
                <a:gd name="connsiteX841" fmla="*/ 987 w 10000"/>
                <a:gd name="connsiteY841" fmla="*/ 9668 h 10000"/>
                <a:gd name="connsiteX842" fmla="*/ 1005 w 10000"/>
                <a:gd name="connsiteY842" fmla="*/ 9682 h 10000"/>
                <a:gd name="connsiteX843" fmla="*/ 1025 w 10000"/>
                <a:gd name="connsiteY843" fmla="*/ 9698 h 10000"/>
                <a:gd name="connsiteX844" fmla="*/ 1045 w 10000"/>
                <a:gd name="connsiteY844" fmla="*/ 9712 h 10000"/>
                <a:gd name="connsiteX845" fmla="*/ 1073 w 10000"/>
                <a:gd name="connsiteY845" fmla="*/ 9724 h 10000"/>
                <a:gd name="connsiteX846" fmla="*/ 1098 w 10000"/>
                <a:gd name="connsiteY846" fmla="*/ 9738 h 10000"/>
                <a:gd name="connsiteX847" fmla="*/ 1121 w 10000"/>
                <a:gd name="connsiteY847" fmla="*/ 9750 h 10000"/>
                <a:gd name="connsiteX848" fmla="*/ 1141 w 10000"/>
                <a:gd name="connsiteY848" fmla="*/ 9762 h 10000"/>
                <a:gd name="connsiteX849" fmla="*/ 1159 w 10000"/>
                <a:gd name="connsiteY849" fmla="*/ 9776 h 10000"/>
                <a:gd name="connsiteX850" fmla="*/ 1172 w 10000"/>
                <a:gd name="connsiteY850" fmla="*/ 9787 h 10000"/>
                <a:gd name="connsiteX851" fmla="*/ 1182 w 10000"/>
                <a:gd name="connsiteY851" fmla="*/ 9804 h 10000"/>
                <a:gd name="connsiteX852" fmla="*/ 1194 w 10000"/>
                <a:gd name="connsiteY852" fmla="*/ 9818 h 10000"/>
                <a:gd name="connsiteX853" fmla="*/ 1202 w 10000"/>
                <a:gd name="connsiteY853" fmla="*/ 9834 h 10000"/>
                <a:gd name="connsiteX854" fmla="*/ 1212 w 10000"/>
                <a:gd name="connsiteY854" fmla="*/ 9869 h 10000"/>
                <a:gd name="connsiteX855" fmla="*/ 1220 w 10000"/>
                <a:gd name="connsiteY855" fmla="*/ 9906 h 10000"/>
                <a:gd name="connsiteX856" fmla="*/ 1230 w 10000"/>
                <a:gd name="connsiteY856" fmla="*/ 9951 h 10000"/>
                <a:gd name="connsiteX857" fmla="*/ 1237 w 10000"/>
                <a:gd name="connsiteY857" fmla="*/ 10000 h 10000"/>
                <a:gd name="connsiteX858" fmla="*/ 1237 w 10000"/>
                <a:gd name="connsiteY85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7 w 10000"/>
                <a:gd name="connsiteY728" fmla="*/ 8193 h 10000"/>
                <a:gd name="connsiteX729" fmla="*/ 2154 w 10000"/>
                <a:gd name="connsiteY729" fmla="*/ 8228 h 10000"/>
                <a:gd name="connsiteX730" fmla="*/ 2146 w 10000"/>
                <a:gd name="connsiteY730" fmla="*/ 8261 h 10000"/>
                <a:gd name="connsiteX731" fmla="*/ 2136 w 10000"/>
                <a:gd name="connsiteY731" fmla="*/ 8291 h 10000"/>
                <a:gd name="connsiteX732" fmla="*/ 2124 w 10000"/>
                <a:gd name="connsiteY732" fmla="*/ 8319 h 10000"/>
                <a:gd name="connsiteX733" fmla="*/ 2109 w 10000"/>
                <a:gd name="connsiteY733" fmla="*/ 8345 h 10000"/>
                <a:gd name="connsiteX734" fmla="*/ 2098 w 10000"/>
                <a:gd name="connsiteY734" fmla="*/ 8354 h 10000"/>
                <a:gd name="connsiteX735" fmla="*/ 2088 w 10000"/>
                <a:gd name="connsiteY735" fmla="*/ 8364 h 10000"/>
                <a:gd name="connsiteX736" fmla="*/ 2078 w 10000"/>
                <a:gd name="connsiteY736" fmla="*/ 8373 h 10000"/>
                <a:gd name="connsiteX737" fmla="*/ 2063 w 10000"/>
                <a:gd name="connsiteY737" fmla="*/ 8380 h 10000"/>
                <a:gd name="connsiteX738" fmla="*/ 1990 w 10000"/>
                <a:gd name="connsiteY738" fmla="*/ 8422 h 10000"/>
                <a:gd name="connsiteX739" fmla="*/ 1904 w 10000"/>
                <a:gd name="connsiteY739" fmla="*/ 8481 h 10000"/>
                <a:gd name="connsiteX740" fmla="*/ 1856 w 10000"/>
                <a:gd name="connsiteY740" fmla="*/ 8506 h 10000"/>
                <a:gd name="connsiteX741" fmla="*/ 1816 w 10000"/>
                <a:gd name="connsiteY741" fmla="*/ 8527 h 10000"/>
                <a:gd name="connsiteX742" fmla="*/ 1793 w 10000"/>
                <a:gd name="connsiteY742" fmla="*/ 8539 h 10000"/>
                <a:gd name="connsiteX743" fmla="*/ 1775 w 10000"/>
                <a:gd name="connsiteY743" fmla="*/ 8546 h 10000"/>
                <a:gd name="connsiteX744" fmla="*/ 1758 w 10000"/>
                <a:gd name="connsiteY744" fmla="*/ 8548 h 10000"/>
                <a:gd name="connsiteX745" fmla="*/ 1742 w 10000"/>
                <a:gd name="connsiteY745" fmla="*/ 8551 h 10000"/>
                <a:gd name="connsiteX746" fmla="*/ 1727 w 10000"/>
                <a:gd name="connsiteY746" fmla="*/ 8537 h 10000"/>
                <a:gd name="connsiteX747" fmla="*/ 1717 w 10000"/>
                <a:gd name="connsiteY747" fmla="*/ 8518 h 10000"/>
                <a:gd name="connsiteX748" fmla="*/ 1684 w 10000"/>
                <a:gd name="connsiteY748" fmla="*/ 8429 h 10000"/>
                <a:gd name="connsiteX749" fmla="*/ 1525 w 10000"/>
                <a:gd name="connsiteY749" fmla="*/ 8186 h 10000"/>
                <a:gd name="connsiteX750" fmla="*/ 1500 w 10000"/>
                <a:gd name="connsiteY750" fmla="*/ 8191 h 10000"/>
                <a:gd name="connsiteX751" fmla="*/ 1472 w 10000"/>
                <a:gd name="connsiteY751" fmla="*/ 8198 h 10000"/>
                <a:gd name="connsiteX752" fmla="*/ 1434 w 10000"/>
                <a:gd name="connsiteY752" fmla="*/ 8223 h 10000"/>
                <a:gd name="connsiteX753" fmla="*/ 1149 w 10000"/>
                <a:gd name="connsiteY753" fmla="*/ 8256 h 10000"/>
                <a:gd name="connsiteX754" fmla="*/ 1139 w 10000"/>
                <a:gd name="connsiteY754" fmla="*/ 8249 h 10000"/>
                <a:gd name="connsiteX755" fmla="*/ 1126 w 10000"/>
                <a:gd name="connsiteY755" fmla="*/ 8240 h 10000"/>
                <a:gd name="connsiteX756" fmla="*/ 1114 w 10000"/>
                <a:gd name="connsiteY756" fmla="*/ 8240 h 10000"/>
                <a:gd name="connsiteX757" fmla="*/ 1091 w 10000"/>
                <a:gd name="connsiteY757" fmla="*/ 8242 h 10000"/>
                <a:gd name="connsiteX758" fmla="*/ 1071 w 10000"/>
                <a:gd name="connsiteY758" fmla="*/ 8252 h 10000"/>
                <a:gd name="connsiteX759" fmla="*/ 1048 w 10000"/>
                <a:gd name="connsiteY759" fmla="*/ 8261 h 10000"/>
                <a:gd name="connsiteX760" fmla="*/ 1030 w 10000"/>
                <a:gd name="connsiteY760" fmla="*/ 8273 h 10000"/>
                <a:gd name="connsiteX761" fmla="*/ 1010 w 10000"/>
                <a:gd name="connsiteY761" fmla="*/ 8287 h 10000"/>
                <a:gd name="connsiteX762" fmla="*/ 995 w 10000"/>
                <a:gd name="connsiteY762" fmla="*/ 8303 h 10000"/>
                <a:gd name="connsiteX763" fmla="*/ 975 w 10000"/>
                <a:gd name="connsiteY763" fmla="*/ 8322 h 10000"/>
                <a:gd name="connsiteX764" fmla="*/ 960 w 10000"/>
                <a:gd name="connsiteY764" fmla="*/ 8343 h 10000"/>
                <a:gd name="connsiteX765" fmla="*/ 927 w 10000"/>
                <a:gd name="connsiteY765" fmla="*/ 8380 h 10000"/>
                <a:gd name="connsiteX766" fmla="*/ 891 w 10000"/>
                <a:gd name="connsiteY766" fmla="*/ 8417 h 10000"/>
                <a:gd name="connsiteX767" fmla="*/ 874 w 10000"/>
                <a:gd name="connsiteY767" fmla="*/ 8436 h 10000"/>
                <a:gd name="connsiteX768" fmla="*/ 859 w 10000"/>
                <a:gd name="connsiteY768" fmla="*/ 8450 h 10000"/>
                <a:gd name="connsiteX769" fmla="*/ 838 w 10000"/>
                <a:gd name="connsiteY769" fmla="*/ 8462 h 10000"/>
                <a:gd name="connsiteX770" fmla="*/ 821 w 10000"/>
                <a:gd name="connsiteY770" fmla="*/ 8476 h 10000"/>
                <a:gd name="connsiteX771" fmla="*/ 742 w 10000"/>
                <a:gd name="connsiteY771" fmla="*/ 8562 h 10000"/>
                <a:gd name="connsiteX772" fmla="*/ 672 w 10000"/>
                <a:gd name="connsiteY772" fmla="*/ 8644 h 10000"/>
                <a:gd name="connsiteX773" fmla="*/ 639 w 10000"/>
                <a:gd name="connsiteY773" fmla="*/ 8684 h 10000"/>
                <a:gd name="connsiteX774" fmla="*/ 609 w 10000"/>
                <a:gd name="connsiteY774" fmla="*/ 8731 h 10000"/>
                <a:gd name="connsiteX775" fmla="*/ 583 w 10000"/>
                <a:gd name="connsiteY775" fmla="*/ 8777 h 10000"/>
                <a:gd name="connsiteX776" fmla="*/ 556 w 10000"/>
                <a:gd name="connsiteY776" fmla="*/ 8831 h 10000"/>
                <a:gd name="connsiteX777" fmla="*/ 545 w 10000"/>
                <a:gd name="connsiteY777" fmla="*/ 8852 h 10000"/>
                <a:gd name="connsiteX778" fmla="*/ 525 w 10000"/>
                <a:gd name="connsiteY778" fmla="*/ 8885 h 10000"/>
                <a:gd name="connsiteX779" fmla="*/ 503 w 10000"/>
                <a:gd name="connsiteY779" fmla="*/ 8925 h 10000"/>
                <a:gd name="connsiteX780" fmla="*/ 480 w 10000"/>
                <a:gd name="connsiteY780" fmla="*/ 8962 h 10000"/>
                <a:gd name="connsiteX781" fmla="*/ 465 w 10000"/>
                <a:gd name="connsiteY781" fmla="*/ 8981 h 10000"/>
                <a:gd name="connsiteX782" fmla="*/ 455 w 10000"/>
                <a:gd name="connsiteY782" fmla="*/ 8993 h 10000"/>
                <a:gd name="connsiteX783" fmla="*/ 444 w 10000"/>
                <a:gd name="connsiteY783" fmla="*/ 9000 h 10000"/>
                <a:gd name="connsiteX784" fmla="*/ 434 w 10000"/>
                <a:gd name="connsiteY784" fmla="*/ 9007 h 10000"/>
                <a:gd name="connsiteX785" fmla="*/ 432 w 10000"/>
                <a:gd name="connsiteY785" fmla="*/ 9007 h 10000"/>
                <a:gd name="connsiteX786" fmla="*/ 429 w 10000"/>
                <a:gd name="connsiteY786" fmla="*/ 9004 h 10000"/>
                <a:gd name="connsiteX787" fmla="*/ 427 w 10000"/>
                <a:gd name="connsiteY787" fmla="*/ 8997 h 10000"/>
                <a:gd name="connsiteX788" fmla="*/ 427 w 10000"/>
                <a:gd name="connsiteY788" fmla="*/ 8993 h 10000"/>
                <a:gd name="connsiteX789" fmla="*/ 424 w 10000"/>
                <a:gd name="connsiteY789" fmla="*/ 8976 h 10000"/>
                <a:gd name="connsiteX790" fmla="*/ 427 w 10000"/>
                <a:gd name="connsiteY790" fmla="*/ 8948 h 10000"/>
                <a:gd name="connsiteX791" fmla="*/ 437 w 10000"/>
                <a:gd name="connsiteY791" fmla="*/ 8913 h 10000"/>
                <a:gd name="connsiteX792" fmla="*/ 455 w 10000"/>
                <a:gd name="connsiteY792" fmla="*/ 8859 h 10000"/>
                <a:gd name="connsiteX793" fmla="*/ 462 w 10000"/>
                <a:gd name="connsiteY793" fmla="*/ 8834 h 10000"/>
                <a:gd name="connsiteX794" fmla="*/ 470 w 10000"/>
                <a:gd name="connsiteY794" fmla="*/ 8810 h 10000"/>
                <a:gd name="connsiteX795" fmla="*/ 472 w 10000"/>
                <a:gd name="connsiteY795" fmla="*/ 8794 h 10000"/>
                <a:gd name="connsiteX796" fmla="*/ 472 w 10000"/>
                <a:gd name="connsiteY796" fmla="*/ 8780 h 10000"/>
                <a:gd name="connsiteX797" fmla="*/ 462 w 10000"/>
                <a:gd name="connsiteY797" fmla="*/ 8784 h 10000"/>
                <a:gd name="connsiteX798" fmla="*/ 452 w 10000"/>
                <a:gd name="connsiteY798" fmla="*/ 8787 h 10000"/>
                <a:gd name="connsiteX799" fmla="*/ 437 w 10000"/>
                <a:gd name="connsiteY799" fmla="*/ 8794 h 10000"/>
                <a:gd name="connsiteX800" fmla="*/ 424 w 10000"/>
                <a:gd name="connsiteY800" fmla="*/ 8803 h 10000"/>
                <a:gd name="connsiteX801" fmla="*/ 394 w 10000"/>
                <a:gd name="connsiteY801" fmla="*/ 8829 h 10000"/>
                <a:gd name="connsiteX802" fmla="*/ 364 w 10000"/>
                <a:gd name="connsiteY802" fmla="*/ 8859 h 10000"/>
                <a:gd name="connsiteX803" fmla="*/ 311 w 10000"/>
                <a:gd name="connsiteY803" fmla="*/ 8922 h 10000"/>
                <a:gd name="connsiteX804" fmla="*/ 268 w 10000"/>
                <a:gd name="connsiteY804" fmla="*/ 8964 h 10000"/>
                <a:gd name="connsiteX805" fmla="*/ 205 w 10000"/>
                <a:gd name="connsiteY805" fmla="*/ 9016 h 10000"/>
                <a:gd name="connsiteX806" fmla="*/ 146 w 10000"/>
                <a:gd name="connsiteY806" fmla="*/ 9053 h 10000"/>
                <a:gd name="connsiteX807" fmla="*/ 139 w 10000"/>
                <a:gd name="connsiteY807" fmla="*/ 9063 h 10000"/>
                <a:gd name="connsiteX808" fmla="*/ 129 w 10000"/>
                <a:gd name="connsiteY808" fmla="*/ 9077 h 10000"/>
                <a:gd name="connsiteX809" fmla="*/ 126 w 10000"/>
                <a:gd name="connsiteY809" fmla="*/ 9086 h 10000"/>
                <a:gd name="connsiteX810" fmla="*/ 126 w 10000"/>
                <a:gd name="connsiteY810" fmla="*/ 9102 h 10000"/>
                <a:gd name="connsiteX811" fmla="*/ 129 w 10000"/>
                <a:gd name="connsiteY811" fmla="*/ 9116 h 10000"/>
                <a:gd name="connsiteX812" fmla="*/ 139 w 10000"/>
                <a:gd name="connsiteY812" fmla="*/ 9135 h 10000"/>
                <a:gd name="connsiteX813" fmla="*/ 149 w 10000"/>
                <a:gd name="connsiteY813" fmla="*/ 9151 h 10000"/>
                <a:gd name="connsiteX814" fmla="*/ 164 w 10000"/>
                <a:gd name="connsiteY814" fmla="*/ 9175 h 10000"/>
                <a:gd name="connsiteX815" fmla="*/ 184 w 10000"/>
                <a:gd name="connsiteY815" fmla="*/ 9196 h 10000"/>
                <a:gd name="connsiteX816" fmla="*/ 207 w 10000"/>
                <a:gd name="connsiteY816" fmla="*/ 9215 h 10000"/>
                <a:gd name="connsiteX817" fmla="*/ 227 w 10000"/>
                <a:gd name="connsiteY817" fmla="*/ 9233 h 10000"/>
                <a:gd name="connsiteX818" fmla="*/ 253 w 10000"/>
                <a:gd name="connsiteY818" fmla="*/ 9250 h 10000"/>
                <a:gd name="connsiteX819" fmla="*/ 303 w 10000"/>
                <a:gd name="connsiteY819" fmla="*/ 9282 h 10000"/>
                <a:gd name="connsiteX820" fmla="*/ 351 w 10000"/>
                <a:gd name="connsiteY820" fmla="*/ 9315 h 10000"/>
                <a:gd name="connsiteX821" fmla="*/ 414 w 10000"/>
                <a:gd name="connsiteY821" fmla="*/ 9364 h 10000"/>
                <a:gd name="connsiteX822" fmla="*/ 480 w 10000"/>
                <a:gd name="connsiteY822" fmla="*/ 9416 h 10000"/>
                <a:gd name="connsiteX823" fmla="*/ 513 w 10000"/>
                <a:gd name="connsiteY823" fmla="*/ 9437 h 10000"/>
                <a:gd name="connsiteX824" fmla="*/ 548 w 10000"/>
                <a:gd name="connsiteY824" fmla="*/ 9462 h 10000"/>
                <a:gd name="connsiteX825" fmla="*/ 581 w 10000"/>
                <a:gd name="connsiteY825" fmla="*/ 9483 h 10000"/>
                <a:gd name="connsiteX826" fmla="*/ 614 w 10000"/>
                <a:gd name="connsiteY826" fmla="*/ 9502 h 10000"/>
                <a:gd name="connsiteX827" fmla="*/ 641 w 10000"/>
                <a:gd name="connsiteY827" fmla="*/ 9525 h 10000"/>
                <a:gd name="connsiteX828" fmla="*/ 672 w 10000"/>
                <a:gd name="connsiteY828" fmla="*/ 9549 h 10000"/>
                <a:gd name="connsiteX829" fmla="*/ 702 w 10000"/>
                <a:gd name="connsiteY829" fmla="*/ 9568 h 10000"/>
                <a:gd name="connsiteX830" fmla="*/ 737 w 10000"/>
                <a:gd name="connsiteY830" fmla="*/ 9589 h 10000"/>
                <a:gd name="connsiteX831" fmla="*/ 770 w 10000"/>
                <a:gd name="connsiteY831" fmla="*/ 9605 h 10000"/>
                <a:gd name="connsiteX832" fmla="*/ 808 w 10000"/>
                <a:gd name="connsiteY832" fmla="*/ 9617 h 10000"/>
                <a:gd name="connsiteX833" fmla="*/ 843 w 10000"/>
                <a:gd name="connsiteY833" fmla="*/ 9624 h 10000"/>
                <a:gd name="connsiteX834" fmla="*/ 884 w 10000"/>
                <a:gd name="connsiteY834" fmla="*/ 9628 h 10000"/>
                <a:gd name="connsiteX835" fmla="*/ 902 w 10000"/>
                <a:gd name="connsiteY835" fmla="*/ 9628 h 10000"/>
                <a:gd name="connsiteX836" fmla="*/ 914 w 10000"/>
                <a:gd name="connsiteY836" fmla="*/ 9631 h 10000"/>
                <a:gd name="connsiteX837" fmla="*/ 932 w 10000"/>
                <a:gd name="connsiteY837" fmla="*/ 9638 h 10000"/>
                <a:gd name="connsiteX838" fmla="*/ 942 w 10000"/>
                <a:gd name="connsiteY838" fmla="*/ 9642 h 10000"/>
                <a:gd name="connsiteX839" fmla="*/ 967 w 10000"/>
                <a:gd name="connsiteY839" fmla="*/ 9652 h 10000"/>
                <a:gd name="connsiteX840" fmla="*/ 987 w 10000"/>
                <a:gd name="connsiteY840" fmla="*/ 9668 h 10000"/>
                <a:gd name="connsiteX841" fmla="*/ 1005 w 10000"/>
                <a:gd name="connsiteY841" fmla="*/ 9682 h 10000"/>
                <a:gd name="connsiteX842" fmla="*/ 1025 w 10000"/>
                <a:gd name="connsiteY842" fmla="*/ 9698 h 10000"/>
                <a:gd name="connsiteX843" fmla="*/ 1045 w 10000"/>
                <a:gd name="connsiteY843" fmla="*/ 9712 h 10000"/>
                <a:gd name="connsiteX844" fmla="*/ 1073 w 10000"/>
                <a:gd name="connsiteY844" fmla="*/ 9724 h 10000"/>
                <a:gd name="connsiteX845" fmla="*/ 1098 w 10000"/>
                <a:gd name="connsiteY845" fmla="*/ 9738 h 10000"/>
                <a:gd name="connsiteX846" fmla="*/ 1121 w 10000"/>
                <a:gd name="connsiteY846" fmla="*/ 9750 h 10000"/>
                <a:gd name="connsiteX847" fmla="*/ 1141 w 10000"/>
                <a:gd name="connsiteY847" fmla="*/ 9762 h 10000"/>
                <a:gd name="connsiteX848" fmla="*/ 1159 w 10000"/>
                <a:gd name="connsiteY848" fmla="*/ 9776 h 10000"/>
                <a:gd name="connsiteX849" fmla="*/ 1172 w 10000"/>
                <a:gd name="connsiteY849" fmla="*/ 9787 h 10000"/>
                <a:gd name="connsiteX850" fmla="*/ 1182 w 10000"/>
                <a:gd name="connsiteY850" fmla="*/ 9804 h 10000"/>
                <a:gd name="connsiteX851" fmla="*/ 1194 w 10000"/>
                <a:gd name="connsiteY851" fmla="*/ 9818 h 10000"/>
                <a:gd name="connsiteX852" fmla="*/ 1202 w 10000"/>
                <a:gd name="connsiteY852" fmla="*/ 9834 h 10000"/>
                <a:gd name="connsiteX853" fmla="*/ 1212 w 10000"/>
                <a:gd name="connsiteY853" fmla="*/ 9869 h 10000"/>
                <a:gd name="connsiteX854" fmla="*/ 1220 w 10000"/>
                <a:gd name="connsiteY854" fmla="*/ 9906 h 10000"/>
                <a:gd name="connsiteX855" fmla="*/ 1230 w 10000"/>
                <a:gd name="connsiteY855" fmla="*/ 9951 h 10000"/>
                <a:gd name="connsiteX856" fmla="*/ 1237 w 10000"/>
                <a:gd name="connsiteY856" fmla="*/ 10000 h 10000"/>
                <a:gd name="connsiteX857" fmla="*/ 1237 w 10000"/>
                <a:gd name="connsiteY85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7 w 10000"/>
                <a:gd name="connsiteY728" fmla="*/ 8193 h 10000"/>
                <a:gd name="connsiteX729" fmla="*/ 2154 w 10000"/>
                <a:gd name="connsiteY729" fmla="*/ 8228 h 10000"/>
                <a:gd name="connsiteX730" fmla="*/ 2146 w 10000"/>
                <a:gd name="connsiteY730" fmla="*/ 8261 h 10000"/>
                <a:gd name="connsiteX731" fmla="*/ 2136 w 10000"/>
                <a:gd name="connsiteY731" fmla="*/ 8291 h 10000"/>
                <a:gd name="connsiteX732" fmla="*/ 2124 w 10000"/>
                <a:gd name="connsiteY732" fmla="*/ 8319 h 10000"/>
                <a:gd name="connsiteX733" fmla="*/ 2109 w 10000"/>
                <a:gd name="connsiteY733" fmla="*/ 8345 h 10000"/>
                <a:gd name="connsiteX734" fmla="*/ 2098 w 10000"/>
                <a:gd name="connsiteY734" fmla="*/ 8354 h 10000"/>
                <a:gd name="connsiteX735" fmla="*/ 2088 w 10000"/>
                <a:gd name="connsiteY735" fmla="*/ 8364 h 10000"/>
                <a:gd name="connsiteX736" fmla="*/ 2078 w 10000"/>
                <a:gd name="connsiteY736" fmla="*/ 8373 h 10000"/>
                <a:gd name="connsiteX737" fmla="*/ 1990 w 10000"/>
                <a:gd name="connsiteY737" fmla="*/ 8422 h 10000"/>
                <a:gd name="connsiteX738" fmla="*/ 1904 w 10000"/>
                <a:gd name="connsiteY738" fmla="*/ 8481 h 10000"/>
                <a:gd name="connsiteX739" fmla="*/ 1856 w 10000"/>
                <a:gd name="connsiteY739" fmla="*/ 8506 h 10000"/>
                <a:gd name="connsiteX740" fmla="*/ 1816 w 10000"/>
                <a:gd name="connsiteY740" fmla="*/ 8527 h 10000"/>
                <a:gd name="connsiteX741" fmla="*/ 1793 w 10000"/>
                <a:gd name="connsiteY741" fmla="*/ 8539 h 10000"/>
                <a:gd name="connsiteX742" fmla="*/ 1775 w 10000"/>
                <a:gd name="connsiteY742" fmla="*/ 8546 h 10000"/>
                <a:gd name="connsiteX743" fmla="*/ 1758 w 10000"/>
                <a:gd name="connsiteY743" fmla="*/ 8548 h 10000"/>
                <a:gd name="connsiteX744" fmla="*/ 1742 w 10000"/>
                <a:gd name="connsiteY744" fmla="*/ 8551 h 10000"/>
                <a:gd name="connsiteX745" fmla="*/ 1727 w 10000"/>
                <a:gd name="connsiteY745" fmla="*/ 8537 h 10000"/>
                <a:gd name="connsiteX746" fmla="*/ 1717 w 10000"/>
                <a:gd name="connsiteY746" fmla="*/ 8518 h 10000"/>
                <a:gd name="connsiteX747" fmla="*/ 1684 w 10000"/>
                <a:gd name="connsiteY747" fmla="*/ 8429 h 10000"/>
                <a:gd name="connsiteX748" fmla="*/ 1525 w 10000"/>
                <a:gd name="connsiteY748" fmla="*/ 8186 h 10000"/>
                <a:gd name="connsiteX749" fmla="*/ 1500 w 10000"/>
                <a:gd name="connsiteY749" fmla="*/ 8191 h 10000"/>
                <a:gd name="connsiteX750" fmla="*/ 1472 w 10000"/>
                <a:gd name="connsiteY750" fmla="*/ 8198 h 10000"/>
                <a:gd name="connsiteX751" fmla="*/ 1434 w 10000"/>
                <a:gd name="connsiteY751" fmla="*/ 8223 h 10000"/>
                <a:gd name="connsiteX752" fmla="*/ 1149 w 10000"/>
                <a:gd name="connsiteY752" fmla="*/ 8256 h 10000"/>
                <a:gd name="connsiteX753" fmla="*/ 1139 w 10000"/>
                <a:gd name="connsiteY753" fmla="*/ 8249 h 10000"/>
                <a:gd name="connsiteX754" fmla="*/ 1126 w 10000"/>
                <a:gd name="connsiteY754" fmla="*/ 8240 h 10000"/>
                <a:gd name="connsiteX755" fmla="*/ 1114 w 10000"/>
                <a:gd name="connsiteY755" fmla="*/ 8240 h 10000"/>
                <a:gd name="connsiteX756" fmla="*/ 1091 w 10000"/>
                <a:gd name="connsiteY756" fmla="*/ 8242 h 10000"/>
                <a:gd name="connsiteX757" fmla="*/ 1071 w 10000"/>
                <a:gd name="connsiteY757" fmla="*/ 8252 h 10000"/>
                <a:gd name="connsiteX758" fmla="*/ 1048 w 10000"/>
                <a:gd name="connsiteY758" fmla="*/ 8261 h 10000"/>
                <a:gd name="connsiteX759" fmla="*/ 1030 w 10000"/>
                <a:gd name="connsiteY759" fmla="*/ 8273 h 10000"/>
                <a:gd name="connsiteX760" fmla="*/ 1010 w 10000"/>
                <a:gd name="connsiteY760" fmla="*/ 8287 h 10000"/>
                <a:gd name="connsiteX761" fmla="*/ 995 w 10000"/>
                <a:gd name="connsiteY761" fmla="*/ 8303 h 10000"/>
                <a:gd name="connsiteX762" fmla="*/ 975 w 10000"/>
                <a:gd name="connsiteY762" fmla="*/ 8322 h 10000"/>
                <a:gd name="connsiteX763" fmla="*/ 960 w 10000"/>
                <a:gd name="connsiteY763" fmla="*/ 8343 h 10000"/>
                <a:gd name="connsiteX764" fmla="*/ 927 w 10000"/>
                <a:gd name="connsiteY764" fmla="*/ 8380 h 10000"/>
                <a:gd name="connsiteX765" fmla="*/ 891 w 10000"/>
                <a:gd name="connsiteY765" fmla="*/ 8417 h 10000"/>
                <a:gd name="connsiteX766" fmla="*/ 874 w 10000"/>
                <a:gd name="connsiteY766" fmla="*/ 8436 h 10000"/>
                <a:gd name="connsiteX767" fmla="*/ 859 w 10000"/>
                <a:gd name="connsiteY767" fmla="*/ 8450 h 10000"/>
                <a:gd name="connsiteX768" fmla="*/ 838 w 10000"/>
                <a:gd name="connsiteY768" fmla="*/ 8462 h 10000"/>
                <a:gd name="connsiteX769" fmla="*/ 821 w 10000"/>
                <a:gd name="connsiteY769" fmla="*/ 8476 h 10000"/>
                <a:gd name="connsiteX770" fmla="*/ 742 w 10000"/>
                <a:gd name="connsiteY770" fmla="*/ 8562 h 10000"/>
                <a:gd name="connsiteX771" fmla="*/ 672 w 10000"/>
                <a:gd name="connsiteY771" fmla="*/ 8644 h 10000"/>
                <a:gd name="connsiteX772" fmla="*/ 639 w 10000"/>
                <a:gd name="connsiteY772" fmla="*/ 8684 h 10000"/>
                <a:gd name="connsiteX773" fmla="*/ 609 w 10000"/>
                <a:gd name="connsiteY773" fmla="*/ 8731 h 10000"/>
                <a:gd name="connsiteX774" fmla="*/ 583 w 10000"/>
                <a:gd name="connsiteY774" fmla="*/ 8777 h 10000"/>
                <a:gd name="connsiteX775" fmla="*/ 556 w 10000"/>
                <a:gd name="connsiteY775" fmla="*/ 8831 h 10000"/>
                <a:gd name="connsiteX776" fmla="*/ 545 w 10000"/>
                <a:gd name="connsiteY776" fmla="*/ 8852 h 10000"/>
                <a:gd name="connsiteX777" fmla="*/ 525 w 10000"/>
                <a:gd name="connsiteY777" fmla="*/ 8885 h 10000"/>
                <a:gd name="connsiteX778" fmla="*/ 503 w 10000"/>
                <a:gd name="connsiteY778" fmla="*/ 8925 h 10000"/>
                <a:gd name="connsiteX779" fmla="*/ 480 w 10000"/>
                <a:gd name="connsiteY779" fmla="*/ 8962 h 10000"/>
                <a:gd name="connsiteX780" fmla="*/ 465 w 10000"/>
                <a:gd name="connsiteY780" fmla="*/ 8981 h 10000"/>
                <a:gd name="connsiteX781" fmla="*/ 455 w 10000"/>
                <a:gd name="connsiteY781" fmla="*/ 8993 h 10000"/>
                <a:gd name="connsiteX782" fmla="*/ 444 w 10000"/>
                <a:gd name="connsiteY782" fmla="*/ 9000 h 10000"/>
                <a:gd name="connsiteX783" fmla="*/ 434 w 10000"/>
                <a:gd name="connsiteY783" fmla="*/ 9007 h 10000"/>
                <a:gd name="connsiteX784" fmla="*/ 432 w 10000"/>
                <a:gd name="connsiteY784" fmla="*/ 9007 h 10000"/>
                <a:gd name="connsiteX785" fmla="*/ 429 w 10000"/>
                <a:gd name="connsiteY785" fmla="*/ 9004 h 10000"/>
                <a:gd name="connsiteX786" fmla="*/ 427 w 10000"/>
                <a:gd name="connsiteY786" fmla="*/ 8997 h 10000"/>
                <a:gd name="connsiteX787" fmla="*/ 427 w 10000"/>
                <a:gd name="connsiteY787" fmla="*/ 8993 h 10000"/>
                <a:gd name="connsiteX788" fmla="*/ 424 w 10000"/>
                <a:gd name="connsiteY788" fmla="*/ 8976 h 10000"/>
                <a:gd name="connsiteX789" fmla="*/ 427 w 10000"/>
                <a:gd name="connsiteY789" fmla="*/ 8948 h 10000"/>
                <a:gd name="connsiteX790" fmla="*/ 437 w 10000"/>
                <a:gd name="connsiteY790" fmla="*/ 8913 h 10000"/>
                <a:gd name="connsiteX791" fmla="*/ 455 w 10000"/>
                <a:gd name="connsiteY791" fmla="*/ 8859 h 10000"/>
                <a:gd name="connsiteX792" fmla="*/ 462 w 10000"/>
                <a:gd name="connsiteY792" fmla="*/ 8834 h 10000"/>
                <a:gd name="connsiteX793" fmla="*/ 470 w 10000"/>
                <a:gd name="connsiteY793" fmla="*/ 8810 h 10000"/>
                <a:gd name="connsiteX794" fmla="*/ 472 w 10000"/>
                <a:gd name="connsiteY794" fmla="*/ 8794 h 10000"/>
                <a:gd name="connsiteX795" fmla="*/ 472 w 10000"/>
                <a:gd name="connsiteY795" fmla="*/ 8780 h 10000"/>
                <a:gd name="connsiteX796" fmla="*/ 462 w 10000"/>
                <a:gd name="connsiteY796" fmla="*/ 8784 h 10000"/>
                <a:gd name="connsiteX797" fmla="*/ 452 w 10000"/>
                <a:gd name="connsiteY797" fmla="*/ 8787 h 10000"/>
                <a:gd name="connsiteX798" fmla="*/ 437 w 10000"/>
                <a:gd name="connsiteY798" fmla="*/ 8794 h 10000"/>
                <a:gd name="connsiteX799" fmla="*/ 424 w 10000"/>
                <a:gd name="connsiteY799" fmla="*/ 8803 h 10000"/>
                <a:gd name="connsiteX800" fmla="*/ 394 w 10000"/>
                <a:gd name="connsiteY800" fmla="*/ 8829 h 10000"/>
                <a:gd name="connsiteX801" fmla="*/ 364 w 10000"/>
                <a:gd name="connsiteY801" fmla="*/ 8859 h 10000"/>
                <a:gd name="connsiteX802" fmla="*/ 311 w 10000"/>
                <a:gd name="connsiteY802" fmla="*/ 8922 h 10000"/>
                <a:gd name="connsiteX803" fmla="*/ 268 w 10000"/>
                <a:gd name="connsiteY803" fmla="*/ 8964 h 10000"/>
                <a:gd name="connsiteX804" fmla="*/ 205 w 10000"/>
                <a:gd name="connsiteY804" fmla="*/ 9016 h 10000"/>
                <a:gd name="connsiteX805" fmla="*/ 146 w 10000"/>
                <a:gd name="connsiteY805" fmla="*/ 9053 h 10000"/>
                <a:gd name="connsiteX806" fmla="*/ 139 w 10000"/>
                <a:gd name="connsiteY806" fmla="*/ 9063 h 10000"/>
                <a:gd name="connsiteX807" fmla="*/ 129 w 10000"/>
                <a:gd name="connsiteY807" fmla="*/ 9077 h 10000"/>
                <a:gd name="connsiteX808" fmla="*/ 126 w 10000"/>
                <a:gd name="connsiteY808" fmla="*/ 9086 h 10000"/>
                <a:gd name="connsiteX809" fmla="*/ 126 w 10000"/>
                <a:gd name="connsiteY809" fmla="*/ 9102 h 10000"/>
                <a:gd name="connsiteX810" fmla="*/ 129 w 10000"/>
                <a:gd name="connsiteY810" fmla="*/ 9116 h 10000"/>
                <a:gd name="connsiteX811" fmla="*/ 139 w 10000"/>
                <a:gd name="connsiteY811" fmla="*/ 9135 h 10000"/>
                <a:gd name="connsiteX812" fmla="*/ 149 w 10000"/>
                <a:gd name="connsiteY812" fmla="*/ 9151 h 10000"/>
                <a:gd name="connsiteX813" fmla="*/ 164 w 10000"/>
                <a:gd name="connsiteY813" fmla="*/ 9175 h 10000"/>
                <a:gd name="connsiteX814" fmla="*/ 184 w 10000"/>
                <a:gd name="connsiteY814" fmla="*/ 9196 h 10000"/>
                <a:gd name="connsiteX815" fmla="*/ 207 w 10000"/>
                <a:gd name="connsiteY815" fmla="*/ 9215 h 10000"/>
                <a:gd name="connsiteX816" fmla="*/ 227 w 10000"/>
                <a:gd name="connsiteY816" fmla="*/ 9233 h 10000"/>
                <a:gd name="connsiteX817" fmla="*/ 253 w 10000"/>
                <a:gd name="connsiteY817" fmla="*/ 9250 h 10000"/>
                <a:gd name="connsiteX818" fmla="*/ 303 w 10000"/>
                <a:gd name="connsiteY818" fmla="*/ 9282 h 10000"/>
                <a:gd name="connsiteX819" fmla="*/ 351 w 10000"/>
                <a:gd name="connsiteY819" fmla="*/ 9315 h 10000"/>
                <a:gd name="connsiteX820" fmla="*/ 414 w 10000"/>
                <a:gd name="connsiteY820" fmla="*/ 9364 h 10000"/>
                <a:gd name="connsiteX821" fmla="*/ 480 w 10000"/>
                <a:gd name="connsiteY821" fmla="*/ 9416 h 10000"/>
                <a:gd name="connsiteX822" fmla="*/ 513 w 10000"/>
                <a:gd name="connsiteY822" fmla="*/ 9437 h 10000"/>
                <a:gd name="connsiteX823" fmla="*/ 548 w 10000"/>
                <a:gd name="connsiteY823" fmla="*/ 9462 h 10000"/>
                <a:gd name="connsiteX824" fmla="*/ 581 w 10000"/>
                <a:gd name="connsiteY824" fmla="*/ 9483 h 10000"/>
                <a:gd name="connsiteX825" fmla="*/ 614 w 10000"/>
                <a:gd name="connsiteY825" fmla="*/ 9502 h 10000"/>
                <a:gd name="connsiteX826" fmla="*/ 641 w 10000"/>
                <a:gd name="connsiteY826" fmla="*/ 9525 h 10000"/>
                <a:gd name="connsiteX827" fmla="*/ 672 w 10000"/>
                <a:gd name="connsiteY827" fmla="*/ 9549 h 10000"/>
                <a:gd name="connsiteX828" fmla="*/ 702 w 10000"/>
                <a:gd name="connsiteY828" fmla="*/ 9568 h 10000"/>
                <a:gd name="connsiteX829" fmla="*/ 737 w 10000"/>
                <a:gd name="connsiteY829" fmla="*/ 9589 h 10000"/>
                <a:gd name="connsiteX830" fmla="*/ 770 w 10000"/>
                <a:gd name="connsiteY830" fmla="*/ 9605 h 10000"/>
                <a:gd name="connsiteX831" fmla="*/ 808 w 10000"/>
                <a:gd name="connsiteY831" fmla="*/ 9617 h 10000"/>
                <a:gd name="connsiteX832" fmla="*/ 843 w 10000"/>
                <a:gd name="connsiteY832" fmla="*/ 9624 h 10000"/>
                <a:gd name="connsiteX833" fmla="*/ 884 w 10000"/>
                <a:gd name="connsiteY833" fmla="*/ 9628 h 10000"/>
                <a:gd name="connsiteX834" fmla="*/ 902 w 10000"/>
                <a:gd name="connsiteY834" fmla="*/ 9628 h 10000"/>
                <a:gd name="connsiteX835" fmla="*/ 914 w 10000"/>
                <a:gd name="connsiteY835" fmla="*/ 9631 h 10000"/>
                <a:gd name="connsiteX836" fmla="*/ 932 w 10000"/>
                <a:gd name="connsiteY836" fmla="*/ 9638 h 10000"/>
                <a:gd name="connsiteX837" fmla="*/ 942 w 10000"/>
                <a:gd name="connsiteY837" fmla="*/ 9642 h 10000"/>
                <a:gd name="connsiteX838" fmla="*/ 967 w 10000"/>
                <a:gd name="connsiteY838" fmla="*/ 9652 h 10000"/>
                <a:gd name="connsiteX839" fmla="*/ 987 w 10000"/>
                <a:gd name="connsiteY839" fmla="*/ 9668 h 10000"/>
                <a:gd name="connsiteX840" fmla="*/ 1005 w 10000"/>
                <a:gd name="connsiteY840" fmla="*/ 9682 h 10000"/>
                <a:gd name="connsiteX841" fmla="*/ 1025 w 10000"/>
                <a:gd name="connsiteY841" fmla="*/ 9698 h 10000"/>
                <a:gd name="connsiteX842" fmla="*/ 1045 w 10000"/>
                <a:gd name="connsiteY842" fmla="*/ 9712 h 10000"/>
                <a:gd name="connsiteX843" fmla="*/ 1073 w 10000"/>
                <a:gd name="connsiteY843" fmla="*/ 9724 h 10000"/>
                <a:gd name="connsiteX844" fmla="*/ 1098 w 10000"/>
                <a:gd name="connsiteY844" fmla="*/ 9738 h 10000"/>
                <a:gd name="connsiteX845" fmla="*/ 1121 w 10000"/>
                <a:gd name="connsiteY845" fmla="*/ 9750 h 10000"/>
                <a:gd name="connsiteX846" fmla="*/ 1141 w 10000"/>
                <a:gd name="connsiteY846" fmla="*/ 9762 h 10000"/>
                <a:gd name="connsiteX847" fmla="*/ 1159 w 10000"/>
                <a:gd name="connsiteY847" fmla="*/ 9776 h 10000"/>
                <a:gd name="connsiteX848" fmla="*/ 1172 w 10000"/>
                <a:gd name="connsiteY848" fmla="*/ 9787 h 10000"/>
                <a:gd name="connsiteX849" fmla="*/ 1182 w 10000"/>
                <a:gd name="connsiteY849" fmla="*/ 9804 h 10000"/>
                <a:gd name="connsiteX850" fmla="*/ 1194 w 10000"/>
                <a:gd name="connsiteY850" fmla="*/ 9818 h 10000"/>
                <a:gd name="connsiteX851" fmla="*/ 1202 w 10000"/>
                <a:gd name="connsiteY851" fmla="*/ 9834 h 10000"/>
                <a:gd name="connsiteX852" fmla="*/ 1212 w 10000"/>
                <a:gd name="connsiteY852" fmla="*/ 9869 h 10000"/>
                <a:gd name="connsiteX853" fmla="*/ 1220 w 10000"/>
                <a:gd name="connsiteY853" fmla="*/ 9906 h 10000"/>
                <a:gd name="connsiteX854" fmla="*/ 1230 w 10000"/>
                <a:gd name="connsiteY854" fmla="*/ 9951 h 10000"/>
                <a:gd name="connsiteX855" fmla="*/ 1237 w 10000"/>
                <a:gd name="connsiteY855" fmla="*/ 10000 h 10000"/>
                <a:gd name="connsiteX856" fmla="*/ 1237 w 10000"/>
                <a:gd name="connsiteY85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46 w 10000"/>
                <a:gd name="connsiteY729" fmla="*/ 8261 h 10000"/>
                <a:gd name="connsiteX730" fmla="*/ 2136 w 10000"/>
                <a:gd name="connsiteY730" fmla="*/ 8291 h 10000"/>
                <a:gd name="connsiteX731" fmla="*/ 2124 w 10000"/>
                <a:gd name="connsiteY731" fmla="*/ 8319 h 10000"/>
                <a:gd name="connsiteX732" fmla="*/ 2109 w 10000"/>
                <a:gd name="connsiteY732" fmla="*/ 8345 h 10000"/>
                <a:gd name="connsiteX733" fmla="*/ 2098 w 10000"/>
                <a:gd name="connsiteY733" fmla="*/ 8354 h 10000"/>
                <a:gd name="connsiteX734" fmla="*/ 2088 w 10000"/>
                <a:gd name="connsiteY734" fmla="*/ 8364 h 10000"/>
                <a:gd name="connsiteX735" fmla="*/ 2078 w 10000"/>
                <a:gd name="connsiteY735" fmla="*/ 8373 h 10000"/>
                <a:gd name="connsiteX736" fmla="*/ 1990 w 10000"/>
                <a:gd name="connsiteY736" fmla="*/ 8422 h 10000"/>
                <a:gd name="connsiteX737" fmla="*/ 1904 w 10000"/>
                <a:gd name="connsiteY737" fmla="*/ 8481 h 10000"/>
                <a:gd name="connsiteX738" fmla="*/ 1856 w 10000"/>
                <a:gd name="connsiteY738" fmla="*/ 8506 h 10000"/>
                <a:gd name="connsiteX739" fmla="*/ 1816 w 10000"/>
                <a:gd name="connsiteY739" fmla="*/ 8527 h 10000"/>
                <a:gd name="connsiteX740" fmla="*/ 1793 w 10000"/>
                <a:gd name="connsiteY740" fmla="*/ 8539 h 10000"/>
                <a:gd name="connsiteX741" fmla="*/ 1775 w 10000"/>
                <a:gd name="connsiteY741" fmla="*/ 8546 h 10000"/>
                <a:gd name="connsiteX742" fmla="*/ 1758 w 10000"/>
                <a:gd name="connsiteY742" fmla="*/ 8548 h 10000"/>
                <a:gd name="connsiteX743" fmla="*/ 1742 w 10000"/>
                <a:gd name="connsiteY743" fmla="*/ 8551 h 10000"/>
                <a:gd name="connsiteX744" fmla="*/ 1727 w 10000"/>
                <a:gd name="connsiteY744" fmla="*/ 8537 h 10000"/>
                <a:gd name="connsiteX745" fmla="*/ 1717 w 10000"/>
                <a:gd name="connsiteY745" fmla="*/ 8518 h 10000"/>
                <a:gd name="connsiteX746" fmla="*/ 1684 w 10000"/>
                <a:gd name="connsiteY746" fmla="*/ 8429 h 10000"/>
                <a:gd name="connsiteX747" fmla="*/ 1525 w 10000"/>
                <a:gd name="connsiteY747" fmla="*/ 8186 h 10000"/>
                <a:gd name="connsiteX748" fmla="*/ 1500 w 10000"/>
                <a:gd name="connsiteY748" fmla="*/ 8191 h 10000"/>
                <a:gd name="connsiteX749" fmla="*/ 1472 w 10000"/>
                <a:gd name="connsiteY749" fmla="*/ 8198 h 10000"/>
                <a:gd name="connsiteX750" fmla="*/ 1434 w 10000"/>
                <a:gd name="connsiteY750" fmla="*/ 8223 h 10000"/>
                <a:gd name="connsiteX751" fmla="*/ 1149 w 10000"/>
                <a:gd name="connsiteY751" fmla="*/ 8256 h 10000"/>
                <a:gd name="connsiteX752" fmla="*/ 1139 w 10000"/>
                <a:gd name="connsiteY752" fmla="*/ 8249 h 10000"/>
                <a:gd name="connsiteX753" fmla="*/ 1126 w 10000"/>
                <a:gd name="connsiteY753" fmla="*/ 8240 h 10000"/>
                <a:gd name="connsiteX754" fmla="*/ 1114 w 10000"/>
                <a:gd name="connsiteY754" fmla="*/ 8240 h 10000"/>
                <a:gd name="connsiteX755" fmla="*/ 1091 w 10000"/>
                <a:gd name="connsiteY755" fmla="*/ 8242 h 10000"/>
                <a:gd name="connsiteX756" fmla="*/ 1071 w 10000"/>
                <a:gd name="connsiteY756" fmla="*/ 8252 h 10000"/>
                <a:gd name="connsiteX757" fmla="*/ 1048 w 10000"/>
                <a:gd name="connsiteY757" fmla="*/ 8261 h 10000"/>
                <a:gd name="connsiteX758" fmla="*/ 1030 w 10000"/>
                <a:gd name="connsiteY758" fmla="*/ 8273 h 10000"/>
                <a:gd name="connsiteX759" fmla="*/ 1010 w 10000"/>
                <a:gd name="connsiteY759" fmla="*/ 8287 h 10000"/>
                <a:gd name="connsiteX760" fmla="*/ 995 w 10000"/>
                <a:gd name="connsiteY760" fmla="*/ 8303 h 10000"/>
                <a:gd name="connsiteX761" fmla="*/ 975 w 10000"/>
                <a:gd name="connsiteY761" fmla="*/ 8322 h 10000"/>
                <a:gd name="connsiteX762" fmla="*/ 960 w 10000"/>
                <a:gd name="connsiteY762" fmla="*/ 8343 h 10000"/>
                <a:gd name="connsiteX763" fmla="*/ 927 w 10000"/>
                <a:gd name="connsiteY763" fmla="*/ 8380 h 10000"/>
                <a:gd name="connsiteX764" fmla="*/ 891 w 10000"/>
                <a:gd name="connsiteY764" fmla="*/ 8417 h 10000"/>
                <a:gd name="connsiteX765" fmla="*/ 874 w 10000"/>
                <a:gd name="connsiteY765" fmla="*/ 8436 h 10000"/>
                <a:gd name="connsiteX766" fmla="*/ 859 w 10000"/>
                <a:gd name="connsiteY766" fmla="*/ 8450 h 10000"/>
                <a:gd name="connsiteX767" fmla="*/ 838 w 10000"/>
                <a:gd name="connsiteY767" fmla="*/ 8462 h 10000"/>
                <a:gd name="connsiteX768" fmla="*/ 821 w 10000"/>
                <a:gd name="connsiteY768" fmla="*/ 8476 h 10000"/>
                <a:gd name="connsiteX769" fmla="*/ 742 w 10000"/>
                <a:gd name="connsiteY769" fmla="*/ 8562 h 10000"/>
                <a:gd name="connsiteX770" fmla="*/ 672 w 10000"/>
                <a:gd name="connsiteY770" fmla="*/ 8644 h 10000"/>
                <a:gd name="connsiteX771" fmla="*/ 639 w 10000"/>
                <a:gd name="connsiteY771" fmla="*/ 8684 h 10000"/>
                <a:gd name="connsiteX772" fmla="*/ 609 w 10000"/>
                <a:gd name="connsiteY772" fmla="*/ 8731 h 10000"/>
                <a:gd name="connsiteX773" fmla="*/ 583 w 10000"/>
                <a:gd name="connsiteY773" fmla="*/ 8777 h 10000"/>
                <a:gd name="connsiteX774" fmla="*/ 556 w 10000"/>
                <a:gd name="connsiteY774" fmla="*/ 8831 h 10000"/>
                <a:gd name="connsiteX775" fmla="*/ 545 w 10000"/>
                <a:gd name="connsiteY775" fmla="*/ 8852 h 10000"/>
                <a:gd name="connsiteX776" fmla="*/ 525 w 10000"/>
                <a:gd name="connsiteY776" fmla="*/ 8885 h 10000"/>
                <a:gd name="connsiteX777" fmla="*/ 503 w 10000"/>
                <a:gd name="connsiteY777" fmla="*/ 8925 h 10000"/>
                <a:gd name="connsiteX778" fmla="*/ 480 w 10000"/>
                <a:gd name="connsiteY778" fmla="*/ 8962 h 10000"/>
                <a:gd name="connsiteX779" fmla="*/ 465 w 10000"/>
                <a:gd name="connsiteY779" fmla="*/ 8981 h 10000"/>
                <a:gd name="connsiteX780" fmla="*/ 455 w 10000"/>
                <a:gd name="connsiteY780" fmla="*/ 8993 h 10000"/>
                <a:gd name="connsiteX781" fmla="*/ 444 w 10000"/>
                <a:gd name="connsiteY781" fmla="*/ 9000 h 10000"/>
                <a:gd name="connsiteX782" fmla="*/ 434 w 10000"/>
                <a:gd name="connsiteY782" fmla="*/ 9007 h 10000"/>
                <a:gd name="connsiteX783" fmla="*/ 432 w 10000"/>
                <a:gd name="connsiteY783" fmla="*/ 9007 h 10000"/>
                <a:gd name="connsiteX784" fmla="*/ 429 w 10000"/>
                <a:gd name="connsiteY784" fmla="*/ 9004 h 10000"/>
                <a:gd name="connsiteX785" fmla="*/ 427 w 10000"/>
                <a:gd name="connsiteY785" fmla="*/ 8997 h 10000"/>
                <a:gd name="connsiteX786" fmla="*/ 427 w 10000"/>
                <a:gd name="connsiteY786" fmla="*/ 8993 h 10000"/>
                <a:gd name="connsiteX787" fmla="*/ 424 w 10000"/>
                <a:gd name="connsiteY787" fmla="*/ 8976 h 10000"/>
                <a:gd name="connsiteX788" fmla="*/ 427 w 10000"/>
                <a:gd name="connsiteY788" fmla="*/ 8948 h 10000"/>
                <a:gd name="connsiteX789" fmla="*/ 437 w 10000"/>
                <a:gd name="connsiteY789" fmla="*/ 8913 h 10000"/>
                <a:gd name="connsiteX790" fmla="*/ 455 w 10000"/>
                <a:gd name="connsiteY790" fmla="*/ 8859 h 10000"/>
                <a:gd name="connsiteX791" fmla="*/ 462 w 10000"/>
                <a:gd name="connsiteY791" fmla="*/ 8834 h 10000"/>
                <a:gd name="connsiteX792" fmla="*/ 470 w 10000"/>
                <a:gd name="connsiteY792" fmla="*/ 8810 h 10000"/>
                <a:gd name="connsiteX793" fmla="*/ 472 w 10000"/>
                <a:gd name="connsiteY793" fmla="*/ 8794 h 10000"/>
                <a:gd name="connsiteX794" fmla="*/ 472 w 10000"/>
                <a:gd name="connsiteY794" fmla="*/ 8780 h 10000"/>
                <a:gd name="connsiteX795" fmla="*/ 462 w 10000"/>
                <a:gd name="connsiteY795" fmla="*/ 8784 h 10000"/>
                <a:gd name="connsiteX796" fmla="*/ 452 w 10000"/>
                <a:gd name="connsiteY796" fmla="*/ 8787 h 10000"/>
                <a:gd name="connsiteX797" fmla="*/ 437 w 10000"/>
                <a:gd name="connsiteY797" fmla="*/ 8794 h 10000"/>
                <a:gd name="connsiteX798" fmla="*/ 424 w 10000"/>
                <a:gd name="connsiteY798" fmla="*/ 8803 h 10000"/>
                <a:gd name="connsiteX799" fmla="*/ 394 w 10000"/>
                <a:gd name="connsiteY799" fmla="*/ 8829 h 10000"/>
                <a:gd name="connsiteX800" fmla="*/ 364 w 10000"/>
                <a:gd name="connsiteY800" fmla="*/ 8859 h 10000"/>
                <a:gd name="connsiteX801" fmla="*/ 311 w 10000"/>
                <a:gd name="connsiteY801" fmla="*/ 8922 h 10000"/>
                <a:gd name="connsiteX802" fmla="*/ 268 w 10000"/>
                <a:gd name="connsiteY802" fmla="*/ 8964 h 10000"/>
                <a:gd name="connsiteX803" fmla="*/ 205 w 10000"/>
                <a:gd name="connsiteY803" fmla="*/ 9016 h 10000"/>
                <a:gd name="connsiteX804" fmla="*/ 146 w 10000"/>
                <a:gd name="connsiteY804" fmla="*/ 9053 h 10000"/>
                <a:gd name="connsiteX805" fmla="*/ 139 w 10000"/>
                <a:gd name="connsiteY805" fmla="*/ 9063 h 10000"/>
                <a:gd name="connsiteX806" fmla="*/ 129 w 10000"/>
                <a:gd name="connsiteY806" fmla="*/ 9077 h 10000"/>
                <a:gd name="connsiteX807" fmla="*/ 126 w 10000"/>
                <a:gd name="connsiteY807" fmla="*/ 9086 h 10000"/>
                <a:gd name="connsiteX808" fmla="*/ 126 w 10000"/>
                <a:gd name="connsiteY808" fmla="*/ 9102 h 10000"/>
                <a:gd name="connsiteX809" fmla="*/ 129 w 10000"/>
                <a:gd name="connsiteY809" fmla="*/ 9116 h 10000"/>
                <a:gd name="connsiteX810" fmla="*/ 139 w 10000"/>
                <a:gd name="connsiteY810" fmla="*/ 9135 h 10000"/>
                <a:gd name="connsiteX811" fmla="*/ 149 w 10000"/>
                <a:gd name="connsiteY811" fmla="*/ 9151 h 10000"/>
                <a:gd name="connsiteX812" fmla="*/ 164 w 10000"/>
                <a:gd name="connsiteY812" fmla="*/ 9175 h 10000"/>
                <a:gd name="connsiteX813" fmla="*/ 184 w 10000"/>
                <a:gd name="connsiteY813" fmla="*/ 9196 h 10000"/>
                <a:gd name="connsiteX814" fmla="*/ 207 w 10000"/>
                <a:gd name="connsiteY814" fmla="*/ 9215 h 10000"/>
                <a:gd name="connsiteX815" fmla="*/ 227 w 10000"/>
                <a:gd name="connsiteY815" fmla="*/ 9233 h 10000"/>
                <a:gd name="connsiteX816" fmla="*/ 253 w 10000"/>
                <a:gd name="connsiteY816" fmla="*/ 9250 h 10000"/>
                <a:gd name="connsiteX817" fmla="*/ 303 w 10000"/>
                <a:gd name="connsiteY817" fmla="*/ 9282 h 10000"/>
                <a:gd name="connsiteX818" fmla="*/ 351 w 10000"/>
                <a:gd name="connsiteY818" fmla="*/ 9315 h 10000"/>
                <a:gd name="connsiteX819" fmla="*/ 414 w 10000"/>
                <a:gd name="connsiteY819" fmla="*/ 9364 h 10000"/>
                <a:gd name="connsiteX820" fmla="*/ 480 w 10000"/>
                <a:gd name="connsiteY820" fmla="*/ 9416 h 10000"/>
                <a:gd name="connsiteX821" fmla="*/ 513 w 10000"/>
                <a:gd name="connsiteY821" fmla="*/ 9437 h 10000"/>
                <a:gd name="connsiteX822" fmla="*/ 548 w 10000"/>
                <a:gd name="connsiteY822" fmla="*/ 9462 h 10000"/>
                <a:gd name="connsiteX823" fmla="*/ 581 w 10000"/>
                <a:gd name="connsiteY823" fmla="*/ 9483 h 10000"/>
                <a:gd name="connsiteX824" fmla="*/ 614 w 10000"/>
                <a:gd name="connsiteY824" fmla="*/ 9502 h 10000"/>
                <a:gd name="connsiteX825" fmla="*/ 641 w 10000"/>
                <a:gd name="connsiteY825" fmla="*/ 9525 h 10000"/>
                <a:gd name="connsiteX826" fmla="*/ 672 w 10000"/>
                <a:gd name="connsiteY826" fmla="*/ 9549 h 10000"/>
                <a:gd name="connsiteX827" fmla="*/ 702 w 10000"/>
                <a:gd name="connsiteY827" fmla="*/ 9568 h 10000"/>
                <a:gd name="connsiteX828" fmla="*/ 737 w 10000"/>
                <a:gd name="connsiteY828" fmla="*/ 9589 h 10000"/>
                <a:gd name="connsiteX829" fmla="*/ 770 w 10000"/>
                <a:gd name="connsiteY829" fmla="*/ 9605 h 10000"/>
                <a:gd name="connsiteX830" fmla="*/ 808 w 10000"/>
                <a:gd name="connsiteY830" fmla="*/ 9617 h 10000"/>
                <a:gd name="connsiteX831" fmla="*/ 843 w 10000"/>
                <a:gd name="connsiteY831" fmla="*/ 9624 h 10000"/>
                <a:gd name="connsiteX832" fmla="*/ 884 w 10000"/>
                <a:gd name="connsiteY832" fmla="*/ 9628 h 10000"/>
                <a:gd name="connsiteX833" fmla="*/ 902 w 10000"/>
                <a:gd name="connsiteY833" fmla="*/ 9628 h 10000"/>
                <a:gd name="connsiteX834" fmla="*/ 914 w 10000"/>
                <a:gd name="connsiteY834" fmla="*/ 9631 h 10000"/>
                <a:gd name="connsiteX835" fmla="*/ 932 w 10000"/>
                <a:gd name="connsiteY835" fmla="*/ 9638 h 10000"/>
                <a:gd name="connsiteX836" fmla="*/ 942 w 10000"/>
                <a:gd name="connsiteY836" fmla="*/ 9642 h 10000"/>
                <a:gd name="connsiteX837" fmla="*/ 967 w 10000"/>
                <a:gd name="connsiteY837" fmla="*/ 9652 h 10000"/>
                <a:gd name="connsiteX838" fmla="*/ 987 w 10000"/>
                <a:gd name="connsiteY838" fmla="*/ 9668 h 10000"/>
                <a:gd name="connsiteX839" fmla="*/ 1005 w 10000"/>
                <a:gd name="connsiteY839" fmla="*/ 9682 h 10000"/>
                <a:gd name="connsiteX840" fmla="*/ 1025 w 10000"/>
                <a:gd name="connsiteY840" fmla="*/ 9698 h 10000"/>
                <a:gd name="connsiteX841" fmla="*/ 1045 w 10000"/>
                <a:gd name="connsiteY841" fmla="*/ 9712 h 10000"/>
                <a:gd name="connsiteX842" fmla="*/ 1073 w 10000"/>
                <a:gd name="connsiteY842" fmla="*/ 9724 h 10000"/>
                <a:gd name="connsiteX843" fmla="*/ 1098 w 10000"/>
                <a:gd name="connsiteY843" fmla="*/ 9738 h 10000"/>
                <a:gd name="connsiteX844" fmla="*/ 1121 w 10000"/>
                <a:gd name="connsiteY844" fmla="*/ 9750 h 10000"/>
                <a:gd name="connsiteX845" fmla="*/ 1141 w 10000"/>
                <a:gd name="connsiteY845" fmla="*/ 9762 h 10000"/>
                <a:gd name="connsiteX846" fmla="*/ 1159 w 10000"/>
                <a:gd name="connsiteY846" fmla="*/ 9776 h 10000"/>
                <a:gd name="connsiteX847" fmla="*/ 1172 w 10000"/>
                <a:gd name="connsiteY847" fmla="*/ 9787 h 10000"/>
                <a:gd name="connsiteX848" fmla="*/ 1182 w 10000"/>
                <a:gd name="connsiteY848" fmla="*/ 9804 h 10000"/>
                <a:gd name="connsiteX849" fmla="*/ 1194 w 10000"/>
                <a:gd name="connsiteY849" fmla="*/ 9818 h 10000"/>
                <a:gd name="connsiteX850" fmla="*/ 1202 w 10000"/>
                <a:gd name="connsiteY850" fmla="*/ 9834 h 10000"/>
                <a:gd name="connsiteX851" fmla="*/ 1212 w 10000"/>
                <a:gd name="connsiteY851" fmla="*/ 9869 h 10000"/>
                <a:gd name="connsiteX852" fmla="*/ 1220 w 10000"/>
                <a:gd name="connsiteY852" fmla="*/ 9906 h 10000"/>
                <a:gd name="connsiteX853" fmla="*/ 1230 w 10000"/>
                <a:gd name="connsiteY853" fmla="*/ 9951 h 10000"/>
                <a:gd name="connsiteX854" fmla="*/ 1237 w 10000"/>
                <a:gd name="connsiteY854" fmla="*/ 10000 h 10000"/>
                <a:gd name="connsiteX855" fmla="*/ 1237 w 10000"/>
                <a:gd name="connsiteY85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36 w 10000"/>
                <a:gd name="connsiteY729" fmla="*/ 8291 h 10000"/>
                <a:gd name="connsiteX730" fmla="*/ 2124 w 10000"/>
                <a:gd name="connsiteY730" fmla="*/ 8319 h 10000"/>
                <a:gd name="connsiteX731" fmla="*/ 2109 w 10000"/>
                <a:gd name="connsiteY731" fmla="*/ 8345 h 10000"/>
                <a:gd name="connsiteX732" fmla="*/ 2098 w 10000"/>
                <a:gd name="connsiteY732" fmla="*/ 8354 h 10000"/>
                <a:gd name="connsiteX733" fmla="*/ 2088 w 10000"/>
                <a:gd name="connsiteY733" fmla="*/ 8364 h 10000"/>
                <a:gd name="connsiteX734" fmla="*/ 2078 w 10000"/>
                <a:gd name="connsiteY734" fmla="*/ 8373 h 10000"/>
                <a:gd name="connsiteX735" fmla="*/ 1990 w 10000"/>
                <a:gd name="connsiteY735" fmla="*/ 8422 h 10000"/>
                <a:gd name="connsiteX736" fmla="*/ 1904 w 10000"/>
                <a:gd name="connsiteY736" fmla="*/ 8481 h 10000"/>
                <a:gd name="connsiteX737" fmla="*/ 1856 w 10000"/>
                <a:gd name="connsiteY737" fmla="*/ 8506 h 10000"/>
                <a:gd name="connsiteX738" fmla="*/ 1816 w 10000"/>
                <a:gd name="connsiteY738" fmla="*/ 8527 h 10000"/>
                <a:gd name="connsiteX739" fmla="*/ 1793 w 10000"/>
                <a:gd name="connsiteY739" fmla="*/ 8539 h 10000"/>
                <a:gd name="connsiteX740" fmla="*/ 1775 w 10000"/>
                <a:gd name="connsiteY740" fmla="*/ 8546 h 10000"/>
                <a:gd name="connsiteX741" fmla="*/ 1758 w 10000"/>
                <a:gd name="connsiteY741" fmla="*/ 8548 h 10000"/>
                <a:gd name="connsiteX742" fmla="*/ 1742 w 10000"/>
                <a:gd name="connsiteY742" fmla="*/ 8551 h 10000"/>
                <a:gd name="connsiteX743" fmla="*/ 1727 w 10000"/>
                <a:gd name="connsiteY743" fmla="*/ 8537 h 10000"/>
                <a:gd name="connsiteX744" fmla="*/ 1717 w 10000"/>
                <a:gd name="connsiteY744" fmla="*/ 8518 h 10000"/>
                <a:gd name="connsiteX745" fmla="*/ 1684 w 10000"/>
                <a:gd name="connsiteY745" fmla="*/ 8429 h 10000"/>
                <a:gd name="connsiteX746" fmla="*/ 1525 w 10000"/>
                <a:gd name="connsiteY746" fmla="*/ 8186 h 10000"/>
                <a:gd name="connsiteX747" fmla="*/ 1500 w 10000"/>
                <a:gd name="connsiteY747" fmla="*/ 8191 h 10000"/>
                <a:gd name="connsiteX748" fmla="*/ 1472 w 10000"/>
                <a:gd name="connsiteY748" fmla="*/ 8198 h 10000"/>
                <a:gd name="connsiteX749" fmla="*/ 1434 w 10000"/>
                <a:gd name="connsiteY749" fmla="*/ 8223 h 10000"/>
                <a:gd name="connsiteX750" fmla="*/ 1149 w 10000"/>
                <a:gd name="connsiteY750" fmla="*/ 8256 h 10000"/>
                <a:gd name="connsiteX751" fmla="*/ 1139 w 10000"/>
                <a:gd name="connsiteY751" fmla="*/ 8249 h 10000"/>
                <a:gd name="connsiteX752" fmla="*/ 1126 w 10000"/>
                <a:gd name="connsiteY752" fmla="*/ 8240 h 10000"/>
                <a:gd name="connsiteX753" fmla="*/ 1114 w 10000"/>
                <a:gd name="connsiteY753" fmla="*/ 8240 h 10000"/>
                <a:gd name="connsiteX754" fmla="*/ 1091 w 10000"/>
                <a:gd name="connsiteY754" fmla="*/ 8242 h 10000"/>
                <a:gd name="connsiteX755" fmla="*/ 1071 w 10000"/>
                <a:gd name="connsiteY755" fmla="*/ 8252 h 10000"/>
                <a:gd name="connsiteX756" fmla="*/ 1048 w 10000"/>
                <a:gd name="connsiteY756" fmla="*/ 8261 h 10000"/>
                <a:gd name="connsiteX757" fmla="*/ 1030 w 10000"/>
                <a:gd name="connsiteY757" fmla="*/ 8273 h 10000"/>
                <a:gd name="connsiteX758" fmla="*/ 1010 w 10000"/>
                <a:gd name="connsiteY758" fmla="*/ 8287 h 10000"/>
                <a:gd name="connsiteX759" fmla="*/ 995 w 10000"/>
                <a:gd name="connsiteY759" fmla="*/ 8303 h 10000"/>
                <a:gd name="connsiteX760" fmla="*/ 975 w 10000"/>
                <a:gd name="connsiteY760" fmla="*/ 8322 h 10000"/>
                <a:gd name="connsiteX761" fmla="*/ 960 w 10000"/>
                <a:gd name="connsiteY761" fmla="*/ 8343 h 10000"/>
                <a:gd name="connsiteX762" fmla="*/ 927 w 10000"/>
                <a:gd name="connsiteY762" fmla="*/ 8380 h 10000"/>
                <a:gd name="connsiteX763" fmla="*/ 891 w 10000"/>
                <a:gd name="connsiteY763" fmla="*/ 8417 h 10000"/>
                <a:gd name="connsiteX764" fmla="*/ 874 w 10000"/>
                <a:gd name="connsiteY764" fmla="*/ 8436 h 10000"/>
                <a:gd name="connsiteX765" fmla="*/ 859 w 10000"/>
                <a:gd name="connsiteY765" fmla="*/ 8450 h 10000"/>
                <a:gd name="connsiteX766" fmla="*/ 838 w 10000"/>
                <a:gd name="connsiteY766" fmla="*/ 8462 h 10000"/>
                <a:gd name="connsiteX767" fmla="*/ 821 w 10000"/>
                <a:gd name="connsiteY767" fmla="*/ 8476 h 10000"/>
                <a:gd name="connsiteX768" fmla="*/ 742 w 10000"/>
                <a:gd name="connsiteY768" fmla="*/ 8562 h 10000"/>
                <a:gd name="connsiteX769" fmla="*/ 672 w 10000"/>
                <a:gd name="connsiteY769" fmla="*/ 8644 h 10000"/>
                <a:gd name="connsiteX770" fmla="*/ 639 w 10000"/>
                <a:gd name="connsiteY770" fmla="*/ 8684 h 10000"/>
                <a:gd name="connsiteX771" fmla="*/ 609 w 10000"/>
                <a:gd name="connsiteY771" fmla="*/ 8731 h 10000"/>
                <a:gd name="connsiteX772" fmla="*/ 583 w 10000"/>
                <a:gd name="connsiteY772" fmla="*/ 8777 h 10000"/>
                <a:gd name="connsiteX773" fmla="*/ 556 w 10000"/>
                <a:gd name="connsiteY773" fmla="*/ 8831 h 10000"/>
                <a:gd name="connsiteX774" fmla="*/ 545 w 10000"/>
                <a:gd name="connsiteY774" fmla="*/ 8852 h 10000"/>
                <a:gd name="connsiteX775" fmla="*/ 525 w 10000"/>
                <a:gd name="connsiteY775" fmla="*/ 8885 h 10000"/>
                <a:gd name="connsiteX776" fmla="*/ 503 w 10000"/>
                <a:gd name="connsiteY776" fmla="*/ 8925 h 10000"/>
                <a:gd name="connsiteX777" fmla="*/ 480 w 10000"/>
                <a:gd name="connsiteY777" fmla="*/ 8962 h 10000"/>
                <a:gd name="connsiteX778" fmla="*/ 465 w 10000"/>
                <a:gd name="connsiteY778" fmla="*/ 8981 h 10000"/>
                <a:gd name="connsiteX779" fmla="*/ 455 w 10000"/>
                <a:gd name="connsiteY779" fmla="*/ 8993 h 10000"/>
                <a:gd name="connsiteX780" fmla="*/ 444 w 10000"/>
                <a:gd name="connsiteY780" fmla="*/ 9000 h 10000"/>
                <a:gd name="connsiteX781" fmla="*/ 434 w 10000"/>
                <a:gd name="connsiteY781" fmla="*/ 9007 h 10000"/>
                <a:gd name="connsiteX782" fmla="*/ 432 w 10000"/>
                <a:gd name="connsiteY782" fmla="*/ 9007 h 10000"/>
                <a:gd name="connsiteX783" fmla="*/ 429 w 10000"/>
                <a:gd name="connsiteY783" fmla="*/ 9004 h 10000"/>
                <a:gd name="connsiteX784" fmla="*/ 427 w 10000"/>
                <a:gd name="connsiteY784" fmla="*/ 8997 h 10000"/>
                <a:gd name="connsiteX785" fmla="*/ 427 w 10000"/>
                <a:gd name="connsiteY785" fmla="*/ 8993 h 10000"/>
                <a:gd name="connsiteX786" fmla="*/ 424 w 10000"/>
                <a:gd name="connsiteY786" fmla="*/ 8976 h 10000"/>
                <a:gd name="connsiteX787" fmla="*/ 427 w 10000"/>
                <a:gd name="connsiteY787" fmla="*/ 8948 h 10000"/>
                <a:gd name="connsiteX788" fmla="*/ 437 w 10000"/>
                <a:gd name="connsiteY788" fmla="*/ 8913 h 10000"/>
                <a:gd name="connsiteX789" fmla="*/ 455 w 10000"/>
                <a:gd name="connsiteY789" fmla="*/ 8859 h 10000"/>
                <a:gd name="connsiteX790" fmla="*/ 462 w 10000"/>
                <a:gd name="connsiteY790" fmla="*/ 8834 h 10000"/>
                <a:gd name="connsiteX791" fmla="*/ 470 w 10000"/>
                <a:gd name="connsiteY791" fmla="*/ 8810 h 10000"/>
                <a:gd name="connsiteX792" fmla="*/ 472 w 10000"/>
                <a:gd name="connsiteY792" fmla="*/ 8794 h 10000"/>
                <a:gd name="connsiteX793" fmla="*/ 472 w 10000"/>
                <a:gd name="connsiteY793" fmla="*/ 8780 h 10000"/>
                <a:gd name="connsiteX794" fmla="*/ 462 w 10000"/>
                <a:gd name="connsiteY794" fmla="*/ 8784 h 10000"/>
                <a:gd name="connsiteX795" fmla="*/ 452 w 10000"/>
                <a:gd name="connsiteY795" fmla="*/ 8787 h 10000"/>
                <a:gd name="connsiteX796" fmla="*/ 437 w 10000"/>
                <a:gd name="connsiteY796" fmla="*/ 8794 h 10000"/>
                <a:gd name="connsiteX797" fmla="*/ 424 w 10000"/>
                <a:gd name="connsiteY797" fmla="*/ 8803 h 10000"/>
                <a:gd name="connsiteX798" fmla="*/ 394 w 10000"/>
                <a:gd name="connsiteY798" fmla="*/ 8829 h 10000"/>
                <a:gd name="connsiteX799" fmla="*/ 364 w 10000"/>
                <a:gd name="connsiteY799" fmla="*/ 8859 h 10000"/>
                <a:gd name="connsiteX800" fmla="*/ 311 w 10000"/>
                <a:gd name="connsiteY800" fmla="*/ 8922 h 10000"/>
                <a:gd name="connsiteX801" fmla="*/ 268 w 10000"/>
                <a:gd name="connsiteY801" fmla="*/ 8964 h 10000"/>
                <a:gd name="connsiteX802" fmla="*/ 205 w 10000"/>
                <a:gd name="connsiteY802" fmla="*/ 9016 h 10000"/>
                <a:gd name="connsiteX803" fmla="*/ 146 w 10000"/>
                <a:gd name="connsiteY803" fmla="*/ 9053 h 10000"/>
                <a:gd name="connsiteX804" fmla="*/ 139 w 10000"/>
                <a:gd name="connsiteY804" fmla="*/ 9063 h 10000"/>
                <a:gd name="connsiteX805" fmla="*/ 129 w 10000"/>
                <a:gd name="connsiteY805" fmla="*/ 9077 h 10000"/>
                <a:gd name="connsiteX806" fmla="*/ 126 w 10000"/>
                <a:gd name="connsiteY806" fmla="*/ 9086 h 10000"/>
                <a:gd name="connsiteX807" fmla="*/ 126 w 10000"/>
                <a:gd name="connsiteY807" fmla="*/ 9102 h 10000"/>
                <a:gd name="connsiteX808" fmla="*/ 129 w 10000"/>
                <a:gd name="connsiteY808" fmla="*/ 9116 h 10000"/>
                <a:gd name="connsiteX809" fmla="*/ 139 w 10000"/>
                <a:gd name="connsiteY809" fmla="*/ 9135 h 10000"/>
                <a:gd name="connsiteX810" fmla="*/ 149 w 10000"/>
                <a:gd name="connsiteY810" fmla="*/ 9151 h 10000"/>
                <a:gd name="connsiteX811" fmla="*/ 164 w 10000"/>
                <a:gd name="connsiteY811" fmla="*/ 9175 h 10000"/>
                <a:gd name="connsiteX812" fmla="*/ 184 w 10000"/>
                <a:gd name="connsiteY812" fmla="*/ 9196 h 10000"/>
                <a:gd name="connsiteX813" fmla="*/ 207 w 10000"/>
                <a:gd name="connsiteY813" fmla="*/ 9215 h 10000"/>
                <a:gd name="connsiteX814" fmla="*/ 227 w 10000"/>
                <a:gd name="connsiteY814" fmla="*/ 9233 h 10000"/>
                <a:gd name="connsiteX815" fmla="*/ 253 w 10000"/>
                <a:gd name="connsiteY815" fmla="*/ 9250 h 10000"/>
                <a:gd name="connsiteX816" fmla="*/ 303 w 10000"/>
                <a:gd name="connsiteY816" fmla="*/ 9282 h 10000"/>
                <a:gd name="connsiteX817" fmla="*/ 351 w 10000"/>
                <a:gd name="connsiteY817" fmla="*/ 9315 h 10000"/>
                <a:gd name="connsiteX818" fmla="*/ 414 w 10000"/>
                <a:gd name="connsiteY818" fmla="*/ 9364 h 10000"/>
                <a:gd name="connsiteX819" fmla="*/ 480 w 10000"/>
                <a:gd name="connsiteY819" fmla="*/ 9416 h 10000"/>
                <a:gd name="connsiteX820" fmla="*/ 513 w 10000"/>
                <a:gd name="connsiteY820" fmla="*/ 9437 h 10000"/>
                <a:gd name="connsiteX821" fmla="*/ 548 w 10000"/>
                <a:gd name="connsiteY821" fmla="*/ 9462 h 10000"/>
                <a:gd name="connsiteX822" fmla="*/ 581 w 10000"/>
                <a:gd name="connsiteY822" fmla="*/ 9483 h 10000"/>
                <a:gd name="connsiteX823" fmla="*/ 614 w 10000"/>
                <a:gd name="connsiteY823" fmla="*/ 9502 h 10000"/>
                <a:gd name="connsiteX824" fmla="*/ 641 w 10000"/>
                <a:gd name="connsiteY824" fmla="*/ 9525 h 10000"/>
                <a:gd name="connsiteX825" fmla="*/ 672 w 10000"/>
                <a:gd name="connsiteY825" fmla="*/ 9549 h 10000"/>
                <a:gd name="connsiteX826" fmla="*/ 702 w 10000"/>
                <a:gd name="connsiteY826" fmla="*/ 9568 h 10000"/>
                <a:gd name="connsiteX827" fmla="*/ 737 w 10000"/>
                <a:gd name="connsiteY827" fmla="*/ 9589 h 10000"/>
                <a:gd name="connsiteX828" fmla="*/ 770 w 10000"/>
                <a:gd name="connsiteY828" fmla="*/ 9605 h 10000"/>
                <a:gd name="connsiteX829" fmla="*/ 808 w 10000"/>
                <a:gd name="connsiteY829" fmla="*/ 9617 h 10000"/>
                <a:gd name="connsiteX830" fmla="*/ 843 w 10000"/>
                <a:gd name="connsiteY830" fmla="*/ 9624 h 10000"/>
                <a:gd name="connsiteX831" fmla="*/ 884 w 10000"/>
                <a:gd name="connsiteY831" fmla="*/ 9628 h 10000"/>
                <a:gd name="connsiteX832" fmla="*/ 902 w 10000"/>
                <a:gd name="connsiteY832" fmla="*/ 9628 h 10000"/>
                <a:gd name="connsiteX833" fmla="*/ 914 w 10000"/>
                <a:gd name="connsiteY833" fmla="*/ 9631 h 10000"/>
                <a:gd name="connsiteX834" fmla="*/ 932 w 10000"/>
                <a:gd name="connsiteY834" fmla="*/ 9638 h 10000"/>
                <a:gd name="connsiteX835" fmla="*/ 942 w 10000"/>
                <a:gd name="connsiteY835" fmla="*/ 9642 h 10000"/>
                <a:gd name="connsiteX836" fmla="*/ 967 w 10000"/>
                <a:gd name="connsiteY836" fmla="*/ 9652 h 10000"/>
                <a:gd name="connsiteX837" fmla="*/ 987 w 10000"/>
                <a:gd name="connsiteY837" fmla="*/ 9668 h 10000"/>
                <a:gd name="connsiteX838" fmla="*/ 1005 w 10000"/>
                <a:gd name="connsiteY838" fmla="*/ 9682 h 10000"/>
                <a:gd name="connsiteX839" fmla="*/ 1025 w 10000"/>
                <a:gd name="connsiteY839" fmla="*/ 9698 h 10000"/>
                <a:gd name="connsiteX840" fmla="*/ 1045 w 10000"/>
                <a:gd name="connsiteY840" fmla="*/ 9712 h 10000"/>
                <a:gd name="connsiteX841" fmla="*/ 1073 w 10000"/>
                <a:gd name="connsiteY841" fmla="*/ 9724 h 10000"/>
                <a:gd name="connsiteX842" fmla="*/ 1098 w 10000"/>
                <a:gd name="connsiteY842" fmla="*/ 9738 h 10000"/>
                <a:gd name="connsiteX843" fmla="*/ 1121 w 10000"/>
                <a:gd name="connsiteY843" fmla="*/ 9750 h 10000"/>
                <a:gd name="connsiteX844" fmla="*/ 1141 w 10000"/>
                <a:gd name="connsiteY844" fmla="*/ 9762 h 10000"/>
                <a:gd name="connsiteX845" fmla="*/ 1159 w 10000"/>
                <a:gd name="connsiteY845" fmla="*/ 9776 h 10000"/>
                <a:gd name="connsiteX846" fmla="*/ 1172 w 10000"/>
                <a:gd name="connsiteY846" fmla="*/ 9787 h 10000"/>
                <a:gd name="connsiteX847" fmla="*/ 1182 w 10000"/>
                <a:gd name="connsiteY847" fmla="*/ 9804 h 10000"/>
                <a:gd name="connsiteX848" fmla="*/ 1194 w 10000"/>
                <a:gd name="connsiteY848" fmla="*/ 9818 h 10000"/>
                <a:gd name="connsiteX849" fmla="*/ 1202 w 10000"/>
                <a:gd name="connsiteY849" fmla="*/ 9834 h 10000"/>
                <a:gd name="connsiteX850" fmla="*/ 1212 w 10000"/>
                <a:gd name="connsiteY850" fmla="*/ 9869 h 10000"/>
                <a:gd name="connsiteX851" fmla="*/ 1220 w 10000"/>
                <a:gd name="connsiteY851" fmla="*/ 9906 h 10000"/>
                <a:gd name="connsiteX852" fmla="*/ 1230 w 10000"/>
                <a:gd name="connsiteY852" fmla="*/ 9951 h 10000"/>
                <a:gd name="connsiteX853" fmla="*/ 1237 w 10000"/>
                <a:gd name="connsiteY853" fmla="*/ 10000 h 10000"/>
                <a:gd name="connsiteX854" fmla="*/ 1237 w 10000"/>
                <a:gd name="connsiteY85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36 w 10000"/>
                <a:gd name="connsiteY729" fmla="*/ 8291 h 10000"/>
                <a:gd name="connsiteX730" fmla="*/ 2124 w 10000"/>
                <a:gd name="connsiteY730" fmla="*/ 8319 h 10000"/>
                <a:gd name="connsiteX731" fmla="*/ 2109 w 10000"/>
                <a:gd name="connsiteY731" fmla="*/ 8345 h 10000"/>
                <a:gd name="connsiteX732" fmla="*/ 2098 w 10000"/>
                <a:gd name="connsiteY732" fmla="*/ 8354 h 10000"/>
                <a:gd name="connsiteX733" fmla="*/ 2088 w 10000"/>
                <a:gd name="connsiteY733" fmla="*/ 8364 h 10000"/>
                <a:gd name="connsiteX734" fmla="*/ 1990 w 10000"/>
                <a:gd name="connsiteY734" fmla="*/ 8422 h 10000"/>
                <a:gd name="connsiteX735" fmla="*/ 1904 w 10000"/>
                <a:gd name="connsiteY735" fmla="*/ 8481 h 10000"/>
                <a:gd name="connsiteX736" fmla="*/ 1856 w 10000"/>
                <a:gd name="connsiteY736" fmla="*/ 8506 h 10000"/>
                <a:gd name="connsiteX737" fmla="*/ 1816 w 10000"/>
                <a:gd name="connsiteY737" fmla="*/ 8527 h 10000"/>
                <a:gd name="connsiteX738" fmla="*/ 1793 w 10000"/>
                <a:gd name="connsiteY738" fmla="*/ 8539 h 10000"/>
                <a:gd name="connsiteX739" fmla="*/ 1775 w 10000"/>
                <a:gd name="connsiteY739" fmla="*/ 8546 h 10000"/>
                <a:gd name="connsiteX740" fmla="*/ 1758 w 10000"/>
                <a:gd name="connsiteY740" fmla="*/ 8548 h 10000"/>
                <a:gd name="connsiteX741" fmla="*/ 1742 w 10000"/>
                <a:gd name="connsiteY741" fmla="*/ 8551 h 10000"/>
                <a:gd name="connsiteX742" fmla="*/ 1727 w 10000"/>
                <a:gd name="connsiteY742" fmla="*/ 8537 h 10000"/>
                <a:gd name="connsiteX743" fmla="*/ 1717 w 10000"/>
                <a:gd name="connsiteY743" fmla="*/ 8518 h 10000"/>
                <a:gd name="connsiteX744" fmla="*/ 1684 w 10000"/>
                <a:gd name="connsiteY744" fmla="*/ 8429 h 10000"/>
                <a:gd name="connsiteX745" fmla="*/ 1525 w 10000"/>
                <a:gd name="connsiteY745" fmla="*/ 8186 h 10000"/>
                <a:gd name="connsiteX746" fmla="*/ 1500 w 10000"/>
                <a:gd name="connsiteY746" fmla="*/ 8191 h 10000"/>
                <a:gd name="connsiteX747" fmla="*/ 1472 w 10000"/>
                <a:gd name="connsiteY747" fmla="*/ 8198 h 10000"/>
                <a:gd name="connsiteX748" fmla="*/ 1434 w 10000"/>
                <a:gd name="connsiteY748" fmla="*/ 8223 h 10000"/>
                <a:gd name="connsiteX749" fmla="*/ 1149 w 10000"/>
                <a:gd name="connsiteY749" fmla="*/ 8256 h 10000"/>
                <a:gd name="connsiteX750" fmla="*/ 1139 w 10000"/>
                <a:gd name="connsiteY750" fmla="*/ 8249 h 10000"/>
                <a:gd name="connsiteX751" fmla="*/ 1126 w 10000"/>
                <a:gd name="connsiteY751" fmla="*/ 8240 h 10000"/>
                <a:gd name="connsiteX752" fmla="*/ 1114 w 10000"/>
                <a:gd name="connsiteY752" fmla="*/ 8240 h 10000"/>
                <a:gd name="connsiteX753" fmla="*/ 1091 w 10000"/>
                <a:gd name="connsiteY753" fmla="*/ 8242 h 10000"/>
                <a:gd name="connsiteX754" fmla="*/ 1071 w 10000"/>
                <a:gd name="connsiteY754" fmla="*/ 8252 h 10000"/>
                <a:gd name="connsiteX755" fmla="*/ 1048 w 10000"/>
                <a:gd name="connsiteY755" fmla="*/ 8261 h 10000"/>
                <a:gd name="connsiteX756" fmla="*/ 1030 w 10000"/>
                <a:gd name="connsiteY756" fmla="*/ 8273 h 10000"/>
                <a:gd name="connsiteX757" fmla="*/ 1010 w 10000"/>
                <a:gd name="connsiteY757" fmla="*/ 8287 h 10000"/>
                <a:gd name="connsiteX758" fmla="*/ 995 w 10000"/>
                <a:gd name="connsiteY758" fmla="*/ 8303 h 10000"/>
                <a:gd name="connsiteX759" fmla="*/ 975 w 10000"/>
                <a:gd name="connsiteY759" fmla="*/ 8322 h 10000"/>
                <a:gd name="connsiteX760" fmla="*/ 960 w 10000"/>
                <a:gd name="connsiteY760" fmla="*/ 8343 h 10000"/>
                <a:gd name="connsiteX761" fmla="*/ 927 w 10000"/>
                <a:gd name="connsiteY761" fmla="*/ 8380 h 10000"/>
                <a:gd name="connsiteX762" fmla="*/ 891 w 10000"/>
                <a:gd name="connsiteY762" fmla="*/ 8417 h 10000"/>
                <a:gd name="connsiteX763" fmla="*/ 874 w 10000"/>
                <a:gd name="connsiteY763" fmla="*/ 8436 h 10000"/>
                <a:gd name="connsiteX764" fmla="*/ 859 w 10000"/>
                <a:gd name="connsiteY764" fmla="*/ 8450 h 10000"/>
                <a:gd name="connsiteX765" fmla="*/ 838 w 10000"/>
                <a:gd name="connsiteY765" fmla="*/ 8462 h 10000"/>
                <a:gd name="connsiteX766" fmla="*/ 821 w 10000"/>
                <a:gd name="connsiteY766" fmla="*/ 8476 h 10000"/>
                <a:gd name="connsiteX767" fmla="*/ 742 w 10000"/>
                <a:gd name="connsiteY767" fmla="*/ 8562 h 10000"/>
                <a:gd name="connsiteX768" fmla="*/ 672 w 10000"/>
                <a:gd name="connsiteY768" fmla="*/ 8644 h 10000"/>
                <a:gd name="connsiteX769" fmla="*/ 639 w 10000"/>
                <a:gd name="connsiteY769" fmla="*/ 8684 h 10000"/>
                <a:gd name="connsiteX770" fmla="*/ 609 w 10000"/>
                <a:gd name="connsiteY770" fmla="*/ 8731 h 10000"/>
                <a:gd name="connsiteX771" fmla="*/ 583 w 10000"/>
                <a:gd name="connsiteY771" fmla="*/ 8777 h 10000"/>
                <a:gd name="connsiteX772" fmla="*/ 556 w 10000"/>
                <a:gd name="connsiteY772" fmla="*/ 8831 h 10000"/>
                <a:gd name="connsiteX773" fmla="*/ 545 w 10000"/>
                <a:gd name="connsiteY773" fmla="*/ 8852 h 10000"/>
                <a:gd name="connsiteX774" fmla="*/ 525 w 10000"/>
                <a:gd name="connsiteY774" fmla="*/ 8885 h 10000"/>
                <a:gd name="connsiteX775" fmla="*/ 503 w 10000"/>
                <a:gd name="connsiteY775" fmla="*/ 8925 h 10000"/>
                <a:gd name="connsiteX776" fmla="*/ 480 w 10000"/>
                <a:gd name="connsiteY776" fmla="*/ 8962 h 10000"/>
                <a:gd name="connsiteX777" fmla="*/ 465 w 10000"/>
                <a:gd name="connsiteY777" fmla="*/ 8981 h 10000"/>
                <a:gd name="connsiteX778" fmla="*/ 455 w 10000"/>
                <a:gd name="connsiteY778" fmla="*/ 8993 h 10000"/>
                <a:gd name="connsiteX779" fmla="*/ 444 w 10000"/>
                <a:gd name="connsiteY779" fmla="*/ 9000 h 10000"/>
                <a:gd name="connsiteX780" fmla="*/ 434 w 10000"/>
                <a:gd name="connsiteY780" fmla="*/ 9007 h 10000"/>
                <a:gd name="connsiteX781" fmla="*/ 432 w 10000"/>
                <a:gd name="connsiteY781" fmla="*/ 9007 h 10000"/>
                <a:gd name="connsiteX782" fmla="*/ 429 w 10000"/>
                <a:gd name="connsiteY782" fmla="*/ 9004 h 10000"/>
                <a:gd name="connsiteX783" fmla="*/ 427 w 10000"/>
                <a:gd name="connsiteY783" fmla="*/ 8997 h 10000"/>
                <a:gd name="connsiteX784" fmla="*/ 427 w 10000"/>
                <a:gd name="connsiteY784" fmla="*/ 8993 h 10000"/>
                <a:gd name="connsiteX785" fmla="*/ 424 w 10000"/>
                <a:gd name="connsiteY785" fmla="*/ 8976 h 10000"/>
                <a:gd name="connsiteX786" fmla="*/ 427 w 10000"/>
                <a:gd name="connsiteY786" fmla="*/ 8948 h 10000"/>
                <a:gd name="connsiteX787" fmla="*/ 437 w 10000"/>
                <a:gd name="connsiteY787" fmla="*/ 8913 h 10000"/>
                <a:gd name="connsiteX788" fmla="*/ 455 w 10000"/>
                <a:gd name="connsiteY788" fmla="*/ 8859 h 10000"/>
                <a:gd name="connsiteX789" fmla="*/ 462 w 10000"/>
                <a:gd name="connsiteY789" fmla="*/ 8834 h 10000"/>
                <a:gd name="connsiteX790" fmla="*/ 470 w 10000"/>
                <a:gd name="connsiteY790" fmla="*/ 8810 h 10000"/>
                <a:gd name="connsiteX791" fmla="*/ 472 w 10000"/>
                <a:gd name="connsiteY791" fmla="*/ 8794 h 10000"/>
                <a:gd name="connsiteX792" fmla="*/ 472 w 10000"/>
                <a:gd name="connsiteY792" fmla="*/ 8780 h 10000"/>
                <a:gd name="connsiteX793" fmla="*/ 462 w 10000"/>
                <a:gd name="connsiteY793" fmla="*/ 8784 h 10000"/>
                <a:gd name="connsiteX794" fmla="*/ 452 w 10000"/>
                <a:gd name="connsiteY794" fmla="*/ 8787 h 10000"/>
                <a:gd name="connsiteX795" fmla="*/ 437 w 10000"/>
                <a:gd name="connsiteY795" fmla="*/ 8794 h 10000"/>
                <a:gd name="connsiteX796" fmla="*/ 424 w 10000"/>
                <a:gd name="connsiteY796" fmla="*/ 8803 h 10000"/>
                <a:gd name="connsiteX797" fmla="*/ 394 w 10000"/>
                <a:gd name="connsiteY797" fmla="*/ 8829 h 10000"/>
                <a:gd name="connsiteX798" fmla="*/ 364 w 10000"/>
                <a:gd name="connsiteY798" fmla="*/ 8859 h 10000"/>
                <a:gd name="connsiteX799" fmla="*/ 311 w 10000"/>
                <a:gd name="connsiteY799" fmla="*/ 8922 h 10000"/>
                <a:gd name="connsiteX800" fmla="*/ 268 w 10000"/>
                <a:gd name="connsiteY800" fmla="*/ 8964 h 10000"/>
                <a:gd name="connsiteX801" fmla="*/ 205 w 10000"/>
                <a:gd name="connsiteY801" fmla="*/ 9016 h 10000"/>
                <a:gd name="connsiteX802" fmla="*/ 146 w 10000"/>
                <a:gd name="connsiteY802" fmla="*/ 9053 h 10000"/>
                <a:gd name="connsiteX803" fmla="*/ 139 w 10000"/>
                <a:gd name="connsiteY803" fmla="*/ 9063 h 10000"/>
                <a:gd name="connsiteX804" fmla="*/ 129 w 10000"/>
                <a:gd name="connsiteY804" fmla="*/ 9077 h 10000"/>
                <a:gd name="connsiteX805" fmla="*/ 126 w 10000"/>
                <a:gd name="connsiteY805" fmla="*/ 9086 h 10000"/>
                <a:gd name="connsiteX806" fmla="*/ 126 w 10000"/>
                <a:gd name="connsiteY806" fmla="*/ 9102 h 10000"/>
                <a:gd name="connsiteX807" fmla="*/ 129 w 10000"/>
                <a:gd name="connsiteY807" fmla="*/ 9116 h 10000"/>
                <a:gd name="connsiteX808" fmla="*/ 139 w 10000"/>
                <a:gd name="connsiteY808" fmla="*/ 9135 h 10000"/>
                <a:gd name="connsiteX809" fmla="*/ 149 w 10000"/>
                <a:gd name="connsiteY809" fmla="*/ 9151 h 10000"/>
                <a:gd name="connsiteX810" fmla="*/ 164 w 10000"/>
                <a:gd name="connsiteY810" fmla="*/ 9175 h 10000"/>
                <a:gd name="connsiteX811" fmla="*/ 184 w 10000"/>
                <a:gd name="connsiteY811" fmla="*/ 9196 h 10000"/>
                <a:gd name="connsiteX812" fmla="*/ 207 w 10000"/>
                <a:gd name="connsiteY812" fmla="*/ 9215 h 10000"/>
                <a:gd name="connsiteX813" fmla="*/ 227 w 10000"/>
                <a:gd name="connsiteY813" fmla="*/ 9233 h 10000"/>
                <a:gd name="connsiteX814" fmla="*/ 253 w 10000"/>
                <a:gd name="connsiteY814" fmla="*/ 9250 h 10000"/>
                <a:gd name="connsiteX815" fmla="*/ 303 w 10000"/>
                <a:gd name="connsiteY815" fmla="*/ 9282 h 10000"/>
                <a:gd name="connsiteX816" fmla="*/ 351 w 10000"/>
                <a:gd name="connsiteY816" fmla="*/ 9315 h 10000"/>
                <a:gd name="connsiteX817" fmla="*/ 414 w 10000"/>
                <a:gd name="connsiteY817" fmla="*/ 9364 h 10000"/>
                <a:gd name="connsiteX818" fmla="*/ 480 w 10000"/>
                <a:gd name="connsiteY818" fmla="*/ 9416 h 10000"/>
                <a:gd name="connsiteX819" fmla="*/ 513 w 10000"/>
                <a:gd name="connsiteY819" fmla="*/ 9437 h 10000"/>
                <a:gd name="connsiteX820" fmla="*/ 548 w 10000"/>
                <a:gd name="connsiteY820" fmla="*/ 9462 h 10000"/>
                <a:gd name="connsiteX821" fmla="*/ 581 w 10000"/>
                <a:gd name="connsiteY821" fmla="*/ 9483 h 10000"/>
                <a:gd name="connsiteX822" fmla="*/ 614 w 10000"/>
                <a:gd name="connsiteY822" fmla="*/ 9502 h 10000"/>
                <a:gd name="connsiteX823" fmla="*/ 641 w 10000"/>
                <a:gd name="connsiteY823" fmla="*/ 9525 h 10000"/>
                <a:gd name="connsiteX824" fmla="*/ 672 w 10000"/>
                <a:gd name="connsiteY824" fmla="*/ 9549 h 10000"/>
                <a:gd name="connsiteX825" fmla="*/ 702 w 10000"/>
                <a:gd name="connsiteY825" fmla="*/ 9568 h 10000"/>
                <a:gd name="connsiteX826" fmla="*/ 737 w 10000"/>
                <a:gd name="connsiteY826" fmla="*/ 9589 h 10000"/>
                <a:gd name="connsiteX827" fmla="*/ 770 w 10000"/>
                <a:gd name="connsiteY827" fmla="*/ 9605 h 10000"/>
                <a:gd name="connsiteX828" fmla="*/ 808 w 10000"/>
                <a:gd name="connsiteY828" fmla="*/ 9617 h 10000"/>
                <a:gd name="connsiteX829" fmla="*/ 843 w 10000"/>
                <a:gd name="connsiteY829" fmla="*/ 9624 h 10000"/>
                <a:gd name="connsiteX830" fmla="*/ 884 w 10000"/>
                <a:gd name="connsiteY830" fmla="*/ 9628 h 10000"/>
                <a:gd name="connsiteX831" fmla="*/ 902 w 10000"/>
                <a:gd name="connsiteY831" fmla="*/ 9628 h 10000"/>
                <a:gd name="connsiteX832" fmla="*/ 914 w 10000"/>
                <a:gd name="connsiteY832" fmla="*/ 9631 h 10000"/>
                <a:gd name="connsiteX833" fmla="*/ 932 w 10000"/>
                <a:gd name="connsiteY833" fmla="*/ 9638 h 10000"/>
                <a:gd name="connsiteX834" fmla="*/ 942 w 10000"/>
                <a:gd name="connsiteY834" fmla="*/ 9642 h 10000"/>
                <a:gd name="connsiteX835" fmla="*/ 967 w 10000"/>
                <a:gd name="connsiteY835" fmla="*/ 9652 h 10000"/>
                <a:gd name="connsiteX836" fmla="*/ 987 w 10000"/>
                <a:gd name="connsiteY836" fmla="*/ 9668 h 10000"/>
                <a:gd name="connsiteX837" fmla="*/ 1005 w 10000"/>
                <a:gd name="connsiteY837" fmla="*/ 9682 h 10000"/>
                <a:gd name="connsiteX838" fmla="*/ 1025 w 10000"/>
                <a:gd name="connsiteY838" fmla="*/ 9698 h 10000"/>
                <a:gd name="connsiteX839" fmla="*/ 1045 w 10000"/>
                <a:gd name="connsiteY839" fmla="*/ 9712 h 10000"/>
                <a:gd name="connsiteX840" fmla="*/ 1073 w 10000"/>
                <a:gd name="connsiteY840" fmla="*/ 9724 h 10000"/>
                <a:gd name="connsiteX841" fmla="*/ 1098 w 10000"/>
                <a:gd name="connsiteY841" fmla="*/ 9738 h 10000"/>
                <a:gd name="connsiteX842" fmla="*/ 1121 w 10000"/>
                <a:gd name="connsiteY842" fmla="*/ 9750 h 10000"/>
                <a:gd name="connsiteX843" fmla="*/ 1141 w 10000"/>
                <a:gd name="connsiteY843" fmla="*/ 9762 h 10000"/>
                <a:gd name="connsiteX844" fmla="*/ 1159 w 10000"/>
                <a:gd name="connsiteY844" fmla="*/ 9776 h 10000"/>
                <a:gd name="connsiteX845" fmla="*/ 1172 w 10000"/>
                <a:gd name="connsiteY845" fmla="*/ 9787 h 10000"/>
                <a:gd name="connsiteX846" fmla="*/ 1182 w 10000"/>
                <a:gd name="connsiteY846" fmla="*/ 9804 h 10000"/>
                <a:gd name="connsiteX847" fmla="*/ 1194 w 10000"/>
                <a:gd name="connsiteY847" fmla="*/ 9818 h 10000"/>
                <a:gd name="connsiteX848" fmla="*/ 1202 w 10000"/>
                <a:gd name="connsiteY848" fmla="*/ 9834 h 10000"/>
                <a:gd name="connsiteX849" fmla="*/ 1212 w 10000"/>
                <a:gd name="connsiteY849" fmla="*/ 9869 h 10000"/>
                <a:gd name="connsiteX850" fmla="*/ 1220 w 10000"/>
                <a:gd name="connsiteY850" fmla="*/ 9906 h 10000"/>
                <a:gd name="connsiteX851" fmla="*/ 1230 w 10000"/>
                <a:gd name="connsiteY851" fmla="*/ 9951 h 10000"/>
                <a:gd name="connsiteX852" fmla="*/ 1237 w 10000"/>
                <a:gd name="connsiteY852" fmla="*/ 10000 h 10000"/>
                <a:gd name="connsiteX853" fmla="*/ 1237 w 10000"/>
                <a:gd name="connsiteY85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36 w 10000"/>
                <a:gd name="connsiteY729" fmla="*/ 8291 h 10000"/>
                <a:gd name="connsiteX730" fmla="*/ 2124 w 10000"/>
                <a:gd name="connsiteY730" fmla="*/ 8319 h 10000"/>
                <a:gd name="connsiteX731" fmla="*/ 2109 w 10000"/>
                <a:gd name="connsiteY731" fmla="*/ 8345 h 10000"/>
                <a:gd name="connsiteX732" fmla="*/ 2098 w 10000"/>
                <a:gd name="connsiteY732" fmla="*/ 8354 h 10000"/>
                <a:gd name="connsiteX733" fmla="*/ 1990 w 10000"/>
                <a:gd name="connsiteY733" fmla="*/ 8422 h 10000"/>
                <a:gd name="connsiteX734" fmla="*/ 1904 w 10000"/>
                <a:gd name="connsiteY734" fmla="*/ 8481 h 10000"/>
                <a:gd name="connsiteX735" fmla="*/ 1856 w 10000"/>
                <a:gd name="connsiteY735" fmla="*/ 8506 h 10000"/>
                <a:gd name="connsiteX736" fmla="*/ 1816 w 10000"/>
                <a:gd name="connsiteY736" fmla="*/ 8527 h 10000"/>
                <a:gd name="connsiteX737" fmla="*/ 1793 w 10000"/>
                <a:gd name="connsiteY737" fmla="*/ 8539 h 10000"/>
                <a:gd name="connsiteX738" fmla="*/ 1775 w 10000"/>
                <a:gd name="connsiteY738" fmla="*/ 8546 h 10000"/>
                <a:gd name="connsiteX739" fmla="*/ 1758 w 10000"/>
                <a:gd name="connsiteY739" fmla="*/ 8548 h 10000"/>
                <a:gd name="connsiteX740" fmla="*/ 1742 w 10000"/>
                <a:gd name="connsiteY740" fmla="*/ 8551 h 10000"/>
                <a:gd name="connsiteX741" fmla="*/ 1727 w 10000"/>
                <a:gd name="connsiteY741" fmla="*/ 8537 h 10000"/>
                <a:gd name="connsiteX742" fmla="*/ 1717 w 10000"/>
                <a:gd name="connsiteY742" fmla="*/ 8518 h 10000"/>
                <a:gd name="connsiteX743" fmla="*/ 1684 w 10000"/>
                <a:gd name="connsiteY743" fmla="*/ 8429 h 10000"/>
                <a:gd name="connsiteX744" fmla="*/ 1525 w 10000"/>
                <a:gd name="connsiteY744" fmla="*/ 8186 h 10000"/>
                <a:gd name="connsiteX745" fmla="*/ 1500 w 10000"/>
                <a:gd name="connsiteY745" fmla="*/ 8191 h 10000"/>
                <a:gd name="connsiteX746" fmla="*/ 1472 w 10000"/>
                <a:gd name="connsiteY746" fmla="*/ 8198 h 10000"/>
                <a:gd name="connsiteX747" fmla="*/ 1434 w 10000"/>
                <a:gd name="connsiteY747" fmla="*/ 8223 h 10000"/>
                <a:gd name="connsiteX748" fmla="*/ 1149 w 10000"/>
                <a:gd name="connsiteY748" fmla="*/ 8256 h 10000"/>
                <a:gd name="connsiteX749" fmla="*/ 1139 w 10000"/>
                <a:gd name="connsiteY749" fmla="*/ 8249 h 10000"/>
                <a:gd name="connsiteX750" fmla="*/ 1126 w 10000"/>
                <a:gd name="connsiteY750" fmla="*/ 8240 h 10000"/>
                <a:gd name="connsiteX751" fmla="*/ 1114 w 10000"/>
                <a:gd name="connsiteY751" fmla="*/ 8240 h 10000"/>
                <a:gd name="connsiteX752" fmla="*/ 1091 w 10000"/>
                <a:gd name="connsiteY752" fmla="*/ 8242 h 10000"/>
                <a:gd name="connsiteX753" fmla="*/ 1071 w 10000"/>
                <a:gd name="connsiteY753" fmla="*/ 8252 h 10000"/>
                <a:gd name="connsiteX754" fmla="*/ 1048 w 10000"/>
                <a:gd name="connsiteY754" fmla="*/ 8261 h 10000"/>
                <a:gd name="connsiteX755" fmla="*/ 1030 w 10000"/>
                <a:gd name="connsiteY755" fmla="*/ 8273 h 10000"/>
                <a:gd name="connsiteX756" fmla="*/ 1010 w 10000"/>
                <a:gd name="connsiteY756" fmla="*/ 8287 h 10000"/>
                <a:gd name="connsiteX757" fmla="*/ 995 w 10000"/>
                <a:gd name="connsiteY757" fmla="*/ 8303 h 10000"/>
                <a:gd name="connsiteX758" fmla="*/ 975 w 10000"/>
                <a:gd name="connsiteY758" fmla="*/ 8322 h 10000"/>
                <a:gd name="connsiteX759" fmla="*/ 960 w 10000"/>
                <a:gd name="connsiteY759" fmla="*/ 8343 h 10000"/>
                <a:gd name="connsiteX760" fmla="*/ 927 w 10000"/>
                <a:gd name="connsiteY760" fmla="*/ 8380 h 10000"/>
                <a:gd name="connsiteX761" fmla="*/ 891 w 10000"/>
                <a:gd name="connsiteY761" fmla="*/ 8417 h 10000"/>
                <a:gd name="connsiteX762" fmla="*/ 874 w 10000"/>
                <a:gd name="connsiteY762" fmla="*/ 8436 h 10000"/>
                <a:gd name="connsiteX763" fmla="*/ 859 w 10000"/>
                <a:gd name="connsiteY763" fmla="*/ 8450 h 10000"/>
                <a:gd name="connsiteX764" fmla="*/ 838 w 10000"/>
                <a:gd name="connsiteY764" fmla="*/ 8462 h 10000"/>
                <a:gd name="connsiteX765" fmla="*/ 821 w 10000"/>
                <a:gd name="connsiteY765" fmla="*/ 8476 h 10000"/>
                <a:gd name="connsiteX766" fmla="*/ 742 w 10000"/>
                <a:gd name="connsiteY766" fmla="*/ 8562 h 10000"/>
                <a:gd name="connsiteX767" fmla="*/ 672 w 10000"/>
                <a:gd name="connsiteY767" fmla="*/ 8644 h 10000"/>
                <a:gd name="connsiteX768" fmla="*/ 639 w 10000"/>
                <a:gd name="connsiteY768" fmla="*/ 8684 h 10000"/>
                <a:gd name="connsiteX769" fmla="*/ 609 w 10000"/>
                <a:gd name="connsiteY769" fmla="*/ 8731 h 10000"/>
                <a:gd name="connsiteX770" fmla="*/ 583 w 10000"/>
                <a:gd name="connsiteY770" fmla="*/ 8777 h 10000"/>
                <a:gd name="connsiteX771" fmla="*/ 556 w 10000"/>
                <a:gd name="connsiteY771" fmla="*/ 8831 h 10000"/>
                <a:gd name="connsiteX772" fmla="*/ 545 w 10000"/>
                <a:gd name="connsiteY772" fmla="*/ 8852 h 10000"/>
                <a:gd name="connsiteX773" fmla="*/ 525 w 10000"/>
                <a:gd name="connsiteY773" fmla="*/ 8885 h 10000"/>
                <a:gd name="connsiteX774" fmla="*/ 503 w 10000"/>
                <a:gd name="connsiteY774" fmla="*/ 8925 h 10000"/>
                <a:gd name="connsiteX775" fmla="*/ 480 w 10000"/>
                <a:gd name="connsiteY775" fmla="*/ 8962 h 10000"/>
                <a:gd name="connsiteX776" fmla="*/ 465 w 10000"/>
                <a:gd name="connsiteY776" fmla="*/ 8981 h 10000"/>
                <a:gd name="connsiteX777" fmla="*/ 455 w 10000"/>
                <a:gd name="connsiteY777" fmla="*/ 8993 h 10000"/>
                <a:gd name="connsiteX778" fmla="*/ 444 w 10000"/>
                <a:gd name="connsiteY778" fmla="*/ 9000 h 10000"/>
                <a:gd name="connsiteX779" fmla="*/ 434 w 10000"/>
                <a:gd name="connsiteY779" fmla="*/ 9007 h 10000"/>
                <a:gd name="connsiteX780" fmla="*/ 432 w 10000"/>
                <a:gd name="connsiteY780" fmla="*/ 9007 h 10000"/>
                <a:gd name="connsiteX781" fmla="*/ 429 w 10000"/>
                <a:gd name="connsiteY781" fmla="*/ 9004 h 10000"/>
                <a:gd name="connsiteX782" fmla="*/ 427 w 10000"/>
                <a:gd name="connsiteY782" fmla="*/ 8997 h 10000"/>
                <a:gd name="connsiteX783" fmla="*/ 427 w 10000"/>
                <a:gd name="connsiteY783" fmla="*/ 8993 h 10000"/>
                <a:gd name="connsiteX784" fmla="*/ 424 w 10000"/>
                <a:gd name="connsiteY784" fmla="*/ 8976 h 10000"/>
                <a:gd name="connsiteX785" fmla="*/ 427 w 10000"/>
                <a:gd name="connsiteY785" fmla="*/ 8948 h 10000"/>
                <a:gd name="connsiteX786" fmla="*/ 437 w 10000"/>
                <a:gd name="connsiteY786" fmla="*/ 8913 h 10000"/>
                <a:gd name="connsiteX787" fmla="*/ 455 w 10000"/>
                <a:gd name="connsiteY787" fmla="*/ 8859 h 10000"/>
                <a:gd name="connsiteX788" fmla="*/ 462 w 10000"/>
                <a:gd name="connsiteY788" fmla="*/ 8834 h 10000"/>
                <a:gd name="connsiteX789" fmla="*/ 470 w 10000"/>
                <a:gd name="connsiteY789" fmla="*/ 8810 h 10000"/>
                <a:gd name="connsiteX790" fmla="*/ 472 w 10000"/>
                <a:gd name="connsiteY790" fmla="*/ 8794 h 10000"/>
                <a:gd name="connsiteX791" fmla="*/ 472 w 10000"/>
                <a:gd name="connsiteY791" fmla="*/ 8780 h 10000"/>
                <a:gd name="connsiteX792" fmla="*/ 462 w 10000"/>
                <a:gd name="connsiteY792" fmla="*/ 8784 h 10000"/>
                <a:gd name="connsiteX793" fmla="*/ 452 w 10000"/>
                <a:gd name="connsiteY793" fmla="*/ 8787 h 10000"/>
                <a:gd name="connsiteX794" fmla="*/ 437 w 10000"/>
                <a:gd name="connsiteY794" fmla="*/ 8794 h 10000"/>
                <a:gd name="connsiteX795" fmla="*/ 424 w 10000"/>
                <a:gd name="connsiteY795" fmla="*/ 8803 h 10000"/>
                <a:gd name="connsiteX796" fmla="*/ 394 w 10000"/>
                <a:gd name="connsiteY796" fmla="*/ 8829 h 10000"/>
                <a:gd name="connsiteX797" fmla="*/ 364 w 10000"/>
                <a:gd name="connsiteY797" fmla="*/ 8859 h 10000"/>
                <a:gd name="connsiteX798" fmla="*/ 311 w 10000"/>
                <a:gd name="connsiteY798" fmla="*/ 8922 h 10000"/>
                <a:gd name="connsiteX799" fmla="*/ 268 w 10000"/>
                <a:gd name="connsiteY799" fmla="*/ 8964 h 10000"/>
                <a:gd name="connsiteX800" fmla="*/ 205 w 10000"/>
                <a:gd name="connsiteY800" fmla="*/ 9016 h 10000"/>
                <a:gd name="connsiteX801" fmla="*/ 146 w 10000"/>
                <a:gd name="connsiteY801" fmla="*/ 9053 h 10000"/>
                <a:gd name="connsiteX802" fmla="*/ 139 w 10000"/>
                <a:gd name="connsiteY802" fmla="*/ 9063 h 10000"/>
                <a:gd name="connsiteX803" fmla="*/ 129 w 10000"/>
                <a:gd name="connsiteY803" fmla="*/ 9077 h 10000"/>
                <a:gd name="connsiteX804" fmla="*/ 126 w 10000"/>
                <a:gd name="connsiteY804" fmla="*/ 9086 h 10000"/>
                <a:gd name="connsiteX805" fmla="*/ 126 w 10000"/>
                <a:gd name="connsiteY805" fmla="*/ 9102 h 10000"/>
                <a:gd name="connsiteX806" fmla="*/ 129 w 10000"/>
                <a:gd name="connsiteY806" fmla="*/ 9116 h 10000"/>
                <a:gd name="connsiteX807" fmla="*/ 139 w 10000"/>
                <a:gd name="connsiteY807" fmla="*/ 9135 h 10000"/>
                <a:gd name="connsiteX808" fmla="*/ 149 w 10000"/>
                <a:gd name="connsiteY808" fmla="*/ 9151 h 10000"/>
                <a:gd name="connsiteX809" fmla="*/ 164 w 10000"/>
                <a:gd name="connsiteY809" fmla="*/ 9175 h 10000"/>
                <a:gd name="connsiteX810" fmla="*/ 184 w 10000"/>
                <a:gd name="connsiteY810" fmla="*/ 9196 h 10000"/>
                <a:gd name="connsiteX811" fmla="*/ 207 w 10000"/>
                <a:gd name="connsiteY811" fmla="*/ 9215 h 10000"/>
                <a:gd name="connsiteX812" fmla="*/ 227 w 10000"/>
                <a:gd name="connsiteY812" fmla="*/ 9233 h 10000"/>
                <a:gd name="connsiteX813" fmla="*/ 253 w 10000"/>
                <a:gd name="connsiteY813" fmla="*/ 9250 h 10000"/>
                <a:gd name="connsiteX814" fmla="*/ 303 w 10000"/>
                <a:gd name="connsiteY814" fmla="*/ 9282 h 10000"/>
                <a:gd name="connsiteX815" fmla="*/ 351 w 10000"/>
                <a:gd name="connsiteY815" fmla="*/ 9315 h 10000"/>
                <a:gd name="connsiteX816" fmla="*/ 414 w 10000"/>
                <a:gd name="connsiteY816" fmla="*/ 9364 h 10000"/>
                <a:gd name="connsiteX817" fmla="*/ 480 w 10000"/>
                <a:gd name="connsiteY817" fmla="*/ 9416 h 10000"/>
                <a:gd name="connsiteX818" fmla="*/ 513 w 10000"/>
                <a:gd name="connsiteY818" fmla="*/ 9437 h 10000"/>
                <a:gd name="connsiteX819" fmla="*/ 548 w 10000"/>
                <a:gd name="connsiteY819" fmla="*/ 9462 h 10000"/>
                <a:gd name="connsiteX820" fmla="*/ 581 w 10000"/>
                <a:gd name="connsiteY820" fmla="*/ 9483 h 10000"/>
                <a:gd name="connsiteX821" fmla="*/ 614 w 10000"/>
                <a:gd name="connsiteY821" fmla="*/ 9502 h 10000"/>
                <a:gd name="connsiteX822" fmla="*/ 641 w 10000"/>
                <a:gd name="connsiteY822" fmla="*/ 9525 h 10000"/>
                <a:gd name="connsiteX823" fmla="*/ 672 w 10000"/>
                <a:gd name="connsiteY823" fmla="*/ 9549 h 10000"/>
                <a:gd name="connsiteX824" fmla="*/ 702 w 10000"/>
                <a:gd name="connsiteY824" fmla="*/ 9568 h 10000"/>
                <a:gd name="connsiteX825" fmla="*/ 737 w 10000"/>
                <a:gd name="connsiteY825" fmla="*/ 9589 h 10000"/>
                <a:gd name="connsiteX826" fmla="*/ 770 w 10000"/>
                <a:gd name="connsiteY826" fmla="*/ 9605 h 10000"/>
                <a:gd name="connsiteX827" fmla="*/ 808 w 10000"/>
                <a:gd name="connsiteY827" fmla="*/ 9617 h 10000"/>
                <a:gd name="connsiteX828" fmla="*/ 843 w 10000"/>
                <a:gd name="connsiteY828" fmla="*/ 9624 h 10000"/>
                <a:gd name="connsiteX829" fmla="*/ 884 w 10000"/>
                <a:gd name="connsiteY829" fmla="*/ 9628 h 10000"/>
                <a:gd name="connsiteX830" fmla="*/ 902 w 10000"/>
                <a:gd name="connsiteY830" fmla="*/ 9628 h 10000"/>
                <a:gd name="connsiteX831" fmla="*/ 914 w 10000"/>
                <a:gd name="connsiteY831" fmla="*/ 9631 h 10000"/>
                <a:gd name="connsiteX832" fmla="*/ 932 w 10000"/>
                <a:gd name="connsiteY832" fmla="*/ 9638 h 10000"/>
                <a:gd name="connsiteX833" fmla="*/ 942 w 10000"/>
                <a:gd name="connsiteY833" fmla="*/ 9642 h 10000"/>
                <a:gd name="connsiteX834" fmla="*/ 967 w 10000"/>
                <a:gd name="connsiteY834" fmla="*/ 9652 h 10000"/>
                <a:gd name="connsiteX835" fmla="*/ 987 w 10000"/>
                <a:gd name="connsiteY835" fmla="*/ 9668 h 10000"/>
                <a:gd name="connsiteX836" fmla="*/ 1005 w 10000"/>
                <a:gd name="connsiteY836" fmla="*/ 9682 h 10000"/>
                <a:gd name="connsiteX837" fmla="*/ 1025 w 10000"/>
                <a:gd name="connsiteY837" fmla="*/ 9698 h 10000"/>
                <a:gd name="connsiteX838" fmla="*/ 1045 w 10000"/>
                <a:gd name="connsiteY838" fmla="*/ 9712 h 10000"/>
                <a:gd name="connsiteX839" fmla="*/ 1073 w 10000"/>
                <a:gd name="connsiteY839" fmla="*/ 9724 h 10000"/>
                <a:gd name="connsiteX840" fmla="*/ 1098 w 10000"/>
                <a:gd name="connsiteY840" fmla="*/ 9738 h 10000"/>
                <a:gd name="connsiteX841" fmla="*/ 1121 w 10000"/>
                <a:gd name="connsiteY841" fmla="*/ 9750 h 10000"/>
                <a:gd name="connsiteX842" fmla="*/ 1141 w 10000"/>
                <a:gd name="connsiteY842" fmla="*/ 9762 h 10000"/>
                <a:gd name="connsiteX843" fmla="*/ 1159 w 10000"/>
                <a:gd name="connsiteY843" fmla="*/ 9776 h 10000"/>
                <a:gd name="connsiteX844" fmla="*/ 1172 w 10000"/>
                <a:gd name="connsiteY844" fmla="*/ 9787 h 10000"/>
                <a:gd name="connsiteX845" fmla="*/ 1182 w 10000"/>
                <a:gd name="connsiteY845" fmla="*/ 9804 h 10000"/>
                <a:gd name="connsiteX846" fmla="*/ 1194 w 10000"/>
                <a:gd name="connsiteY846" fmla="*/ 9818 h 10000"/>
                <a:gd name="connsiteX847" fmla="*/ 1202 w 10000"/>
                <a:gd name="connsiteY847" fmla="*/ 9834 h 10000"/>
                <a:gd name="connsiteX848" fmla="*/ 1212 w 10000"/>
                <a:gd name="connsiteY848" fmla="*/ 9869 h 10000"/>
                <a:gd name="connsiteX849" fmla="*/ 1220 w 10000"/>
                <a:gd name="connsiteY849" fmla="*/ 9906 h 10000"/>
                <a:gd name="connsiteX850" fmla="*/ 1230 w 10000"/>
                <a:gd name="connsiteY850" fmla="*/ 9951 h 10000"/>
                <a:gd name="connsiteX851" fmla="*/ 1237 w 10000"/>
                <a:gd name="connsiteY851" fmla="*/ 10000 h 10000"/>
                <a:gd name="connsiteX852" fmla="*/ 1237 w 10000"/>
                <a:gd name="connsiteY85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36 w 10000"/>
                <a:gd name="connsiteY729" fmla="*/ 8291 h 10000"/>
                <a:gd name="connsiteX730" fmla="*/ 2124 w 10000"/>
                <a:gd name="connsiteY730" fmla="*/ 8319 h 10000"/>
                <a:gd name="connsiteX731" fmla="*/ 2098 w 10000"/>
                <a:gd name="connsiteY731" fmla="*/ 8354 h 10000"/>
                <a:gd name="connsiteX732" fmla="*/ 1990 w 10000"/>
                <a:gd name="connsiteY732" fmla="*/ 8422 h 10000"/>
                <a:gd name="connsiteX733" fmla="*/ 1904 w 10000"/>
                <a:gd name="connsiteY733" fmla="*/ 8481 h 10000"/>
                <a:gd name="connsiteX734" fmla="*/ 1856 w 10000"/>
                <a:gd name="connsiteY734" fmla="*/ 8506 h 10000"/>
                <a:gd name="connsiteX735" fmla="*/ 1816 w 10000"/>
                <a:gd name="connsiteY735" fmla="*/ 8527 h 10000"/>
                <a:gd name="connsiteX736" fmla="*/ 1793 w 10000"/>
                <a:gd name="connsiteY736" fmla="*/ 8539 h 10000"/>
                <a:gd name="connsiteX737" fmla="*/ 1775 w 10000"/>
                <a:gd name="connsiteY737" fmla="*/ 8546 h 10000"/>
                <a:gd name="connsiteX738" fmla="*/ 1758 w 10000"/>
                <a:gd name="connsiteY738" fmla="*/ 8548 h 10000"/>
                <a:gd name="connsiteX739" fmla="*/ 1742 w 10000"/>
                <a:gd name="connsiteY739" fmla="*/ 8551 h 10000"/>
                <a:gd name="connsiteX740" fmla="*/ 1727 w 10000"/>
                <a:gd name="connsiteY740" fmla="*/ 8537 h 10000"/>
                <a:gd name="connsiteX741" fmla="*/ 1717 w 10000"/>
                <a:gd name="connsiteY741" fmla="*/ 8518 h 10000"/>
                <a:gd name="connsiteX742" fmla="*/ 1684 w 10000"/>
                <a:gd name="connsiteY742" fmla="*/ 8429 h 10000"/>
                <a:gd name="connsiteX743" fmla="*/ 1525 w 10000"/>
                <a:gd name="connsiteY743" fmla="*/ 8186 h 10000"/>
                <a:gd name="connsiteX744" fmla="*/ 1500 w 10000"/>
                <a:gd name="connsiteY744" fmla="*/ 8191 h 10000"/>
                <a:gd name="connsiteX745" fmla="*/ 1472 w 10000"/>
                <a:gd name="connsiteY745" fmla="*/ 8198 h 10000"/>
                <a:gd name="connsiteX746" fmla="*/ 1434 w 10000"/>
                <a:gd name="connsiteY746" fmla="*/ 8223 h 10000"/>
                <a:gd name="connsiteX747" fmla="*/ 1149 w 10000"/>
                <a:gd name="connsiteY747" fmla="*/ 8256 h 10000"/>
                <a:gd name="connsiteX748" fmla="*/ 1139 w 10000"/>
                <a:gd name="connsiteY748" fmla="*/ 8249 h 10000"/>
                <a:gd name="connsiteX749" fmla="*/ 1126 w 10000"/>
                <a:gd name="connsiteY749" fmla="*/ 8240 h 10000"/>
                <a:gd name="connsiteX750" fmla="*/ 1114 w 10000"/>
                <a:gd name="connsiteY750" fmla="*/ 8240 h 10000"/>
                <a:gd name="connsiteX751" fmla="*/ 1091 w 10000"/>
                <a:gd name="connsiteY751" fmla="*/ 8242 h 10000"/>
                <a:gd name="connsiteX752" fmla="*/ 1071 w 10000"/>
                <a:gd name="connsiteY752" fmla="*/ 8252 h 10000"/>
                <a:gd name="connsiteX753" fmla="*/ 1048 w 10000"/>
                <a:gd name="connsiteY753" fmla="*/ 8261 h 10000"/>
                <a:gd name="connsiteX754" fmla="*/ 1030 w 10000"/>
                <a:gd name="connsiteY754" fmla="*/ 8273 h 10000"/>
                <a:gd name="connsiteX755" fmla="*/ 1010 w 10000"/>
                <a:gd name="connsiteY755" fmla="*/ 8287 h 10000"/>
                <a:gd name="connsiteX756" fmla="*/ 995 w 10000"/>
                <a:gd name="connsiteY756" fmla="*/ 8303 h 10000"/>
                <a:gd name="connsiteX757" fmla="*/ 975 w 10000"/>
                <a:gd name="connsiteY757" fmla="*/ 8322 h 10000"/>
                <a:gd name="connsiteX758" fmla="*/ 960 w 10000"/>
                <a:gd name="connsiteY758" fmla="*/ 8343 h 10000"/>
                <a:gd name="connsiteX759" fmla="*/ 927 w 10000"/>
                <a:gd name="connsiteY759" fmla="*/ 8380 h 10000"/>
                <a:gd name="connsiteX760" fmla="*/ 891 w 10000"/>
                <a:gd name="connsiteY760" fmla="*/ 8417 h 10000"/>
                <a:gd name="connsiteX761" fmla="*/ 874 w 10000"/>
                <a:gd name="connsiteY761" fmla="*/ 8436 h 10000"/>
                <a:gd name="connsiteX762" fmla="*/ 859 w 10000"/>
                <a:gd name="connsiteY762" fmla="*/ 8450 h 10000"/>
                <a:gd name="connsiteX763" fmla="*/ 838 w 10000"/>
                <a:gd name="connsiteY763" fmla="*/ 8462 h 10000"/>
                <a:gd name="connsiteX764" fmla="*/ 821 w 10000"/>
                <a:gd name="connsiteY764" fmla="*/ 8476 h 10000"/>
                <a:gd name="connsiteX765" fmla="*/ 742 w 10000"/>
                <a:gd name="connsiteY765" fmla="*/ 8562 h 10000"/>
                <a:gd name="connsiteX766" fmla="*/ 672 w 10000"/>
                <a:gd name="connsiteY766" fmla="*/ 8644 h 10000"/>
                <a:gd name="connsiteX767" fmla="*/ 639 w 10000"/>
                <a:gd name="connsiteY767" fmla="*/ 8684 h 10000"/>
                <a:gd name="connsiteX768" fmla="*/ 609 w 10000"/>
                <a:gd name="connsiteY768" fmla="*/ 8731 h 10000"/>
                <a:gd name="connsiteX769" fmla="*/ 583 w 10000"/>
                <a:gd name="connsiteY769" fmla="*/ 8777 h 10000"/>
                <a:gd name="connsiteX770" fmla="*/ 556 w 10000"/>
                <a:gd name="connsiteY770" fmla="*/ 8831 h 10000"/>
                <a:gd name="connsiteX771" fmla="*/ 545 w 10000"/>
                <a:gd name="connsiteY771" fmla="*/ 8852 h 10000"/>
                <a:gd name="connsiteX772" fmla="*/ 525 w 10000"/>
                <a:gd name="connsiteY772" fmla="*/ 8885 h 10000"/>
                <a:gd name="connsiteX773" fmla="*/ 503 w 10000"/>
                <a:gd name="connsiteY773" fmla="*/ 8925 h 10000"/>
                <a:gd name="connsiteX774" fmla="*/ 480 w 10000"/>
                <a:gd name="connsiteY774" fmla="*/ 8962 h 10000"/>
                <a:gd name="connsiteX775" fmla="*/ 465 w 10000"/>
                <a:gd name="connsiteY775" fmla="*/ 8981 h 10000"/>
                <a:gd name="connsiteX776" fmla="*/ 455 w 10000"/>
                <a:gd name="connsiteY776" fmla="*/ 8993 h 10000"/>
                <a:gd name="connsiteX777" fmla="*/ 444 w 10000"/>
                <a:gd name="connsiteY777" fmla="*/ 9000 h 10000"/>
                <a:gd name="connsiteX778" fmla="*/ 434 w 10000"/>
                <a:gd name="connsiteY778" fmla="*/ 9007 h 10000"/>
                <a:gd name="connsiteX779" fmla="*/ 432 w 10000"/>
                <a:gd name="connsiteY779" fmla="*/ 9007 h 10000"/>
                <a:gd name="connsiteX780" fmla="*/ 429 w 10000"/>
                <a:gd name="connsiteY780" fmla="*/ 9004 h 10000"/>
                <a:gd name="connsiteX781" fmla="*/ 427 w 10000"/>
                <a:gd name="connsiteY781" fmla="*/ 8997 h 10000"/>
                <a:gd name="connsiteX782" fmla="*/ 427 w 10000"/>
                <a:gd name="connsiteY782" fmla="*/ 8993 h 10000"/>
                <a:gd name="connsiteX783" fmla="*/ 424 w 10000"/>
                <a:gd name="connsiteY783" fmla="*/ 8976 h 10000"/>
                <a:gd name="connsiteX784" fmla="*/ 427 w 10000"/>
                <a:gd name="connsiteY784" fmla="*/ 8948 h 10000"/>
                <a:gd name="connsiteX785" fmla="*/ 437 w 10000"/>
                <a:gd name="connsiteY785" fmla="*/ 8913 h 10000"/>
                <a:gd name="connsiteX786" fmla="*/ 455 w 10000"/>
                <a:gd name="connsiteY786" fmla="*/ 8859 h 10000"/>
                <a:gd name="connsiteX787" fmla="*/ 462 w 10000"/>
                <a:gd name="connsiteY787" fmla="*/ 8834 h 10000"/>
                <a:gd name="connsiteX788" fmla="*/ 470 w 10000"/>
                <a:gd name="connsiteY788" fmla="*/ 8810 h 10000"/>
                <a:gd name="connsiteX789" fmla="*/ 472 w 10000"/>
                <a:gd name="connsiteY789" fmla="*/ 8794 h 10000"/>
                <a:gd name="connsiteX790" fmla="*/ 472 w 10000"/>
                <a:gd name="connsiteY790" fmla="*/ 8780 h 10000"/>
                <a:gd name="connsiteX791" fmla="*/ 462 w 10000"/>
                <a:gd name="connsiteY791" fmla="*/ 8784 h 10000"/>
                <a:gd name="connsiteX792" fmla="*/ 452 w 10000"/>
                <a:gd name="connsiteY792" fmla="*/ 8787 h 10000"/>
                <a:gd name="connsiteX793" fmla="*/ 437 w 10000"/>
                <a:gd name="connsiteY793" fmla="*/ 8794 h 10000"/>
                <a:gd name="connsiteX794" fmla="*/ 424 w 10000"/>
                <a:gd name="connsiteY794" fmla="*/ 8803 h 10000"/>
                <a:gd name="connsiteX795" fmla="*/ 394 w 10000"/>
                <a:gd name="connsiteY795" fmla="*/ 8829 h 10000"/>
                <a:gd name="connsiteX796" fmla="*/ 364 w 10000"/>
                <a:gd name="connsiteY796" fmla="*/ 8859 h 10000"/>
                <a:gd name="connsiteX797" fmla="*/ 311 w 10000"/>
                <a:gd name="connsiteY797" fmla="*/ 8922 h 10000"/>
                <a:gd name="connsiteX798" fmla="*/ 268 w 10000"/>
                <a:gd name="connsiteY798" fmla="*/ 8964 h 10000"/>
                <a:gd name="connsiteX799" fmla="*/ 205 w 10000"/>
                <a:gd name="connsiteY799" fmla="*/ 9016 h 10000"/>
                <a:gd name="connsiteX800" fmla="*/ 146 w 10000"/>
                <a:gd name="connsiteY800" fmla="*/ 9053 h 10000"/>
                <a:gd name="connsiteX801" fmla="*/ 139 w 10000"/>
                <a:gd name="connsiteY801" fmla="*/ 9063 h 10000"/>
                <a:gd name="connsiteX802" fmla="*/ 129 w 10000"/>
                <a:gd name="connsiteY802" fmla="*/ 9077 h 10000"/>
                <a:gd name="connsiteX803" fmla="*/ 126 w 10000"/>
                <a:gd name="connsiteY803" fmla="*/ 9086 h 10000"/>
                <a:gd name="connsiteX804" fmla="*/ 126 w 10000"/>
                <a:gd name="connsiteY804" fmla="*/ 9102 h 10000"/>
                <a:gd name="connsiteX805" fmla="*/ 129 w 10000"/>
                <a:gd name="connsiteY805" fmla="*/ 9116 h 10000"/>
                <a:gd name="connsiteX806" fmla="*/ 139 w 10000"/>
                <a:gd name="connsiteY806" fmla="*/ 9135 h 10000"/>
                <a:gd name="connsiteX807" fmla="*/ 149 w 10000"/>
                <a:gd name="connsiteY807" fmla="*/ 9151 h 10000"/>
                <a:gd name="connsiteX808" fmla="*/ 164 w 10000"/>
                <a:gd name="connsiteY808" fmla="*/ 9175 h 10000"/>
                <a:gd name="connsiteX809" fmla="*/ 184 w 10000"/>
                <a:gd name="connsiteY809" fmla="*/ 9196 h 10000"/>
                <a:gd name="connsiteX810" fmla="*/ 207 w 10000"/>
                <a:gd name="connsiteY810" fmla="*/ 9215 h 10000"/>
                <a:gd name="connsiteX811" fmla="*/ 227 w 10000"/>
                <a:gd name="connsiteY811" fmla="*/ 9233 h 10000"/>
                <a:gd name="connsiteX812" fmla="*/ 253 w 10000"/>
                <a:gd name="connsiteY812" fmla="*/ 9250 h 10000"/>
                <a:gd name="connsiteX813" fmla="*/ 303 w 10000"/>
                <a:gd name="connsiteY813" fmla="*/ 9282 h 10000"/>
                <a:gd name="connsiteX814" fmla="*/ 351 w 10000"/>
                <a:gd name="connsiteY814" fmla="*/ 9315 h 10000"/>
                <a:gd name="connsiteX815" fmla="*/ 414 w 10000"/>
                <a:gd name="connsiteY815" fmla="*/ 9364 h 10000"/>
                <a:gd name="connsiteX816" fmla="*/ 480 w 10000"/>
                <a:gd name="connsiteY816" fmla="*/ 9416 h 10000"/>
                <a:gd name="connsiteX817" fmla="*/ 513 w 10000"/>
                <a:gd name="connsiteY817" fmla="*/ 9437 h 10000"/>
                <a:gd name="connsiteX818" fmla="*/ 548 w 10000"/>
                <a:gd name="connsiteY818" fmla="*/ 9462 h 10000"/>
                <a:gd name="connsiteX819" fmla="*/ 581 w 10000"/>
                <a:gd name="connsiteY819" fmla="*/ 9483 h 10000"/>
                <a:gd name="connsiteX820" fmla="*/ 614 w 10000"/>
                <a:gd name="connsiteY820" fmla="*/ 9502 h 10000"/>
                <a:gd name="connsiteX821" fmla="*/ 641 w 10000"/>
                <a:gd name="connsiteY821" fmla="*/ 9525 h 10000"/>
                <a:gd name="connsiteX822" fmla="*/ 672 w 10000"/>
                <a:gd name="connsiteY822" fmla="*/ 9549 h 10000"/>
                <a:gd name="connsiteX823" fmla="*/ 702 w 10000"/>
                <a:gd name="connsiteY823" fmla="*/ 9568 h 10000"/>
                <a:gd name="connsiteX824" fmla="*/ 737 w 10000"/>
                <a:gd name="connsiteY824" fmla="*/ 9589 h 10000"/>
                <a:gd name="connsiteX825" fmla="*/ 770 w 10000"/>
                <a:gd name="connsiteY825" fmla="*/ 9605 h 10000"/>
                <a:gd name="connsiteX826" fmla="*/ 808 w 10000"/>
                <a:gd name="connsiteY826" fmla="*/ 9617 h 10000"/>
                <a:gd name="connsiteX827" fmla="*/ 843 w 10000"/>
                <a:gd name="connsiteY827" fmla="*/ 9624 h 10000"/>
                <a:gd name="connsiteX828" fmla="*/ 884 w 10000"/>
                <a:gd name="connsiteY828" fmla="*/ 9628 h 10000"/>
                <a:gd name="connsiteX829" fmla="*/ 902 w 10000"/>
                <a:gd name="connsiteY829" fmla="*/ 9628 h 10000"/>
                <a:gd name="connsiteX830" fmla="*/ 914 w 10000"/>
                <a:gd name="connsiteY830" fmla="*/ 9631 h 10000"/>
                <a:gd name="connsiteX831" fmla="*/ 932 w 10000"/>
                <a:gd name="connsiteY831" fmla="*/ 9638 h 10000"/>
                <a:gd name="connsiteX832" fmla="*/ 942 w 10000"/>
                <a:gd name="connsiteY832" fmla="*/ 9642 h 10000"/>
                <a:gd name="connsiteX833" fmla="*/ 967 w 10000"/>
                <a:gd name="connsiteY833" fmla="*/ 9652 h 10000"/>
                <a:gd name="connsiteX834" fmla="*/ 987 w 10000"/>
                <a:gd name="connsiteY834" fmla="*/ 9668 h 10000"/>
                <a:gd name="connsiteX835" fmla="*/ 1005 w 10000"/>
                <a:gd name="connsiteY835" fmla="*/ 9682 h 10000"/>
                <a:gd name="connsiteX836" fmla="*/ 1025 w 10000"/>
                <a:gd name="connsiteY836" fmla="*/ 9698 h 10000"/>
                <a:gd name="connsiteX837" fmla="*/ 1045 w 10000"/>
                <a:gd name="connsiteY837" fmla="*/ 9712 h 10000"/>
                <a:gd name="connsiteX838" fmla="*/ 1073 w 10000"/>
                <a:gd name="connsiteY838" fmla="*/ 9724 h 10000"/>
                <a:gd name="connsiteX839" fmla="*/ 1098 w 10000"/>
                <a:gd name="connsiteY839" fmla="*/ 9738 h 10000"/>
                <a:gd name="connsiteX840" fmla="*/ 1121 w 10000"/>
                <a:gd name="connsiteY840" fmla="*/ 9750 h 10000"/>
                <a:gd name="connsiteX841" fmla="*/ 1141 w 10000"/>
                <a:gd name="connsiteY841" fmla="*/ 9762 h 10000"/>
                <a:gd name="connsiteX842" fmla="*/ 1159 w 10000"/>
                <a:gd name="connsiteY842" fmla="*/ 9776 h 10000"/>
                <a:gd name="connsiteX843" fmla="*/ 1172 w 10000"/>
                <a:gd name="connsiteY843" fmla="*/ 9787 h 10000"/>
                <a:gd name="connsiteX844" fmla="*/ 1182 w 10000"/>
                <a:gd name="connsiteY844" fmla="*/ 9804 h 10000"/>
                <a:gd name="connsiteX845" fmla="*/ 1194 w 10000"/>
                <a:gd name="connsiteY845" fmla="*/ 9818 h 10000"/>
                <a:gd name="connsiteX846" fmla="*/ 1202 w 10000"/>
                <a:gd name="connsiteY846" fmla="*/ 9834 h 10000"/>
                <a:gd name="connsiteX847" fmla="*/ 1212 w 10000"/>
                <a:gd name="connsiteY847" fmla="*/ 9869 h 10000"/>
                <a:gd name="connsiteX848" fmla="*/ 1220 w 10000"/>
                <a:gd name="connsiteY848" fmla="*/ 9906 h 10000"/>
                <a:gd name="connsiteX849" fmla="*/ 1230 w 10000"/>
                <a:gd name="connsiteY849" fmla="*/ 9951 h 10000"/>
                <a:gd name="connsiteX850" fmla="*/ 1237 w 10000"/>
                <a:gd name="connsiteY850" fmla="*/ 10000 h 10000"/>
                <a:gd name="connsiteX851" fmla="*/ 1237 w 10000"/>
                <a:gd name="connsiteY85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9 w 10000"/>
                <a:gd name="connsiteY727" fmla="*/ 8156 h 10000"/>
                <a:gd name="connsiteX728" fmla="*/ 2154 w 10000"/>
                <a:gd name="connsiteY728" fmla="*/ 8228 h 10000"/>
                <a:gd name="connsiteX729" fmla="*/ 2136 w 10000"/>
                <a:gd name="connsiteY729" fmla="*/ 8291 h 10000"/>
                <a:gd name="connsiteX730" fmla="*/ 2124 w 10000"/>
                <a:gd name="connsiteY730" fmla="*/ 8319 h 10000"/>
                <a:gd name="connsiteX731" fmla="*/ 1990 w 10000"/>
                <a:gd name="connsiteY731" fmla="*/ 8422 h 10000"/>
                <a:gd name="connsiteX732" fmla="*/ 1904 w 10000"/>
                <a:gd name="connsiteY732" fmla="*/ 8481 h 10000"/>
                <a:gd name="connsiteX733" fmla="*/ 1856 w 10000"/>
                <a:gd name="connsiteY733" fmla="*/ 8506 h 10000"/>
                <a:gd name="connsiteX734" fmla="*/ 1816 w 10000"/>
                <a:gd name="connsiteY734" fmla="*/ 8527 h 10000"/>
                <a:gd name="connsiteX735" fmla="*/ 1793 w 10000"/>
                <a:gd name="connsiteY735" fmla="*/ 8539 h 10000"/>
                <a:gd name="connsiteX736" fmla="*/ 1775 w 10000"/>
                <a:gd name="connsiteY736" fmla="*/ 8546 h 10000"/>
                <a:gd name="connsiteX737" fmla="*/ 1758 w 10000"/>
                <a:gd name="connsiteY737" fmla="*/ 8548 h 10000"/>
                <a:gd name="connsiteX738" fmla="*/ 1742 w 10000"/>
                <a:gd name="connsiteY738" fmla="*/ 8551 h 10000"/>
                <a:gd name="connsiteX739" fmla="*/ 1727 w 10000"/>
                <a:gd name="connsiteY739" fmla="*/ 8537 h 10000"/>
                <a:gd name="connsiteX740" fmla="*/ 1717 w 10000"/>
                <a:gd name="connsiteY740" fmla="*/ 8518 h 10000"/>
                <a:gd name="connsiteX741" fmla="*/ 1684 w 10000"/>
                <a:gd name="connsiteY741" fmla="*/ 8429 h 10000"/>
                <a:gd name="connsiteX742" fmla="*/ 1525 w 10000"/>
                <a:gd name="connsiteY742" fmla="*/ 8186 h 10000"/>
                <a:gd name="connsiteX743" fmla="*/ 1500 w 10000"/>
                <a:gd name="connsiteY743" fmla="*/ 8191 h 10000"/>
                <a:gd name="connsiteX744" fmla="*/ 1472 w 10000"/>
                <a:gd name="connsiteY744" fmla="*/ 8198 h 10000"/>
                <a:gd name="connsiteX745" fmla="*/ 1434 w 10000"/>
                <a:gd name="connsiteY745" fmla="*/ 8223 h 10000"/>
                <a:gd name="connsiteX746" fmla="*/ 1149 w 10000"/>
                <a:gd name="connsiteY746" fmla="*/ 8256 h 10000"/>
                <a:gd name="connsiteX747" fmla="*/ 1139 w 10000"/>
                <a:gd name="connsiteY747" fmla="*/ 8249 h 10000"/>
                <a:gd name="connsiteX748" fmla="*/ 1126 w 10000"/>
                <a:gd name="connsiteY748" fmla="*/ 8240 h 10000"/>
                <a:gd name="connsiteX749" fmla="*/ 1114 w 10000"/>
                <a:gd name="connsiteY749" fmla="*/ 8240 h 10000"/>
                <a:gd name="connsiteX750" fmla="*/ 1091 w 10000"/>
                <a:gd name="connsiteY750" fmla="*/ 8242 h 10000"/>
                <a:gd name="connsiteX751" fmla="*/ 1071 w 10000"/>
                <a:gd name="connsiteY751" fmla="*/ 8252 h 10000"/>
                <a:gd name="connsiteX752" fmla="*/ 1048 w 10000"/>
                <a:gd name="connsiteY752" fmla="*/ 8261 h 10000"/>
                <a:gd name="connsiteX753" fmla="*/ 1030 w 10000"/>
                <a:gd name="connsiteY753" fmla="*/ 8273 h 10000"/>
                <a:gd name="connsiteX754" fmla="*/ 1010 w 10000"/>
                <a:gd name="connsiteY754" fmla="*/ 8287 h 10000"/>
                <a:gd name="connsiteX755" fmla="*/ 995 w 10000"/>
                <a:gd name="connsiteY755" fmla="*/ 8303 h 10000"/>
                <a:gd name="connsiteX756" fmla="*/ 975 w 10000"/>
                <a:gd name="connsiteY756" fmla="*/ 8322 h 10000"/>
                <a:gd name="connsiteX757" fmla="*/ 960 w 10000"/>
                <a:gd name="connsiteY757" fmla="*/ 8343 h 10000"/>
                <a:gd name="connsiteX758" fmla="*/ 927 w 10000"/>
                <a:gd name="connsiteY758" fmla="*/ 8380 h 10000"/>
                <a:gd name="connsiteX759" fmla="*/ 891 w 10000"/>
                <a:gd name="connsiteY759" fmla="*/ 8417 h 10000"/>
                <a:gd name="connsiteX760" fmla="*/ 874 w 10000"/>
                <a:gd name="connsiteY760" fmla="*/ 8436 h 10000"/>
                <a:gd name="connsiteX761" fmla="*/ 859 w 10000"/>
                <a:gd name="connsiteY761" fmla="*/ 8450 h 10000"/>
                <a:gd name="connsiteX762" fmla="*/ 838 w 10000"/>
                <a:gd name="connsiteY762" fmla="*/ 8462 h 10000"/>
                <a:gd name="connsiteX763" fmla="*/ 821 w 10000"/>
                <a:gd name="connsiteY763" fmla="*/ 8476 h 10000"/>
                <a:gd name="connsiteX764" fmla="*/ 742 w 10000"/>
                <a:gd name="connsiteY764" fmla="*/ 8562 h 10000"/>
                <a:gd name="connsiteX765" fmla="*/ 672 w 10000"/>
                <a:gd name="connsiteY765" fmla="*/ 8644 h 10000"/>
                <a:gd name="connsiteX766" fmla="*/ 639 w 10000"/>
                <a:gd name="connsiteY766" fmla="*/ 8684 h 10000"/>
                <a:gd name="connsiteX767" fmla="*/ 609 w 10000"/>
                <a:gd name="connsiteY767" fmla="*/ 8731 h 10000"/>
                <a:gd name="connsiteX768" fmla="*/ 583 w 10000"/>
                <a:gd name="connsiteY768" fmla="*/ 8777 h 10000"/>
                <a:gd name="connsiteX769" fmla="*/ 556 w 10000"/>
                <a:gd name="connsiteY769" fmla="*/ 8831 h 10000"/>
                <a:gd name="connsiteX770" fmla="*/ 545 w 10000"/>
                <a:gd name="connsiteY770" fmla="*/ 8852 h 10000"/>
                <a:gd name="connsiteX771" fmla="*/ 525 w 10000"/>
                <a:gd name="connsiteY771" fmla="*/ 8885 h 10000"/>
                <a:gd name="connsiteX772" fmla="*/ 503 w 10000"/>
                <a:gd name="connsiteY772" fmla="*/ 8925 h 10000"/>
                <a:gd name="connsiteX773" fmla="*/ 480 w 10000"/>
                <a:gd name="connsiteY773" fmla="*/ 8962 h 10000"/>
                <a:gd name="connsiteX774" fmla="*/ 465 w 10000"/>
                <a:gd name="connsiteY774" fmla="*/ 8981 h 10000"/>
                <a:gd name="connsiteX775" fmla="*/ 455 w 10000"/>
                <a:gd name="connsiteY775" fmla="*/ 8993 h 10000"/>
                <a:gd name="connsiteX776" fmla="*/ 444 w 10000"/>
                <a:gd name="connsiteY776" fmla="*/ 9000 h 10000"/>
                <a:gd name="connsiteX777" fmla="*/ 434 w 10000"/>
                <a:gd name="connsiteY777" fmla="*/ 9007 h 10000"/>
                <a:gd name="connsiteX778" fmla="*/ 432 w 10000"/>
                <a:gd name="connsiteY778" fmla="*/ 9007 h 10000"/>
                <a:gd name="connsiteX779" fmla="*/ 429 w 10000"/>
                <a:gd name="connsiteY779" fmla="*/ 9004 h 10000"/>
                <a:gd name="connsiteX780" fmla="*/ 427 w 10000"/>
                <a:gd name="connsiteY780" fmla="*/ 8997 h 10000"/>
                <a:gd name="connsiteX781" fmla="*/ 427 w 10000"/>
                <a:gd name="connsiteY781" fmla="*/ 8993 h 10000"/>
                <a:gd name="connsiteX782" fmla="*/ 424 w 10000"/>
                <a:gd name="connsiteY782" fmla="*/ 8976 h 10000"/>
                <a:gd name="connsiteX783" fmla="*/ 427 w 10000"/>
                <a:gd name="connsiteY783" fmla="*/ 8948 h 10000"/>
                <a:gd name="connsiteX784" fmla="*/ 437 w 10000"/>
                <a:gd name="connsiteY784" fmla="*/ 8913 h 10000"/>
                <a:gd name="connsiteX785" fmla="*/ 455 w 10000"/>
                <a:gd name="connsiteY785" fmla="*/ 8859 h 10000"/>
                <a:gd name="connsiteX786" fmla="*/ 462 w 10000"/>
                <a:gd name="connsiteY786" fmla="*/ 8834 h 10000"/>
                <a:gd name="connsiteX787" fmla="*/ 470 w 10000"/>
                <a:gd name="connsiteY787" fmla="*/ 8810 h 10000"/>
                <a:gd name="connsiteX788" fmla="*/ 472 w 10000"/>
                <a:gd name="connsiteY788" fmla="*/ 8794 h 10000"/>
                <a:gd name="connsiteX789" fmla="*/ 472 w 10000"/>
                <a:gd name="connsiteY789" fmla="*/ 8780 h 10000"/>
                <a:gd name="connsiteX790" fmla="*/ 462 w 10000"/>
                <a:gd name="connsiteY790" fmla="*/ 8784 h 10000"/>
                <a:gd name="connsiteX791" fmla="*/ 452 w 10000"/>
                <a:gd name="connsiteY791" fmla="*/ 8787 h 10000"/>
                <a:gd name="connsiteX792" fmla="*/ 437 w 10000"/>
                <a:gd name="connsiteY792" fmla="*/ 8794 h 10000"/>
                <a:gd name="connsiteX793" fmla="*/ 424 w 10000"/>
                <a:gd name="connsiteY793" fmla="*/ 8803 h 10000"/>
                <a:gd name="connsiteX794" fmla="*/ 394 w 10000"/>
                <a:gd name="connsiteY794" fmla="*/ 8829 h 10000"/>
                <a:gd name="connsiteX795" fmla="*/ 364 w 10000"/>
                <a:gd name="connsiteY795" fmla="*/ 8859 h 10000"/>
                <a:gd name="connsiteX796" fmla="*/ 311 w 10000"/>
                <a:gd name="connsiteY796" fmla="*/ 8922 h 10000"/>
                <a:gd name="connsiteX797" fmla="*/ 268 w 10000"/>
                <a:gd name="connsiteY797" fmla="*/ 8964 h 10000"/>
                <a:gd name="connsiteX798" fmla="*/ 205 w 10000"/>
                <a:gd name="connsiteY798" fmla="*/ 9016 h 10000"/>
                <a:gd name="connsiteX799" fmla="*/ 146 w 10000"/>
                <a:gd name="connsiteY799" fmla="*/ 9053 h 10000"/>
                <a:gd name="connsiteX800" fmla="*/ 139 w 10000"/>
                <a:gd name="connsiteY800" fmla="*/ 9063 h 10000"/>
                <a:gd name="connsiteX801" fmla="*/ 129 w 10000"/>
                <a:gd name="connsiteY801" fmla="*/ 9077 h 10000"/>
                <a:gd name="connsiteX802" fmla="*/ 126 w 10000"/>
                <a:gd name="connsiteY802" fmla="*/ 9086 h 10000"/>
                <a:gd name="connsiteX803" fmla="*/ 126 w 10000"/>
                <a:gd name="connsiteY803" fmla="*/ 9102 h 10000"/>
                <a:gd name="connsiteX804" fmla="*/ 129 w 10000"/>
                <a:gd name="connsiteY804" fmla="*/ 9116 h 10000"/>
                <a:gd name="connsiteX805" fmla="*/ 139 w 10000"/>
                <a:gd name="connsiteY805" fmla="*/ 9135 h 10000"/>
                <a:gd name="connsiteX806" fmla="*/ 149 w 10000"/>
                <a:gd name="connsiteY806" fmla="*/ 9151 h 10000"/>
                <a:gd name="connsiteX807" fmla="*/ 164 w 10000"/>
                <a:gd name="connsiteY807" fmla="*/ 9175 h 10000"/>
                <a:gd name="connsiteX808" fmla="*/ 184 w 10000"/>
                <a:gd name="connsiteY808" fmla="*/ 9196 h 10000"/>
                <a:gd name="connsiteX809" fmla="*/ 207 w 10000"/>
                <a:gd name="connsiteY809" fmla="*/ 9215 h 10000"/>
                <a:gd name="connsiteX810" fmla="*/ 227 w 10000"/>
                <a:gd name="connsiteY810" fmla="*/ 9233 h 10000"/>
                <a:gd name="connsiteX811" fmla="*/ 253 w 10000"/>
                <a:gd name="connsiteY811" fmla="*/ 9250 h 10000"/>
                <a:gd name="connsiteX812" fmla="*/ 303 w 10000"/>
                <a:gd name="connsiteY812" fmla="*/ 9282 h 10000"/>
                <a:gd name="connsiteX813" fmla="*/ 351 w 10000"/>
                <a:gd name="connsiteY813" fmla="*/ 9315 h 10000"/>
                <a:gd name="connsiteX814" fmla="*/ 414 w 10000"/>
                <a:gd name="connsiteY814" fmla="*/ 9364 h 10000"/>
                <a:gd name="connsiteX815" fmla="*/ 480 w 10000"/>
                <a:gd name="connsiteY815" fmla="*/ 9416 h 10000"/>
                <a:gd name="connsiteX816" fmla="*/ 513 w 10000"/>
                <a:gd name="connsiteY816" fmla="*/ 9437 h 10000"/>
                <a:gd name="connsiteX817" fmla="*/ 548 w 10000"/>
                <a:gd name="connsiteY817" fmla="*/ 9462 h 10000"/>
                <a:gd name="connsiteX818" fmla="*/ 581 w 10000"/>
                <a:gd name="connsiteY818" fmla="*/ 9483 h 10000"/>
                <a:gd name="connsiteX819" fmla="*/ 614 w 10000"/>
                <a:gd name="connsiteY819" fmla="*/ 9502 h 10000"/>
                <a:gd name="connsiteX820" fmla="*/ 641 w 10000"/>
                <a:gd name="connsiteY820" fmla="*/ 9525 h 10000"/>
                <a:gd name="connsiteX821" fmla="*/ 672 w 10000"/>
                <a:gd name="connsiteY821" fmla="*/ 9549 h 10000"/>
                <a:gd name="connsiteX822" fmla="*/ 702 w 10000"/>
                <a:gd name="connsiteY822" fmla="*/ 9568 h 10000"/>
                <a:gd name="connsiteX823" fmla="*/ 737 w 10000"/>
                <a:gd name="connsiteY823" fmla="*/ 9589 h 10000"/>
                <a:gd name="connsiteX824" fmla="*/ 770 w 10000"/>
                <a:gd name="connsiteY824" fmla="*/ 9605 h 10000"/>
                <a:gd name="connsiteX825" fmla="*/ 808 w 10000"/>
                <a:gd name="connsiteY825" fmla="*/ 9617 h 10000"/>
                <a:gd name="connsiteX826" fmla="*/ 843 w 10000"/>
                <a:gd name="connsiteY826" fmla="*/ 9624 h 10000"/>
                <a:gd name="connsiteX827" fmla="*/ 884 w 10000"/>
                <a:gd name="connsiteY827" fmla="*/ 9628 h 10000"/>
                <a:gd name="connsiteX828" fmla="*/ 902 w 10000"/>
                <a:gd name="connsiteY828" fmla="*/ 9628 h 10000"/>
                <a:gd name="connsiteX829" fmla="*/ 914 w 10000"/>
                <a:gd name="connsiteY829" fmla="*/ 9631 h 10000"/>
                <a:gd name="connsiteX830" fmla="*/ 932 w 10000"/>
                <a:gd name="connsiteY830" fmla="*/ 9638 h 10000"/>
                <a:gd name="connsiteX831" fmla="*/ 942 w 10000"/>
                <a:gd name="connsiteY831" fmla="*/ 9642 h 10000"/>
                <a:gd name="connsiteX832" fmla="*/ 967 w 10000"/>
                <a:gd name="connsiteY832" fmla="*/ 9652 h 10000"/>
                <a:gd name="connsiteX833" fmla="*/ 987 w 10000"/>
                <a:gd name="connsiteY833" fmla="*/ 9668 h 10000"/>
                <a:gd name="connsiteX834" fmla="*/ 1005 w 10000"/>
                <a:gd name="connsiteY834" fmla="*/ 9682 h 10000"/>
                <a:gd name="connsiteX835" fmla="*/ 1025 w 10000"/>
                <a:gd name="connsiteY835" fmla="*/ 9698 h 10000"/>
                <a:gd name="connsiteX836" fmla="*/ 1045 w 10000"/>
                <a:gd name="connsiteY836" fmla="*/ 9712 h 10000"/>
                <a:gd name="connsiteX837" fmla="*/ 1073 w 10000"/>
                <a:gd name="connsiteY837" fmla="*/ 9724 h 10000"/>
                <a:gd name="connsiteX838" fmla="*/ 1098 w 10000"/>
                <a:gd name="connsiteY838" fmla="*/ 9738 h 10000"/>
                <a:gd name="connsiteX839" fmla="*/ 1121 w 10000"/>
                <a:gd name="connsiteY839" fmla="*/ 9750 h 10000"/>
                <a:gd name="connsiteX840" fmla="*/ 1141 w 10000"/>
                <a:gd name="connsiteY840" fmla="*/ 9762 h 10000"/>
                <a:gd name="connsiteX841" fmla="*/ 1159 w 10000"/>
                <a:gd name="connsiteY841" fmla="*/ 9776 h 10000"/>
                <a:gd name="connsiteX842" fmla="*/ 1172 w 10000"/>
                <a:gd name="connsiteY842" fmla="*/ 9787 h 10000"/>
                <a:gd name="connsiteX843" fmla="*/ 1182 w 10000"/>
                <a:gd name="connsiteY843" fmla="*/ 9804 h 10000"/>
                <a:gd name="connsiteX844" fmla="*/ 1194 w 10000"/>
                <a:gd name="connsiteY844" fmla="*/ 9818 h 10000"/>
                <a:gd name="connsiteX845" fmla="*/ 1202 w 10000"/>
                <a:gd name="connsiteY845" fmla="*/ 9834 h 10000"/>
                <a:gd name="connsiteX846" fmla="*/ 1212 w 10000"/>
                <a:gd name="connsiteY846" fmla="*/ 9869 h 10000"/>
                <a:gd name="connsiteX847" fmla="*/ 1220 w 10000"/>
                <a:gd name="connsiteY847" fmla="*/ 9906 h 10000"/>
                <a:gd name="connsiteX848" fmla="*/ 1230 w 10000"/>
                <a:gd name="connsiteY848" fmla="*/ 9951 h 10000"/>
                <a:gd name="connsiteX849" fmla="*/ 1237 w 10000"/>
                <a:gd name="connsiteY849" fmla="*/ 10000 h 10000"/>
                <a:gd name="connsiteX850" fmla="*/ 1237 w 10000"/>
                <a:gd name="connsiteY85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54 w 10000"/>
                <a:gd name="connsiteY727" fmla="*/ 8228 h 10000"/>
                <a:gd name="connsiteX728" fmla="*/ 2136 w 10000"/>
                <a:gd name="connsiteY728" fmla="*/ 8291 h 10000"/>
                <a:gd name="connsiteX729" fmla="*/ 2124 w 10000"/>
                <a:gd name="connsiteY729" fmla="*/ 8319 h 10000"/>
                <a:gd name="connsiteX730" fmla="*/ 1990 w 10000"/>
                <a:gd name="connsiteY730" fmla="*/ 8422 h 10000"/>
                <a:gd name="connsiteX731" fmla="*/ 1904 w 10000"/>
                <a:gd name="connsiteY731" fmla="*/ 8481 h 10000"/>
                <a:gd name="connsiteX732" fmla="*/ 1856 w 10000"/>
                <a:gd name="connsiteY732" fmla="*/ 8506 h 10000"/>
                <a:gd name="connsiteX733" fmla="*/ 1816 w 10000"/>
                <a:gd name="connsiteY733" fmla="*/ 8527 h 10000"/>
                <a:gd name="connsiteX734" fmla="*/ 1793 w 10000"/>
                <a:gd name="connsiteY734" fmla="*/ 8539 h 10000"/>
                <a:gd name="connsiteX735" fmla="*/ 1775 w 10000"/>
                <a:gd name="connsiteY735" fmla="*/ 8546 h 10000"/>
                <a:gd name="connsiteX736" fmla="*/ 1758 w 10000"/>
                <a:gd name="connsiteY736" fmla="*/ 8548 h 10000"/>
                <a:gd name="connsiteX737" fmla="*/ 1742 w 10000"/>
                <a:gd name="connsiteY737" fmla="*/ 8551 h 10000"/>
                <a:gd name="connsiteX738" fmla="*/ 1727 w 10000"/>
                <a:gd name="connsiteY738" fmla="*/ 8537 h 10000"/>
                <a:gd name="connsiteX739" fmla="*/ 1717 w 10000"/>
                <a:gd name="connsiteY739" fmla="*/ 8518 h 10000"/>
                <a:gd name="connsiteX740" fmla="*/ 1684 w 10000"/>
                <a:gd name="connsiteY740" fmla="*/ 8429 h 10000"/>
                <a:gd name="connsiteX741" fmla="*/ 1525 w 10000"/>
                <a:gd name="connsiteY741" fmla="*/ 8186 h 10000"/>
                <a:gd name="connsiteX742" fmla="*/ 1500 w 10000"/>
                <a:gd name="connsiteY742" fmla="*/ 8191 h 10000"/>
                <a:gd name="connsiteX743" fmla="*/ 1472 w 10000"/>
                <a:gd name="connsiteY743" fmla="*/ 8198 h 10000"/>
                <a:gd name="connsiteX744" fmla="*/ 1434 w 10000"/>
                <a:gd name="connsiteY744" fmla="*/ 8223 h 10000"/>
                <a:gd name="connsiteX745" fmla="*/ 1149 w 10000"/>
                <a:gd name="connsiteY745" fmla="*/ 8256 h 10000"/>
                <a:gd name="connsiteX746" fmla="*/ 1139 w 10000"/>
                <a:gd name="connsiteY746" fmla="*/ 8249 h 10000"/>
                <a:gd name="connsiteX747" fmla="*/ 1126 w 10000"/>
                <a:gd name="connsiteY747" fmla="*/ 8240 h 10000"/>
                <a:gd name="connsiteX748" fmla="*/ 1114 w 10000"/>
                <a:gd name="connsiteY748" fmla="*/ 8240 h 10000"/>
                <a:gd name="connsiteX749" fmla="*/ 1091 w 10000"/>
                <a:gd name="connsiteY749" fmla="*/ 8242 h 10000"/>
                <a:gd name="connsiteX750" fmla="*/ 1071 w 10000"/>
                <a:gd name="connsiteY750" fmla="*/ 8252 h 10000"/>
                <a:gd name="connsiteX751" fmla="*/ 1048 w 10000"/>
                <a:gd name="connsiteY751" fmla="*/ 8261 h 10000"/>
                <a:gd name="connsiteX752" fmla="*/ 1030 w 10000"/>
                <a:gd name="connsiteY752" fmla="*/ 8273 h 10000"/>
                <a:gd name="connsiteX753" fmla="*/ 1010 w 10000"/>
                <a:gd name="connsiteY753" fmla="*/ 8287 h 10000"/>
                <a:gd name="connsiteX754" fmla="*/ 995 w 10000"/>
                <a:gd name="connsiteY754" fmla="*/ 8303 h 10000"/>
                <a:gd name="connsiteX755" fmla="*/ 975 w 10000"/>
                <a:gd name="connsiteY755" fmla="*/ 8322 h 10000"/>
                <a:gd name="connsiteX756" fmla="*/ 960 w 10000"/>
                <a:gd name="connsiteY756" fmla="*/ 8343 h 10000"/>
                <a:gd name="connsiteX757" fmla="*/ 927 w 10000"/>
                <a:gd name="connsiteY757" fmla="*/ 8380 h 10000"/>
                <a:gd name="connsiteX758" fmla="*/ 891 w 10000"/>
                <a:gd name="connsiteY758" fmla="*/ 8417 h 10000"/>
                <a:gd name="connsiteX759" fmla="*/ 874 w 10000"/>
                <a:gd name="connsiteY759" fmla="*/ 8436 h 10000"/>
                <a:gd name="connsiteX760" fmla="*/ 859 w 10000"/>
                <a:gd name="connsiteY760" fmla="*/ 8450 h 10000"/>
                <a:gd name="connsiteX761" fmla="*/ 838 w 10000"/>
                <a:gd name="connsiteY761" fmla="*/ 8462 h 10000"/>
                <a:gd name="connsiteX762" fmla="*/ 821 w 10000"/>
                <a:gd name="connsiteY762" fmla="*/ 8476 h 10000"/>
                <a:gd name="connsiteX763" fmla="*/ 742 w 10000"/>
                <a:gd name="connsiteY763" fmla="*/ 8562 h 10000"/>
                <a:gd name="connsiteX764" fmla="*/ 672 w 10000"/>
                <a:gd name="connsiteY764" fmla="*/ 8644 h 10000"/>
                <a:gd name="connsiteX765" fmla="*/ 639 w 10000"/>
                <a:gd name="connsiteY765" fmla="*/ 8684 h 10000"/>
                <a:gd name="connsiteX766" fmla="*/ 609 w 10000"/>
                <a:gd name="connsiteY766" fmla="*/ 8731 h 10000"/>
                <a:gd name="connsiteX767" fmla="*/ 583 w 10000"/>
                <a:gd name="connsiteY767" fmla="*/ 8777 h 10000"/>
                <a:gd name="connsiteX768" fmla="*/ 556 w 10000"/>
                <a:gd name="connsiteY768" fmla="*/ 8831 h 10000"/>
                <a:gd name="connsiteX769" fmla="*/ 545 w 10000"/>
                <a:gd name="connsiteY769" fmla="*/ 8852 h 10000"/>
                <a:gd name="connsiteX770" fmla="*/ 525 w 10000"/>
                <a:gd name="connsiteY770" fmla="*/ 8885 h 10000"/>
                <a:gd name="connsiteX771" fmla="*/ 503 w 10000"/>
                <a:gd name="connsiteY771" fmla="*/ 8925 h 10000"/>
                <a:gd name="connsiteX772" fmla="*/ 480 w 10000"/>
                <a:gd name="connsiteY772" fmla="*/ 8962 h 10000"/>
                <a:gd name="connsiteX773" fmla="*/ 465 w 10000"/>
                <a:gd name="connsiteY773" fmla="*/ 8981 h 10000"/>
                <a:gd name="connsiteX774" fmla="*/ 455 w 10000"/>
                <a:gd name="connsiteY774" fmla="*/ 8993 h 10000"/>
                <a:gd name="connsiteX775" fmla="*/ 444 w 10000"/>
                <a:gd name="connsiteY775" fmla="*/ 9000 h 10000"/>
                <a:gd name="connsiteX776" fmla="*/ 434 w 10000"/>
                <a:gd name="connsiteY776" fmla="*/ 9007 h 10000"/>
                <a:gd name="connsiteX777" fmla="*/ 432 w 10000"/>
                <a:gd name="connsiteY777" fmla="*/ 9007 h 10000"/>
                <a:gd name="connsiteX778" fmla="*/ 429 w 10000"/>
                <a:gd name="connsiteY778" fmla="*/ 9004 h 10000"/>
                <a:gd name="connsiteX779" fmla="*/ 427 w 10000"/>
                <a:gd name="connsiteY779" fmla="*/ 8997 h 10000"/>
                <a:gd name="connsiteX780" fmla="*/ 427 w 10000"/>
                <a:gd name="connsiteY780" fmla="*/ 8993 h 10000"/>
                <a:gd name="connsiteX781" fmla="*/ 424 w 10000"/>
                <a:gd name="connsiteY781" fmla="*/ 8976 h 10000"/>
                <a:gd name="connsiteX782" fmla="*/ 427 w 10000"/>
                <a:gd name="connsiteY782" fmla="*/ 8948 h 10000"/>
                <a:gd name="connsiteX783" fmla="*/ 437 w 10000"/>
                <a:gd name="connsiteY783" fmla="*/ 8913 h 10000"/>
                <a:gd name="connsiteX784" fmla="*/ 455 w 10000"/>
                <a:gd name="connsiteY784" fmla="*/ 8859 h 10000"/>
                <a:gd name="connsiteX785" fmla="*/ 462 w 10000"/>
                <a:gd name="connsiteY785" fmla="*/ 8834 h 10000"/>
                <a:gd name="connsiteX786" fmla="*/ 470 w 10000"/>
                <a:gd name="connsiteY786" fmla="*/ 8810 h 10000"/>
                <a:gd name="connsiteX787" fmla="*/ 472 w 10000"/>
                <a:gd name="connsiteY787" fmla="*/ 8794 h 10000"/>
                <a:gd name="connsiteX788" fmla="*/ 472 w 10000"/>
                <a:gd name="connsiteY788" fmla="*/ 8780 h 10000"/>
                <a:gd name="connsiteX789" fmla="*/ 462 w 10000"/>
                <a:gd name="connsiteY789" fmla="*/ 8784 h 10000"/>
                <a:gd name="connsiteX790" fmla="*/ 452 w 10000"/>
                <a:gd name="connsiteY790" fmla="*/ 8787 h 10000"/>
                <a:gd name="connsiteX791" fmla="*/ 437 w 10000"/>
                <a:gd name="connsiteY791" fmla="*/ 8794 h 10000"/>
                <a:gd name="connsiteX792" fmla="*/ 424 w 10000"/>
                <a:gd name="connsiteY792" fmla="*/ 8803 h 10000"/>
                <a:gd name="connsiteX793" fmla="*/ 394 w 10000"/>
                <a:gd name="connsiteY793" fmla="*/ 8829 h 10000"/>
                <a:gd name="connsiteX794" fmla="*/ 364 w 10000"/>
                <a:gd name="connsiteY794" fmla="*/ 8859 h 10000"/>
                <a:gd name="connsiteX795" fmla="*/ 311 w 10000"/>
                <a:gd name="connsiteY795" fmla="*/ 8922 h 10000"/>
                <a:gd name="connsiteX796" fmla="*/ 268 w 10000"/>
                <a:gd name="connsiteY796" fmla="*/ 8964 h 10000"/>
                <a:gd name="connsiteX797" fmla="*/ 205 w 10000"/>
                <a:gd name="connsiteY797" fmla="*/ 9016 h 10000"/>
                <a:gd name="connsiteX798" fmla="*/ 146 w 10000"/>
                <a:gd name="connsiteY798" fmla="*/ 9053 h 10000"/>
                <a:gd name="connsiteX799" fmla="*/ 139 w 10000"/>
                <a:gd name="connsiteY799" fmla="*/ 9063 h 10000"/>
                <a:gd name="connsiteX800" fmla="*/ 129 w 10000"/>
                <a:gd name="connsiteY800" fmla="*/ 9077 h 10000"/>
                <a:gd name="connsiteX801" fmla="*/ 126 w 10000"/>
                <a:gd name="connsiteY801" fmla="*/ 9086 h 10000"/>
                <a:gd name="connsiteX802" fmla="*/ 126 w 10000"/>
                <a:gd name="connsiteY802" fmla="*/ 9102 h 10000"/>
                <a:gd name="connsiteX803" fmla="*/ 129 w 10000"/>
                <a:gd name="connsiteY803" fmla="*/ 9116 h 10000"/>
                <a:gd name="connsiteX804" fmla="*/ 139 w 10000"/>
                <a:gd name="connsiteY804" fmla="*/ 9135 h 10000"/>
                <a:gd name="connsiteX805" fmla="*/ 149 w 10000"/>
                <a:gd name="connsiteY805" fmla="*/ 9151 h 10000"/>
                <a:gd name="connsiteX806" fmla="*/ 164 w 10000"/>
                <a:gd name="connsiteY806" fmla="*/ 9175 h 10000"/>
                <a:gd name="connsiteX807" fmla="*/ 184 w 10000"/>
                <a:gd name="connsiteY807" fmla="*/ 9196 h 10000"/>
                <a:gd name="connsiteX808" fmla="*/ 207 w 10000"/>
                <a:gd name="connsiteY808" fmla="*/ 9215 h 10000"/>
                <a:gd name="connsiteX809" fmla="*/ 227 w 10000"/>
                <a:gd name="connsiteY809" fmla="*/ 9233 h 10000"/>
                <a:gd name="connsiteX810" fmla="*/ 253 w 10000"/>
                <a:gd name="connsiteY810" fmla="*/ 9250 h 10000"/>
                <a:gd name="connsiteX811" fmla="*/ 303 w 10000"/>
                <a:gd name="connsiteY811" fmla="*/ 9282 h 10000"/>
                <a:gd name="connsiteX812" fmla="*/ 351 w 10000"/>
                <a:gd name="connsiteY812" fmla="*/ 9315 h 10000"/>
                <a:gd name="connsiteX813" fmla="*/ 414 w 10000"/>
                <a:gd name="connsiteY813" fmla="*/ 9364 h 10000"/>
                <a:gd name="connsiteX814" fmla="*/ 480 w 10000"/>
                <a:gd name="connsiteY814" fmla="*/ 9416 h 10000"/>
                <a:gd name="connsiteX815" fmla="*/ 513 w 10000"/>
                <a:gd name="connsiteY815" fmla="*/ 9437 h 10000"/>
                <a:gd name="connsiteX816" fmla="*/ 548 w 10000"/>
                <a:gd name="connsiteY816" fmla="*/ 9462 h 10000"/>
                <a:gd name="connsiteX817" fmla="*/ 581 w 10000"/>
                <a:gd name="connsiteY817" fmla="*/ 9483 h 10000"/>
                <a:gd name="connsiteX818" fmla="*/ 614 w 10000"/>
                <a:gd name="connsiteY818" fmla="*/ 9502 h 10000"/>
                <a:gd name="connsiteX819" fmla="*/ 641 w 10000"/>
                <a:gd name="connsiteY819" fmla="*/ 9525 h 10000"/>
                <a:gd name="connsiteX820" fmla="*/ 672 w 10000"/>
                <a:gd name="connsiteY820" fmla="*/ 9549 h 10000"/>
                <a:gd name="connsiteX821" fmla="*/ 702 w 10000"/>
                <a:gd name="connsiteY821" fmla="*/ 9568 h 10000"/>
                <a:gd name="connsiteX822" fmla="*/ 737 w 10000"/>
                <a:gd name="connsiteY822" fmla="*/ 9589 h 10000"/>
                <a:gd name="connsiteX823" fmla="*/ 770 w 10000"/>
                <a:gd name="connsiteY823" fmla="*/ 9605 h 10000"/>
                <a:gd name="connsiteX824" fmla="*/ 808 w 10000"/>
                <a:gd name="connsiteY824" fmla="*/ 9617 h 10000"/>
                <a:gd name="connsiteX825" fmla="*/ 843 w 10000"/>
                <a:gd name="connsiteY825" fmla="*/ 9624 h 10000"/>
                <a:gd name="connsiteX826" fmla="*/ 884 w 10000"/>
                <a:gd name="connsiteY826" fmla="*/ 9628 h 10000"/>
                <a:gd name="connsiteX827" fmla="*/ 902 w 10000"/>
                <a:gd name="connsiteY827" fmla="*/ 9628 h 10000"/>
                <a:gd name="connsiteX828" fmla="*/ 914 w 10000"/>
                <a:gd name="connsiteY828" fmla="*/ 9631 h 10000"/>
                <a:gd name="connsiteX829" fmla="*/ 932 w 10000"/>
                <a:gd name="connsiteY829" fmla="*/ 9638 h 10000"/>
                <a:gd name="connsiteX830" fmla="*/ 942 w 10000"/>
                <a:gd name="connsiteY830" fmla="*/ 9642 h 10000"/>
                <a:gd name="connsiteX831" fmla="*/ 967 w 10000"/>
                <a:gd name="connsiteY831" fmla="*/ 9652 h 10000"/>
                <a:gd name="connsiteX832" fmla="*/ 987 w 10000"/>
                <a:gd name="connsiteY832" fmla="*/ 9668 h 10000"/>
                <a:gd name="connsiteX833" fmla="*/ 1005 w 10000"/>
                <a:gd name="connsiteY833" fmla="*/ 9682 h 10000"/>
                <a:gd name="connsiteX834" fmla="*/ 1025 w 10000"/>
                <a:gd name="connsiteY834" fmla="*/ 9698 h 10000"/>
                <a:gd name="connsiteX835" fmla="*/ 1045 w 10000"/>
                <a:gd name="connsiteY835" fmla="*/ 9712 h 10000"/>
                <a:gd name="connsiteX836" fmla="*/ 1073 w 10000"/>
                <a:gd name="connsiteY836" fmla="*/ 9724 h 10000"/>
                <a:gd name="connsiteX837" fmla="*/ 1098 w 10000"/>
                <a:gd name="connsiteY837" fmla="*/ 9738 h 10000"/>
                <a:gd name="connsiteX838" fmla="*/ 1121 w 10000"/>
                <a:gd name="connsiteY838" fmla="*/ 9750 h 10000"/>
                <a:gd name="connsiteX839" fmla="*/ 1141 w 10000"/>
                <a:gd name="connsiteY839" fmla="*/ 9762 h 10000"/>
                <a:gd name="connsiteX840" fmla="*/ 1159 w 10000"/>
                <a:gd name="connsiteY840" fmla="*/ 9776 h 10000"/>
                <a:gd name="connsiteX841" fmla="*/ 1172 w 10000"/>
                <a:gd name="connsiteY841" fmla="*/ 9787 h 10000"/>
                <a:gd name="connsiteX842" fmla="*/ 1182 w 10000"/>
                <a:gd name="connsiteY842" fmla="*/ 9804 h 10000"/>
                <a:gd name="connsiteX843" fmla="*/ 1194 w 10000"/>
                <a:gd name="connsiteY843" fmla="*/ 9818 h 10000"/>
                <a:gd name="connsiteX844" fmla="*/ 1202 w 10000"/>
                <a:gd name="connsiteY844" fmla="*/ 9834 h 10000"/>
                <a:gd name="connsiteX845" fmla="*/ 1212 w 10000"/>
                <a:gd name="connsiteY845" fmla="*/ 9869 h 10000"/>
                <a:gd name="connsiteX846" fmla="*/ 1220 w 10000"/>
                <a:gd name="connsiteY846" fmla="*/ 9906 h 10000"/>
                <a:gd name="connsiteX847" fmla="*/ 1230 w 10000"/>
                <a:gd name="connsiteY847" fmla="*/ 9951 h 10000"/>
                <a:gd name="connsiteX848" fmla="*/ 1237 w 10000"/>
                <a:gd name="connsiteY848" fmla="*/ 10000 h 10000"/>
                <a:gd name="connsiteX849" fmla="*/ 1237 w 10000"/>
                <a:gd name="connsiteY84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36 w 10000"/>
                <a:gd name="connsiteY727" fmla="*/ 8291 h 10000"/>
                <a:gd name="connsiteX728" fmla="*/ 2124 w 10000"/>
                <a:gd name="connsiteY728" fmla="*/ 8319 h 10000"/>
                <a:gd name="connsiteX729" fmla="*/ 1990 w 10000"/>
                <a:gd name="connsiteY729" fmla="*/ 8422 h 10000"/>
                <a:gd name="connsiteX730" fmla="*/ 1904 w 10000"/>
                <a:gd name="connsiteY730" fmla="*/ 8481 h 10000"/>
                <a:gd name="connsiteX731" fmla="*/ 1856 w 10000"/>
                <a:gd name="connsiteY731" fmla="*/ 8506 h 10000"/>
                <a:gd name="connsiteX732" fmla="*/ 1816 w 10000"/>
                <a:gd name="connsiteY732" fmla="*/ 8527 h 10000"/>
                <a:gd name="connsiteX733" fmla="*/ 1793 w 10000"/>
                <a:gd name="connsiteY733" fmla="*/ 8539 h 10000"/>
                <a:gd name="connsiteX734" fmla="*/ 1775 w 10000"/>
                <a:gd name="connsiteY734" fmla="*/ 8546 h 10000"/>
                <a:gd name="connsiteX735" fmla="*/ 1758 w 10000"/>
                <a:gd name="connsiteY735" fmla="*/ 8548 h 10000"/>
                <a:gd name="connsiteX736" fmla="*/ 1742 w 10000"/>
                <a:gd name="connsiteY736" fmla="*/ 8551 h 10000"/>
                <a:gd name="connsiteX737" fmla="*/ 1727 w 10000"/>
                <a:gd name="connsiteY737" fmla="*/ 8537 h 10000"/>
                <a:gd name="connsiteX738" fmla="*/ 1717 w 10000"/>
                <a:gd name="connsiteY738" fmla="*/ 8518 h 10000"/>
                <a:gd name="connsiteX739" fmla="*/ 1684 w 10000"/>
                <a:gd name="connsiteY739" fmla="*/ 8429 h 10000"/>
                <a:gd name="connsiteX740" fmla="*/ 1525 w 10000"/>
                <a:gd name="connsiteY740" fmla="*/ 8186 h 10000"/>
                <a:gd name="connsiteX741" fmla="*/ 1500 w 10000"/>
                <a:gd name="connsiteY741" fmla="*/ 8191 h 10000"/>
                <a:gd name="connsiteX742" fmla="*/ 1472 w 10000"/>
                <a:gd name="connsiteY742" fmla="*/ 8198 h 10000"/>
                <a:gd name="connsiteX743" fmla="*/ 1434 w 10000"/>
                <a:gd name="connsiteY743" fmla="*/ 8223 h 10000"/>
                <a:gd name="connsiteX744" fmla="*/ 1149 w 10000"/>
                <a:gd name="connsiteY744" fmla="*/ 8256 h 10000"/>
                <a:gd name="connsiteX745" fmla="*/ 1139 w 10000"/>
                <a:gd name="connsiteY745" fmla="*/ 8249 h 10000"/>
                <a:gd name="connsiteX746" fmla="*/ 1126 w 10000"/>
                <a:gd name="connsiteY746" fmla="*/ 8240 h 10000"/>
                <a:gd name="connsiteX747" fmla="*/ 1114 w 10000"/>
                <a:gd name="connsiteY747" fmla="*/ 8240 h 10000"/>
                <a:gd name="connsiteX748" fmla="*/ 1091 w 10000"/>
                <a:gd name="connsiteY748" fmla="*/ 8242 h 10000"/>
                <a:gd name="connsiteX749" fmla="*/ 1071 w 10000"/>
                <a:gd name="connsiteY749" fmla="*/ 8252 h 10000"/>
                <a:gd name="connsiteX750" fmla="*/ 1048 w 10000"/>
                <a:gd name="connsiteY750" fmla="*/ 8261 h 10000"/>
                <a:gd name="connsiteX751" fmla="*/ 1030 w 10000"/>
                <a:gd name="connsiteY751" fmla="*/ 8273 h 10000"/>
                <a:gd name="connsiteX752" fmla="*/ 1010 w 10000"/>
                <a:gd name="connsiteY752" fmla="*/ 8287 h 10000"/>
                <a:gd name="connsiteX753" fmla="*/ 995 w 10000"/>
                <a:gd name="connsiteY753" fmla="*/ 8303 h 10000"/>
                <a:gd name="connsiteX754" fmla="*/ 975 w 10000"/>
                <a:gd name="connsiteY754" fmla="*/ 8322 h 10000"/>
                <a:gd name="connsiteX755" fmla="*/ 960 w 10000"/>
                <a:gd name="connsiteY755" fmla="*/ 8343 h 10000"/>
                <a:gd name="connsiteX756" fmla="*/ 927 w 10000"/>
                <a:gd name="connsiteY756" fmla="*/ 8380 h 10000"/>
                <a:gd name="connsiteX757" fmla="*/ 891 w 10000"/>
                <a:gd name="connsiteY757" fmla="*/ 8417 h 10000"/>
                <a:gd name="connsiteX758" fmla="*/ 874 w 10000"/>
                <a:gd name="connsiteY758" fmla="*/ 8436 h 10000"/>
                <a:gd name="connsiteX759" fmla="*/ 859 w 10000"/>
                <a:gd name="connsiteY759" fmla="*/ 8450 h 10000"/>
                <a:gd name="connsiteX760" fmla="*/ 838 w 10000"/>
                <a:gd name="connsiteY760" fmla="*/ 8462 h 10000"/>
                <a:gd name="connsiteX761" fmla="*/ 821 w 10000"/>
                <a:gd name="connsiteY761" fmla="*/ 8476 h 10000"/>
                <a:gd name="connsiteX762" fmla="*/ 742 w 10000"/>
                <a:gd name="connsiteY762" fmla="*/ 8562 h 10000"/>
                <a:gd name="connsiteX763" fmla="*/ 672 w 10000"/>
                <a:gd name="connsiteY763" fmla="*/ 8644 h 10000"/>
                <a:gd name="connsiteX764" fmla="*/ 639 w 10000"/>
                <a:gd name="connsiteY764" fmla="*/ 8684 h 10000"/>
                <a:gd name="connsiteX765" fmla="*/ 609 w 10000"/>
                <a:gd name="connsiteY765" fmla="*/ 8731 h 10000"/>
                <a:gd name="connsiteX766" fmla="*/ 583 w 10000"/>
                <a:gd name="connsiteY766" fmla="*/ 8777 h 10000"/>
                <a:gd name="connsiteX767" fmla="*/ 556 w 10000"/>
                <a:gd name="connsiteY767" fmla="*/ 8831 h 10000"/>
                <a:gd name="connsiteX768" fmla="*/ 545 w 10000"/>
                <a:gd name="connsiteY768" fmla="*/ 8852 h 10000"/>
                <a:gd name="connsiteX769" fmla="*/ 525 w 10000"/>
                <a:gd name="connsiteY769" fmla="*/ 8885 h 10000"/>
                <a:gd name="connsiteX770" fmla="*/ 503 w 10000"/>
                <a:gd name="connsiteY770" fmla="*/ 8925 h 10000"/>
                <a:gd name="connsiteX771" fmla="*/ 480 w 10000"/>
                <a:gd name="connsiteY771" fmla="*/ 8962 h 10000"/>
                <a:gd name="connsiteX772" fmla="*/ 465 w 10000"/>
                <a:gd name="connsiteY772" fmla="*/ 8981 h 10000"/>
                <a:gd name="connsiteX773" fmla="*/ 455 w 10000"/>
                <a:gd name="connsiteY773" fmla="*/ 8993 h 10000"/>
                <a:gd name="connsiteX774" fmla="*/ 444 w 10000"/>
                <a:gd name="connsiteY774" fmla="*/ 9000 h 10000"/>
                <a:gd name="connsiteX775" fmla="*/ 434 w 10000"/>
                <a:gd name="connsiteY775" fmla="*/ 9007 h 10000"/>
                <a:gd name="connsiteX776" fmla="*/ 432 w 10000"/>
                <a:gd name="connsiteY776" fmla="*/ 9007 h 10000"/>
                <a:gd name="connsiteX777" fmla="*/ 429 w 10000"/>
                <a:gd name="connsiteY777" fmla="*/ 9004 h 10000"/>
                <a:gd name="connsiteX778" fmla="*/ 427 w 10000"/>
                <a:gd name="connsiteY778" fmla="*/ 8997 h 10000"/>
                <a:gd name="connsiteX779" fmla="*/ 427 w 10000"/>
                <a:gd name="connsiteY779" fmla="*/ 8993 h 10000"/>
                <a:gd name="connsiteX780" fmla="*/ 424 w 10000"/>
                <a:gd name="connsiteY780" fmla="*/ 8976 h 10000"/>
                <a:gd name="connsiteX781" fmla="*/ 427 w 10000"/>
                <a:gd name="connsiteY781" fmla="*/ 8948 h 10000"/>
                <a:gd name="connsiteX782" fmla="*/ 437 w 10000"/>
                <a:gd name="connsiteY782" fmla="*/ 8913 h 10000"/>
                <a:gd name="connsiteX783" fmla="*/ 455 w 10000"/>
                <a:gd name="connsiteY783" fmla="*/ 8859 h 10000"/>
                <a:gd name="connsiteX784" fmla="*/ 462 w 10000"/>
                <a:gd name="connsiteY784" fmla="*/ 8834 h 10000"/>
                <a:gd name="connsiteX785" fmla="*/ 470 w 10000"/>
                <a:gd name="connsiteY785" fmla="*/ 8810 h 10000"/>
                <a:gd name="connsiteX786" fmla="*/ 472 w 10000"/>
                <a:gd name="connsiteY786" fmla="*/ 8794 h 10000"/>
                <a:gd name="connsiteX787" fmla="*/ 472 w 10000"/>
                <a:gd name="connsiteY787" fmla="*/ 8780 h 10000"/>
                <a:gd name="connsiteX788" fmla="*/ 462 w 10000"/>
                <a:gd name="connsiteY788" fmla="*/ 8784 h 10000"/>
                <a:gd name="connsiteX789" fmla="*/ 452 w 10000"/>
                <a:gd name="connsiteY789" fmla="*/ 8787 h 10000"/>
                <a:gd name="connsiteX790" fmla="*/ 437 w 10000"/>
                <a:gd name="connsiteY790" fmla="*/ 8794 h 10000"/>
                <a:gd name="connsiteX791" fmla="*/ 424 w 10000"/>
                <a:gd name="connsiteY791" fmla="*/ 8803 h 10000"/>
                <a:gd name="connsiteX792" fmla="*/ 394 w 10000"/>
                <a:gd name="connsiteY792" fmla="*/ 8829 h 10000"/>
                <a:gd name="connsiteX793" fmla="*/ 364 w 10000"/>
                <a:gd name="connsiteY793" fmla="*/ 8859 h 10000"/>
                <a:gd name="connsiteX794" fmla="*/ 311 w 10000"/>
                <a:gd name="connsiteY794" fmla="*/ 8922 h 10000"/>
                <a:gd name="connsiteX795" fmla="*/ 268 w 10000"/>
                <a:gd name="connsiteY795" fmla="*/ 8964 h 10000"/>
                <a:gd name="connsiteX796" fmla="*/ 205 w 10000"/>
                <a:gd name="connsiteY796" fmla="*/ 9016 h 10000"/>
                <a:gd name="connsiteX797" fmla="*/ 146 w 10000"/>
                <a:gd name="connsiteY797" fmla="*/ 9053 h 10000"/>
                <a:gd name="connsiteX798" fmla="*/ 139 w 10000"/>
                <a:gd name="connsiteY798" fmla="*/ 9063 h 10000"/>
                <a:gd name="connsiteX799" fmla="*/ 129 w 10000"/>
                <a:gd name="connsiteY799" fmla="*/ 9077 h 10000"/>
                <a:gd name="connsiteX800" fmla="*/ 126 w 10000"/>
                <a:gd name="connsiteY800" fmla="*/ 9086 h 10000"/>
                <a:gd name="connsiteX801" fmla="*/ 126 w 10000"/>
                <a:gd name="connsiteY801" fmla="*/ 9102 h 10000"/>
                <a:gd name="connsiteX802" fmla="*/ 129 w 10000"/>
                <a:gd name="connsiteY802" fmla="*/ 9116 h 10000"/>
                <a:gd name="connsiteX803" fmla="*/ 139 w 10000"/>
                <a:gd name="connsiteY803" fmla="*/ 9135 h 10000"/>
                <a:gd name="connsiteX804" fmla="*/ 149 w 10000"/>
                <a:gd name="connsiteY804" fmla="*/ 9151 h 10000"/>
                <a:gd name="connsiteX805" fmla="*/ 164 w 10000"/>
                <a:gd name="connsiteY805" fmla="*/ 9175 h 10000"/>
                <a:gd name="connsiteX806" fmla="*/ 184 w 10000"/>
                <a:gd name="connsiteY806" fmla="*/ 9196 h 10000"/>
                <a:gd name="connsiteX807" fmla="*/ 207 w 10000"/>
                <a:gd name="connsiteY807" fmla="*/ 9215 h 10000"/>
                <a:gd name="connsiteX808" fmla="*/ 227 w 10000"/>
                <a:gd name="connsiteY808" fmla="*/ 9233 h 10000"/>
                <a:gd name="connsiteX809" fmla="*/ 253 w 10000"/>
                <a:gd name="connsiteY809" fmla="*/ 9250 h 10000"/>
                <a:gd name="connsiteX810" fmla="*/ 303 w 10000"/>
                <a:gd name="connsiteY810" fmla="*/ 9282 h 10000"/>
                <a:gd name="connsiteX811" fmla="*/ 351 w 10000"/>
                <a:gd name="connsiteY811" fmla="*/ 9315 h 10000"/>
                <a:gd name="connsiteX812" fmla="*/ 414 w 10000"/>
                <a:gd name="connsiteY812" fmla="*/ 9364 h 10000"/>
                <a:gd name="connsiteX813" fmla="*/ 480 w 10000"/>
                <a:gd name="connsiteY813" fmla="*/ 9416 h 10000"/>
                <a:gd name="connsiteX814" fmla="*/ 513 w 10000"/>
                <a:gd name="connsiteY814" fmla="*/ 9437 h 10000"/>
                <a:gd name="connsiteX815" fmla="*/ 548 w 10000"/>
                <a:gd name="connsiteY815" fmla="*/ 9462 h 10000"/>
                <a:gd name="connsiteX816" fmla="*/ 581 w 10000"/>
                <a:gd name="connsiteY816" fmla="*/ 9483 h 10000"/>
                <a:gd name="connsiteX817" fmla="*/ 614 w 10000"/>
                <a:gd name="connsiteY817" fmla="*/ 9502 h 10000"/>
                <a:gd name="connsiteX818" fmla="*/ 641 w 10000"/>
                <a:gd name="connsiteY818" fmla="*/ 9525 h 10000"/>
                <a:gd name="connsiteX819" fmla="*/ 672 w 10000"/>
                <a:gd name="connsiteY819" fmla="*/ 9549 h 10000"/>
                <a:gd name="connsiteX820" fmla="*/ 702 w 10000"/>
                <a:gd name="connsiteY820" fmla="*/ 9568 h 10000"/>
                <a:gd name="connsiteX821" fmla="*/ 737 w 10000"/>
                <a:gd name="connsiteY821" fmla="*/ 9589 h 10000"/>
                <a:gd name="connsiteX822" fmla="*/ 770 w 10000"/>
                <a:gd name="connsiteY822" fmla="*/ 9605 h 10000"/>
                <a:gd name="connsiteX823" fmla="*/ 808 w 10000"/>
                <a:gd name="connsiteY823" fmla="*/ 9617 h 10000"/>
                <a:gd name="connsiteX824" fmla="*/ 843 w 10000"/>
                <a:gd name="connsiteY824" fmla="*/ 9624 h 10000"/>
                <a:gd name="connsiteX825" fmla="*/ 884 w 10000"/>
                <a:gd name="connsiteY825" fmla="*/ 9628 h 10000"/>
                <a:gd name="connsiteX826" fmla="*/ 902 w 10000"/>
                <a:gd name="connsiteY826" fmla="*/ 9628 h 10000"/>
                <a:gd name="connsiteX827" fmla="*/ 914 w 10000"/>
                <a:gd name="connsiteY827" fmla="*/ 9631 h 10000"/>
                <a:gd name="connsiteX828" fmla="*/ 932 w 10000"/>
                <a:gd name="connsiteY828" fmla="*/ 9638 h 10000"/>
                <a:gd name="connsiteX829" fmla="*/ 942 w 10000"/>
                <a:gd name="connsiteY829" fmla="*/ 9642 h 10000"/>
                <a:gd name="connsiteX830" fmla="*/ 967 w 10000"/>
                <a:gd name="connsiteY830" fmla="*/ 9652 h 10000"/>
                <a:gd name="connsiteX831" fmla="*/ 987 w 10000"/>
                <a:gd name="connsiteY831" fmla="*/ 9668 h 10000"/>
                <a:gd name="connsiteX832" fmla="*/ 1005 w 10000"/>
                <a:gd name="connsiteY832" fmla="*/ 9682 h 10000"/>
                <a:gd name="connsiteX833" fmla="*/ 1025 w 10000"/>
                <a:gd name="connsiteY833" fmla="*/ 9698 h 10000"/>
                <a:gd name="connsiteX834" fmla="*/ 1045 w 10000"/>
                <a:gd name="connsiteY834" fmla="*/ 9712 h 10000"/>
                <a:gd name="connsiteX835" fmla="*/ 1073 w 10000"/>
                <a:gd name="connsiteY835" fmla="*/ 9724 h 10000"/>
                <a:gd name="connsiteX836" fmla="*/ 1098 w 10000"/>
                <a:gd name="connsiteY836" fmla="*/ 9738 h 10000"/>
                <a:gd name="connsiteX837" fmla="*/ 1121 w 10000"/>
                <a:gd name="connsiteY837" fmla="*/ 9750 h 10000"/>
                <a:gd name="connsiteX838" fmla="*/ 1141 w 10000"/>
                <a:gd name="connsiteY838" fmla="*/ 9762 h 10000"/>
                <a:gd name="connsiteX839" fmla="*/ 1159 w 10000"/>
                <a:gd name="connsiteY839" fmla="*/ 9776 h 10000"/>
                <a:gd name="connsiteX840" fmla="*/ 1172 w 10000"/>
                <a:gd name="connsiteY840" fmla="*/ 9787 h 10000"/>
                <a:gd name="connsiteX841" fmla="*/ 1182 w 10000"/>
                <a:gd name="connsiteY841" fmla="*/ 9804 h 10000"/>
                <a:gd name="connsiteX842" fmla="*/ 1194 w 10000"/>
                <a:gd name="connsiteY842" fmla="*/ 9818 h 10000"/>
                <a:gd name="connsiteX843" fmla="*/ 1202 w 10000"/>
                <a:gd name="connsiteY843" fmla="*/ 9834 h 10000"/>
                <a:gd name="connsiteX844" fmla="*/ 1212 w 10000"/>
                <a:gd name="connsiteY844" fmla="*/ 9869 h 10000"/>
                <a:gd name="connsiteX845" fmla="*/ 1220 w 10000"/>
                <a:gd name="connsiteY845" fmla="*/ 9906 h 10000"/>
                <a:gd name="connsiteX846" fmla="*/ 1230 w 10000"/>
                <a:gd name="connsiteY846" fmla="*/ 9951 h 10000"/>
                <a:gd name="connsiteX847" fmla="*/ 1237 w 10000"/>
                <a:gd name="connsiteY847" fmla="*/ 10000 h 10000"/>
                <a:gd name="connsiteX848" fmla="*/ 1237 w 10000"/>
                <a:gd name="connsiteY84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2136 w 10000"/>
                <a:gd name="connsiteY727" fmla="*/ 8291 h 10000"/>
                <a:gd name="connsiteX728" fmla="*/ 1990 w 10000"/>
                <a:gd name="connsiteY728" fmla="*/ 8422 h 10000"/>
                <a:gd name="connsiteX729" fmla="*/ 1904 w 10000"/>
                <a:gd name="connsiteY729" fmla="*/ 8481 h 10000"/>
                <a:gd name="connsiteX730" fmla="*/ 1856 w 10000"/>
                <a:gd name="connsiteY730" fmla="*/ 8506 h 10000"/>
                <a:gd name="connsiteX731" fmla="*/ 1816 w 10000"/>
                <a:gd name="connsiteY731" fmla="*/ 8527 h 10000"/>
                <a:gd name="connsiteX732" fmla="*/ 1793 w 10000"/>
                <a:gd name="connsiteY732" fmla="*/ 8539 h 10000"/>
                <a:gd name="connsiteX733" fmla="*/ 1775 w 10000"/>
                <a:gd name="connsiteY733" fmla="*/ 8546 h 10000"/>
                <a:gd name="connsiteX734" fmla="*/ 1758 w 10000"/>
                <a:gd name="connsiteY734" fmla="*/ 8548 h 10000"/>
                <a:gd name="connsiteX735" fmla="*/ 1742 w 10000"/>
                <a:gd name="connsiteY735" fmla="*/ 8551 h 10000"/>
                <a:gd name="connsiteX736" fmla="*/ 1727 w 10000"/>
                <a:gd name="connsiteY736" fmla="*/ 8537 h 10000"/>
                <a:gd name="connsiteX737" fmla="*/ 1717 w 10000"/>
                <a:gd name="connsiteY737" fmla="*/ 8518 h 10000"/>
                <a:gd name="connsiteX738" fmla="*/ 1684 w 10000"/>
                <a:gd name="connsiteY738" fmla="*/ 8429 h 10000"/>
                <a:gd name="connsiteX739" fmla="*/ 1525 w 10000"/>
                <a:gd name="connsiteY739" fmla="*/ 8186 h 10000"/>
                <a:gd name="connsiteX740" fmla="*/ 1500 w 10000"/>
                <a:gd name="connsiteY740" fmla="*/ 8191 h 10000"/>
                <a:gd name="connsiteX741" fmla="*/ 1472 w 10000"/>
                <a:gd name="connsiteY741" fmla="*/ 8198 h 10000"/>
                <a:gd name="connsiteX742" fmla="*/ 1434 w 10000"/>
                <a:gd name="connsiteY742" fmla="*/ 8223 h 10000"/>
                <a:gd name="connsiteX743" fmla="*/ 1149 w 10000"/>
                <a:gd name="connsiteY743" fmla="*/ 8256 h 10000"/>
                <a:gd name="connsiteX744" fmla="*/ 1139 w 10000"/>
                <a:gd name="connsiteY744" fmla="*/ 8249 h 10000"/>
                <a:gd name="connsiteX745" fmla="*/ 1126 w 10000"/>
                <a:gd name="connsiteY745" fmla="*/ 8240 h 10000"/>
                <a:gd name="connsiteX746" fmla="*/ 1114 w 10000"/>
                <a:gd name="connsiteY746" fmla="*/ 8240 h 10000"/>
                <a:gd name="connsiteX747" fmla="*/ 1091 w 10000"/>
                <a:gd name="connsiteY747" fmla="*/ 8242 h 10000"/>
                <a:gd name="connsiteX748" fmla="*/ 1071 w 10000"/>
                <a:gd name="connsiteY748" fmla="*/ 8252 h 10000"/>
                <a:gd name="connsiteX749" fmla="*/ 1048 w 10000"/>
                <a:gd name="connsiteY749" fmla="*/ 8261 h 10000"/>
                <a:gd name="connsiteX750" fmla="*/ 1030 w 10000"/>
                <a:gd name="connsiteY750" fmla="*/ 8273 h 10000"/>
                <a:gd name="connsiteX751" fmla="*/ 1010 w 10000"/>
                <a:gd name="connsiteY751" fmla="*/ 8287 h 10000"/>
                <a:gd name="connsiteX752" fmla="*/ 995 w 10000"/>
                <a:gd name="connsiteY752" fmla="*/ 8303 h 10000"/>
                <a:gd name="connsiteX753" fmla="*/ 975 w 10000"/>
                <a:gd name="connsiteY753" fmla="*/ 8322 h 10000"/>
                <a:gd name="connsiteX754" fmla="*/ 960 w 10000"/>
                <a:gd name="connsiteY754" fmla="*/ 8343 h 10000"/>
                <a:gd name="connsiteX755" fmla="*/ 927 w 10000"/>
                <a:gd name="connsiteY755" fmla="*/ 8380 h 10000"/>
                <a:gd name="connsiteX756" fmla="*/ 891 w 10000"/>
                <a:gd name="connsiteY756" fmla="*/ 8417 h 10000"/>
                <a:gd name="connsiteX757" fmla="*/ 874 w 10000"/>
                <a:gd name="connsiteY757" fmla="*/ 8436 h 10000"/>
                <a:gd name="connsiteX758" fmla="*/ 859 w 10000"/>
                <a:gd name="connsiteY758" fmla="*/ 8450 h 10000"/>
                <a:gd name="connsiteX759" fmla="*/ 838 w 10000"/>
                <a:gd name="connsiteY759" fmla="*/ 8462 h 10000"/>
                <a:gd name="connsiteX760" fmla="*/ 821 w 10000"/>
                <a:gd name="connsiteY760" fmla="*/ 8476 h 10000"/>
                <a:gd name="connsiteX761" fmla="*/ 742 w 10000"/>
                <a:gd name="connsiteY761" fmla="*/ 8562 h 10000"/>
                <a:gd name="connsiteX762" fmla="*/ 672 w 10000"/>
                <a:gd name="connsiteY762" fmla="*/ 8644 h 10000"/>
                <a:gd name="connsiteX763" fmla="*/ 639 w 10000"/>
                <a:gd name="connsiteY763" fmla="*/ 8684 h 10000"/>
                <a:gd name="connsiteX764" fmla="*/ 609 w 10000"/>
                <a:gd name="connsiteY764" fmla="*/ 8731 h 10000"/>
                <a:gd name="connsiteX765" fmla="*/ 583 w 10000"/>
                <a:gd name="connsiteY765" fmla="*/ 8777 h 10000"/>
                <a:gd name="connsiteX766" fmla="*/ 556 w 10000"/>
                <a:gd name="connsiteY766" fmla="*/ 8831 h 10000"/>
                <a:gd name="connsiteX767" fmla="*/ 545 w 10000"/>
                <a:gd name="connsiteY767" fmla="*/ 8852 h 10000"/>
                <a:gd name="connsiteX768" fmla="*/ 525 w 10000"/>
                <a:gd name="connsiteY768" fmla="*/ 8885 h 10000"/>
                <a:gd name="connsiteX769" fmla="*/ 503 w 10000"/>
                <a:gd name="connsiteY769" fmla="*/ 8925 h 10000"/>
                <a:gd name="connsiteX770" fmla="*/ 480 w 10000"/>
                <a:gd name="connsiteY770" fmla="*/ 8962 h 10000"/>
                <a:gd name="connsiteX771" fmla="*/ 465 w 10000"/>
                <a:gd name="connsiteY771" fmla="*/ 8981 h 10000"/>
                <a:gd name="connsiteX772" fmla="*/ 455 w 10000"/>
                <a:gd name="connsiteY772" fmla="*/ 8993 h 10000"/>
                <a:gd name="connsiteX773" fmla="*/ 444 w 10000"/>
                <a:gd name="connsiteY773" fmla="*/ 9000 h 10000"/>
                <a:gd name="connsiteX774" fmla="*/ 434 w 10000"/>
                <a:gd name="connsiteY774" fmla="*/ 9007 h 10000"/>
                <a:gd name="connsiteX775" fmla="*/ 432 w 10000"/>
                <a:gd name="connsiteY775" fmla="*/ 9007 h 10000"/>
                <a:gd name="connsiteX776" fmla="*/ 429 w 10000"/>
                <a:gd name="connsiteY776" fmla="*/ 9004 h 10000"/>
                <a:gd name="connsiteX777" fmla="*/ 427 w 10000"/>
                <a:gd name="connsiteY777" fmla="*/ 8997 h 10000"/>
                <a:gd name="connsiteX778" fmla="*/ 427 w 10000"/>
                <a:gd name="connsiteY778" fmla="*/ 8993 h 10000"/>
                <a:gd name="connsiteX779" fmla="*/ 424 w 10000"/>
                <a:gd name="connsiteY779" fmla="*/ 8976 h 10000"/>
                <a:gd name="connsiteX780" fmla="*/ 427 w 10000"/>
                <a:gd name="connsiteY780" fmla="*/ 8948 h 10000"/>
                <a:gd name="connsiteX781" fmla="*/ 437 w 10000"/>
                <a:gd name="connsiteY781" fmla="*/ 8913 h 10000"/>
                <a:gd name="connsiteX782" fmla="*/ 455 w 10000"/>
                <a:gd name="connsiteY782" fmla="*/ 8859 h 10000"/>
                <a:gd name="connsiteX783" fmla="*/ 462 w 10000"/>
                <a:gd name="connsiteY783" fmla="*/ 8834 h 10000"/>
                <a:gd name="connsiteX784" fmla="*/ 470 w 10000"/>
                <a:gd name="connsiteY784" fmla="*/ 8810 h 10000"/>
                <a:gd name="connsiteX785" fmla="*/ 472 w 10000"/>
                <a:gd name="connsiteY785" fmla="*/ 8794 h 10000"/>
                <a:gd name="connsiteX786" fmla="*/ 472 w 10000"/>
                <a:gd name="connsiteY786" fmla="*/ 8780 h 10000"/>
                <a:gd name="connsiteX787" fmla="*/ 462 w 10000"/>
                <a:gd name="connsiteY787" fmla="*/ 8784 h 10000"/>
                <a:gd name="connsiteX788" fmla="*/ 452 w 10000"/>
                <a:gd name="connsiteY788" fmla="*/ 8787 h 10000"/>
                <a:gd name="connsiteX789" fmla="*/ 437 w 10000"/>
                <a:gd name="connsiteY789" fmla="*/ 8794 h 10000"/>
                <a:gd name="connsiteX790" fmla="*/ 424 w 10000"/>
                <a:gd name="connsiteY790" fmla="*/ 8803 h 10000"/>
                <a:gd name="connsiteX791" fmla="*/ 394 w 10000"/>
                <a:gd name="connsiteY791" fmla="*/ 8829 h 10000"/>
                <a:gd name="connsiteX792" fmla="*/ 364 w 10000"/>
                <a:gd name="connsiteY792" fmla="*/ 8859 h 10000"/>
                <a:gd name="connsiteX793" fmla="*/ 311 w 10000"/>
                <a:gd name="connsiteY793" fmla="*/ 8922 h 10000"/>
                <a:gd name="connsiteX794" fmla="*/ 268 w 10000"/>
                <a:gd name="connsiteY794" fmla="*/ 8964 h 10000"/>
                <a:gd name="connsiteX795" fmla="*/ 205 w 10000"/>
                <a:gd name="connsiteY795" fmla="*/ 9016 h 10000"/>
                <a:gd name="connsiteX796" fmla="*/ 146 w 10000"/>
                <a:gd name="connsiteY796" fmla="*/ 9053 h 10000"/>
                <a:gd name="connsiteX797" fmla="*/ 139 w 10000"/>
                <a:gd name="connsiteY797" fmla="*/ 9063 h 10000"/>
                <a:gd name="connsiteX798" fmla="*/ 129 w 10000"/>
                <a:gd name="connsiteY798" fmla="*/ 9077 h 10000"/>
                <a:gd name="connsiteX799" fmla="*/ 126 w 10000"/>
                <a:gd name="connsiteY799" fmla="*/ 9086 h 10000"/>
                <a:gd name="connsiteX800" fmla="*/ 126 w 10000"/>
                <a:gd name="connsiteY800" fmla="*/ 9102 h 10000"/>
                <a:gd name="connsiteX801" fmla="*/ 129 w 10000"/>
                <a:gd name="connsiteY801" fmla="*/ 9116 h 10000"/>
                <a:gd name="connsiteX802" fmla="*/ 139 w 10000"/>
                <a:gd name="connsiteY802" fmla="*/ 9135 h 10000"/>
                <a:gd name="connsiteX803" fmla="*/ 149 w 10000"/>
                <a:gd name="connsiteY803" fmla="*/ 9151 h 10000"/>
                <a:gd name="connsiteX804" fmla="*/ 164 w 10000"/>
                <a:gd name="connsiteY804" fmla="*/ 9175 h 10000"/>
                <a:gd name="connsiteX805" fmla="*/ 184 w 10000"/>
                <a:gd name="connsiteY805" fmla="*/ 9196 h 10000"/>
                <a:gd name="connsiteX806" fmla="*/ 207 w 10000"/>
                <a:gd name="connsiteY806" fmla="*/ 9215 h 10000"/>
                <a:gd name="connsiteX807" fmla="*/ 227 w 10000"/>
                <a:gd name="connsiteY807" fmla="*/ 9233 h 10000"/>
                <a:gd name="connsiteX808" fmla="*/ 253 w 10000"/>
                <a:gd name="connsiteY808" fmla="*/ 9250 h 10000"/>
                <a:gd name="connsiteX809" fmla="*/ 303 w 10000"/>
                <a:gd name="connsiteY809" fmla="*/ 9282 h 10000"/>
                <a:gd name="connsiteX810" fmla="*/ 351 w 10000"/>
                <a:gd name="connsiteY810" fmla="*/ 9315 h 10000"/>
                <a:gd name="connsiteX811" fmla="*/ 414 w 10000"/>
                <a:gd name="connsiteY811" fmla="*/ 9364 h 10000"/>
                <a:gd name="connsiteX812" fmla="*/ 480 w 10000"/>
                <a:gd name="connsiteY812" fmla="*/ 9416 h 10000"/>
                <a:gd name="connsiteX813" fmla="*/ 513 w 10000"/>
                <a:gd name="connsiteY813" fmla="*/ 9437 h 10000"/>
                <a:gd name="connsiteX814" fmla="*/ 548 w 10000"/>
                <a:gd name="connsiteY814" fmla="*/ 9462 h 10000"/>
                <a:gd name="connsiteX815" fmla="*/ 581 w 10000"/>
                <a:gd name="connsiteY815" fmla="*/ 9483 h 10000"/>
                <a:gd name="connsiteX816" fmla="*/ 614 w 10000"/>
                <a:gd name="connsiteY816" fmla="*/ 9502 h 10000"/>
                <a:gd name="connsiteX817" fmla="*/ 641 w 10000"/>
                <a:gd name="connsiteY817" fmla="*/ 9525 h 10000"/>
                <a:gd name="connsiteX818" fmla="*/ 672 w 10000"/>
                <a:gd name="connsiteY818" fmla="*/ 9549 h 10000"/>
                <a:gd name="connsiteX819" fmla="*/ 702 w 10000"/>
                <a:gd name="connsiteY819" fmla="*/ 9568 h 10000"/>
                <a:gd name="connsiteX820" fmla="*/ 737 w 10000"/>
                <a:gd name="connsiteY820" fmla="*/ 9589 h 10000"/>
                <a:gd name="connsiteX821" fmla="*/ 770 w 10000"/>
                <a:gd name="connsiteY821" fmla="*/ 9605 h 10000"/>
                <a:gd name="connsiteX822" fmla="*/ 808 w 10000"/>
                <a:gd name="connsiteY822" fmla="*/ 9617 h 10000"/>
                <a:gd name="connsiteX823" fmla="*/ 843 w 10000"/>
                <a:gd name="connsiteY823" fmla="*/ 9624 h 10000"/>
                <a:gd name="connsiteX824" fmla="*/ 884 w 10000"/>
                <a:gd name="connsiteY824" fmla="*/ 9628 h 10000"/>
                <a:gd name="connsiteX825" fmla="*/ 902 w 10000"/>
                <a:gd name="connsiteY825" fmla="*/ 9628 h 10000"/>
                <a:gd name="connsiteX826" fmla="*/ 914 w 10000"/>
                <a:gd name="connsiteY826" fmla="*/ 9631 h 10000"/>
                <a:gd name="connsiteX827" fmla="*/ 932 w 10000"/>
                <a:gd name="connsiteY827" fmla="*/ 9638 h 10000"/>
                <a:gd name="connsiteX828" fmla="*/ 942 w 10000"/>
                <a:gd name="connsiteY828" fmla="*/ 9642 h 10000"/>
                <a:gd name="connsiteX829" fmla="*/ 967 w 10000"/>
                <a:gd name="connsiteY829" fmla="*/ 9652 h 10000"/>
                <a:gd name="connsiteX830" fmla="*/ 987 w 10000"/>
                <a:gd name="connsiteY830" fmla="*/ 9668 h 10000"/>
                <a:gd name="connsiteX831" fmla="*/ 1005 w 10000"/>
                <a:gd name="connsiteY831" fmla="*/ 9682 h 10000"/>
                <a:gd name="connsiteX832" fmla="*/ 1025 w 10000"/>
                <a:gd name="connsiteY832" fmla="*/ 9698 h 10000"/>
                <a:gd name="connsiteX833" fmla="*/ 1045 w 10000"/>
                <a:gd name="connsiteY833" fmla="*/ 9712 h 10000"/>
                <a:gd name="connsiteX834" fmla="*/ 1073 w 10000"/>
                <a:gd name="connsiteY834" fmla="*/ 9724 h 10000"/>
                <a:gd name="connsiteX835" fmla="*/ 1098 w 10000"/>
                <a:gd name="connsiteY835" fmla="*/ 9738 h 10000"/>
                <a:gd name="connsiteX836" fmla="*/ 1121 w 10000"/>
                <a:gd name="connsiteY836" fmla="*/ 9750 h 10000"/>
                <a:gd name="connsiteX837" fmla="*/ 1141 w 10000"/>
                <a:gd name="connsiteY837" fmla="*/ 9762 h 10000"/>
                <a:gd name="connsiteX838" fmla="*/ 1159 w 10000"/>
                <a:gd name="connsiteY838" fmla="*/ 9776 h 10000"/>
                <a:gd name="connsiteX839" fmla="*/ 1172 w 10000"/>
                <a:gd name="connsiteY839" fmla="*/ 9787 h 10000"/>
                <a:gd name="connsiteX840" fmla="*/ 1182 w 10000"/>
                <a:gd name="connsiteY840" fmla="*/ 9804 h 10000"/>
                <a:gd name="connsiteX841" fmla="*/ 1194 w 10000"/>
                <a:gd name="connsiteY841" fmla="*/ 9818 h 10000"/>
                <a:gd name="connsiteX842" fmla="*/ 1202 w 10000"/>
                <a:gd name="connsiteY842" fmla="*/ 9834 h 10000"/>
                <a:gd name="connsiteX843" fmla="*/ 1212 w 10000"/>
                <a:gd name="connsiteY843" fmla="*/ 9869 h 10000"/>
                <a:gd name="connsiteX844" fmla="*/ 1220 w 10000"/>
                <a:gd name="connsiteY844" fmla="*/ 9906 h 10000"/>
                <a:gd name="connsiteX845" fmla="*/ 1230 w 10000"/>
                <a:gd name="connsiteY845" fmla="*/ 9951 h 10000"/>
                <a:gd name="connsiteX846" fmla="*/ 1237 w 10000"/>
                <a:gd name="connsiteY846" fmla="*/ 10000 h 10000"/>
                <a:gd name="connsiteX847" fmla="*/ 1237 w 10000"/>
                <a:gd name="connsiteY84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2162 w 10000"/>
                <a:gd name="connsiteY726" fmla="*/ 8079 h 10000"/>
                <a:gd name="connsiteX727" fmla="*/ 1990 w 10000"/>
                <a:gd name="connsiteY727" fmla="*/ 8422 h 10000"/>
                <a:gd name="connsiteX728" fmla="*/ 1904 w 10000"/>
                <a:gd name="connsiteY728" fmla="*/ 8481 h 10000"/>
                <a:gd name="connsiteX729" fmla="*/ 1856 w 10000"/>
                <a:gd name="connsiteY729" fmla="*/ 8506 h 10000"/>
                <a:gd name="connsiteX730" fmla="*/ 1816 w 10000"/>
                <a:gd name="connsiteY730" fmla="*/ 8527 h 10000"/>
                <a:gd name="connsiteX731" fmla="*/ 1793 w 10000"/>
                <a:gd name="connsiteY731" fmla="*/ 8539 h 10000"/>
                <a:gd name="connsiteX732" fmla="*/ 1775 w 10000"/>
                <a:gd name="connsiteY732" fmla="*/ 8546 h 10000"/>
                <a:gd name="connsiteX733" fmla="*/ 1758 w 10000"/>
                <a:gd name="connsiteY733" fmla="*/ 8548 h 10000"/>
                <a:gd name="connsiteX734" fmla="*/ 1742 w 10000"/>
                <a:gd name="connsiteY734" fmla="*/ 8551 h 10000"/>
                <a:gd name="connsiteX735" fmla="*/ 1727 w 10000"/>
                <a:gd name="connsiteY735" fmla="*/ 8537 h 10000"/>
                <a:gd name="connsiteX736" fmla="*/ 1717 w 10000"/>
                <a:gd name="connsiteY736" fmla="*/ 8518 h 10000"/>
                <a:gd name="connsiteX737" fmla="*/ 1684 w 10000"/>
                <a:gd name="connsiteY737" fmla="*/ 8429 h 10000"/>
                <a:gd name="connsiteX738" fmla="*/ 1525 w 10000"/>
                <a:gd name="connsiteY738" fmla="*/ 8186 h 10000"/>
                <a:gd name="connsiteX739" fmla="*/ 1500 w 10000"/>
                <a:gd name="connsiteY739" fmla="*/ 8191 h 10000"/>
                <a:gd name="connsiteX740" fmla="*/ 1472 w 10000"/>
                <a:gd name="connsiteY740" fmla="*/ 8198 h 10000"/>
                <a:gd name="connsiteX741" fmla="*/ 1434 w 10000"/>
                <a:gd name="connsiteY741" fmla="*/ 8223 h 10000"/>
                <a:gd name="connsiteX742" fmla="*/ 1149 w 10000"/>
                <a:gd name="connsiteY742" fmla="*/ 8256 h 10000"/>
                <a:gd name="connsiteX743" fmla="*/ 1139 w 10000"/>
                <a:gd name="connsiteY743" fmla="*/ 8249 h 10000"/>
                <a:gd name="connsiteX744" fmla="*/ 1126 w 10000"/>
                <a:gd name="connsiteY744" fmla="*/ 8240 h 10000"/>
                <a:gd name="connsiteX745" fmla="*/ 1114 w 10000"/>
                <a:gd name="connsiteY745" fmla="*/ 8240 h 10000"/>
                <a:gd name="connsiteX746" fmla="*/ 1091 w 10000"/>
                <a:gd name="connsiteY746" fmla="*/ 8242 h 10000"/>
                <a:gd name="connsiteX747" fmla="*/ 1071 w 10000"/>
                <a:gd name="connsiteY747" fmla="*/ 8252 h 10000"/>
                <a:gd name="connsiteX748" fmla="*/ 1048 w 10000"/>
                <a:gd name="connsiteY748" fmla="*/ 8261 h 10000"/>
                <a:gd name="connsiteX749" fmla="*/ 1030 w 10000"/>
                <a:gd name="connsiteY749" fmla="*/ 8273 h 10000"/>
                <a:gd name="connsiteX750" fmla="*/ 1010 w 10000"/>
                <a:gd name="connsiteY750" fmla="*/ 8287 h 10000"/>
                <a:gd name="connsiteX751" fmla="*/ 995 w 10000"/>
                <a:gd name="connsiteY751" fmla="*/ 8303 h 10000"/>
                <a:gd name="connsiteX752" fmla="*/ 975 w 10000"/>
                <a:gd name="connsiteY752" fmla="*/ 8322 h 10000"/>
                <a:gd name="connsiteX753" fmla="*/ 960 w 10000"/>
                <a:gd name="connsiteY753" fmla="*/ 8343 h 10000"/>
                <a:gd name="connsiteX754" fmla="*/ 927 w 10000"/>
                <a:gd name="connsiteY754" fmla="*/ 8380 h 10000"/>
                <a:gd name="connsiteX755" fmla="*/ 891 w 10000"/>
                <a:gd name="connsiteY755" fmla="*/ 8417 h 10000"/>
                <a:gd name="connsiteX756" fmla="*/ 874 w 10000"/>
                <a:gd name="connsiteY756" fmla="*/ 8436 h 10000"/>
                <a:gd name="connsiteX757" fmla="*/ 859 w 10000"/>
                <a:gd name="connsiteY757" fmla="*/ 8450 h 10000"/>
                <a:gd name="connsiteX758" fmla="*/ 838 w 10000"/>
                <a:gd name="connsiteY758" fmla="*/ 8462 h 10000"/>
                <a:gd name="connsiteX759" fmla="*/ 821 w 10000"/>
                <a:gd name="connsiteY759" fmla="*/ 8476 h 10000"/>
                <a:gd name="connsiteX760" fmla="*/ 742 w 10000"/>
                <a:gd name="connsiteY760" fmla="*/ 8562 h 10000"/>
                <a:gd name="connsiteX761" fmla="*/ 672 w 10000"/>
                <a:gd name="connsiteY761" fmla="*/ 8644 h 10000"/>
                <a:gd name="connsiteX762" fmla="*/ 639 w 10000"/>
                <a:gd name="connsiteY762" fmla="*/ 8684 h 10000"/>
                <a:gd name="connsiteX763" fmla="*/ 609 w 10000"/>
                <a:gd name="connsiteY763" fmla="*/ 8731 h 10000"/>
                <a:gd name="connsiteX764" fmla="*/ 583 w 10000"/>
                <a:gd name="connsiteY764" fmla="*/ 8777 h 10000"/>
                <a:gd name="connsiteX765" fmla="*/ 556 w 10000"/>
                <a:gd name="connsiteY765" fmla="*/ 8831 h 10000"/>
                <a:gd name="connsiteX766" fmla="*/ 545 w 10000"/>
                <a:gd name="connsiteY766" fmla="*/ 8852 h 10000"/>
                <a:gd name="connsiteX767" fmla="*/ 525 w 10000"/>
                <a:gd name="connsiteY767" fmla="*/ 8885 h 10000"/>
                <a:gd name="connsiteX768" fmla="*/ 503 w 10000"/>
                <a:gd name="connsiteY768" fmla="*/ 8925 h 10000"/>
                <a:gd name="connsiteX769" fmla="*/ 480 w 10000"/>
                <a:gd name="connsiteY769" fmla="*/ 8962 h 10000"/>
                <a:gd name="connsiteX770" fmla="*/ 465 w 10000"/>
                <a:gd name="connsiteY770" fmla="*/ 8981 h 10000"/>
                <a:gd name="connsiteX771" fmla="*/ 455 w 10000"/>
                <a:gd name="connsiteY771" fmla="*/ 8993 h 10000"/>
                <a:gd name="connsiteX772" fmla="*/ 444 w 10000"/>
                <a:gd name="connsiteY772" fmla="*/ 9000 h 10000"/>
                <a:gd name="connsiteX773" fmla="*/ 434 w 10000"/>
                <a:gd name="connsiteY773" fmla="*/ 9007 h 10000"/>
                <a:gd name="connsiteX774" fmla="*/ 432 w 10000"/>
                <a:gd name="connsiteY774" fmla="*/ 9007 h 10000"/>
                <a:gd name="connsiteX775" fmla="*/ 429 w 10000"/>
                <a:gd name="connsiteY775" fmla="*/ 9004 h 10000"/>
                <a:gd name="connsiteX776" fmla="*/ 427 w 10000"/>
                <a:gd name="connsiteY776" fmla="*/ 8997 h 10000"/>
                <a:gd name="connsiteX777" fmla="*/ 427 w 10000"/>
                <a:gd name="connsiteY777" fmla="*/ 8993 h 10000"/>
                <a:gd name="connsiteX778" fmla="*/ 424 w 10000"/>
                <a:gd name="connsiteY778" fmla="*/ 8976 h 10000"/>
                <a:gd name="connsiteX779" fmla="*/ 427 w 10000"/>
                <a:gd name="connsiteY779" fmla="*/ 8948 h 10000"/>
                <a:gd name="connsiteX780" fmla="*/ 437 w 10000"/>
                <a:gd name="connsiteY780" fmla="*/ 8913 h 10000"/>
                <a:gd name="connsiteX781" fmla="*/ 455 w 10000"/>
                <a:gd name="connsiteY781" fmla="*/ 8859 h 10000"/>
                <a:gd name="connsiteX782" fmla="*/ 462 w 10000"/>
                <a:gd name="connsiteY782" fmla="*/ 8834 h 10000"/>
                <a:gd name="connsiteX783" fmla="*/ 470 w 10000"/>
                <a:gd name="connsiteY783" fmla="*/ 8810 h 10000"/>
                <a:gd name="connsiteX784" fmla="*/ 472 w 10000"/>
                <a:gd name="connsiteY784" fmla="*/ 8794 h 10000"/>
                <a:gd name="connsiteX785" fmla="*/ 472 w 10000"/>
                <a:gd name="connsiteY785" fmla="*/ 8780 h 10000"/>
                <a:gd name="connsiteX786" fmla="*/ 462 w 10000"/>
                <a:gd name="connsiteY786" fmla="*/ 8784 h 10000"/>
                <a:gd name="connsiteX787" fmla="*/ 452 w 10000"/>
                <a:gd name="connsiteY787" fmla="*/ 8787 h 10000"/>
                <a:gd name="connsiteX788" fmla="*/ 437 w 10000"/>
                <a:gd name="connsiteY788" fmla="*/ 8794 h 10000"/>
                <a:gd name="connsiteX789" fmla="*/ 424 w 10000"/>
                <a:gd name="connsiteY789" fmla="*/ 8803 h 10000"/>
                <a:gd name="connsiteX790" fmla="*/ 394 w 10000"/>
                <a:gd name="connsiteY790" fmla="*/ 8829 h 10000"/>
                <a:gd name="connsiteX791" fmla="*/ 364 w 10000"/>
                <a:gd name="connsiteY791" fmla="*/ 8859 h 10000"/>
                <a:gd name="connsiteX792" fmla="*/ 311 w 10000"/>
                <a:gd name="connsiteY792" fmla="*/ 8922 h 10000"/>
                <a:gd name="connsiteX793" fmla="*/ 268 w 10000"/>
                <a:gd name="connsiteY793" fmla="*/ 8964 h 10000"/>
                <a:gd name="connsiteX794" fmla="*/ 205 w 10000"/>
                <a:gd name="connsiteY794" fmla="*/ 9016 h 10000"/>
                <a:gd name="connsiteX795" fmla="*/ 146 w 10000"/>
                <a:gd name="connsiteY795" fmla="*/ 9053 h 10000"/>
                <a:gd name="connsiteX796" fmla="*/ 139 w 10000"/>
                <a:gd name="connsiteY796" fmla="*/ 9063 h 10000"/>
                <a:gd name="connsiteX797" fmla="*/ 129 w 10000"/>
                <a:gd name="connsiteY797" fmla="*/ 9077 h 10000"/>
                <a:gd name="connsiteX798" fmla="*/ 126 w 10000"/>
                <a:gd name="connsiteY798" fmla="*/ 9086 h 10000"/>
                <a:gd name="connsiteX799" fmla="*/ 126 w 10000"/>
                <a:gd name="connsiteY799" fmla="*/ 9102 h 10000"/>
                <a:gd name="connsiteX800" fmla="*/ 129 w 10000"/>
                <a:gd name="connsiteY800" fmla="*/ 9116 h 10000"/>
                <a:gd name="connsiteX801" fmla="*/ 139 w 10000"/>
                <a:gd name="connsiteY801" fmla="*/ 9135 h 10000"/>
                <a:gd name="connsiteX802" fmla="*/ 149 w 10000"/>
                <a:gd name="connsiteY802" fmla="*/ 9151 h 10000"/>
                <a:gd name="connsiteX803" fmla="*/ 164 w 10000"/>
                <a:gd name="connsiteY803" fmla="*/ 9175 h 10000"/>
                <a:gd name="connsiteX804" fmla="*/ 184 w 10000"/>
                <a:gd name="connsiteY804" fmla="*/ 9196 h 10000"/>
                <a:gd name="connsiteX805" fmla="*/ 207 w 10000"/>
                <a:gd name="connsiteY805" fmla="*/ 9215 h 10000"/>
                <a:gd name="connsiteX806" fmla="*/ 227 w 10000"/>
                <a:gd name="connsiteY806" fmla="*/ 9233 h 10000"/>
                <a:gd name="connsiteX807" fmla="*/ 253 w 10000"/>
                <a:gd name="connsiteY807" fmla="*/ 9250 h 10000"/>
                <a:gd name="connsiteX808" fmla="*/ 303 w 10000"/>
                <a:gd name="connsiteY808" fmla="*/ 9282 h 10000"/>
                <a:gd name="connsiteX809" fmla="*/ 351 w 10000"/>
                <a:gd name="connsiteY809" fmla="*/ 9315 h 10000"/>
                <a:gd name="connsiteX810" fmla="*/ 414 w 10000"/>
                <a:gd name="connsiteY810" fmla="*/ 9364 h 10000"/>
                <a:gd name="connsiteX811" fmla="*/ 480 w 10000"/>
                <a:gd name="connsiteY811" fmla="*/ 9416 h 10000"/>
                <a:gd name="connsiteX812" fmla="*/ 513 w 10000"/>
                <a:gd name="connsiteY812" fmla="*/ 9437 h 10000"/>
                <a:gd name="connsiteX813" fmla="*/ 548 w 10000"/>
                <a:gd name="connsiteY813" fmla="*/ 9462 h 10000"/>
                <a:gd name="connsiteX814" fmla="*/ 581 w 10000"/>
                <a:gd name="connsiteY814" fmla="*/ 9483 h 10000"/>
                <a:gd name="connsiteX815" fmla="*/ 614 w 10000"/>
                <a:gd name="connsiteY815" fmla="*/ 9502 h 10000"/>
                <a:gd name="connsiteX816" fmla="*/ 641 w 10000"/>
                <a:gd name="connsiteY816" fmla="*/ 9525 h 10000"/>
                <a:gd name="connsiteX817" fmla="*/ 672 w 10000"/>
                <a:gd name="connsiteY817" fmla="*/ 9549 h 10000"/>
                <a:gd name="connsiteX818" fmla="*/ 702 w 10000"/>
                <a:gd name="connsiteY818" fmla="*/ 9568 h 10000"/>
                <a:gd name="connsiteX819" fmla="*/ 737 w 10000"/>
                <a:gd name="connsiteY819" fmla="*/ 9589 h 10000"/>
                <a:gd name="connsiteX820" fmla="*/ 770 w 10000"/>
                <a:gd name="connsiteY820" fmla="*/ 9605 h 10000"/>
                <a:gd name="connsiteX821" fmla="*/ 808 w 10000"/>
                <a:gd name="connsiteY821" fmla="*/ 9617 h 10000"/>
                <a:gd name="connsiteX822" fmla="*/ 843 w 10000"/>
                <a:gd name="connsiteY822" fmla="*/ 9624 h 10000"/>
                <a:gd name="connsiteX823" fmla="*/ 884 w 10000"/>
                <a:gd name="connsiteY823" fmla="*/ 9628 h 10000"/>
                <a:gd name="connsiteX824" fmla="*/ 902 w 10000"/>
                <a:gd name="connsiteY824" fmla="*/ 9628 h 10000"/>
                <a:gd name="connsiteX825" fmla="*/ 914 w 10000"/>
                <a:gd name="connsiteY825" fmla="*/ 9631 h 10000"/>
                <a:gd name="connsiteX826" fmla="*/ 932 w 10000"/>
                <a:gd name="connsiteY826" fmla="*/ 9638 h 10000"/>
                <a:gd name="connsiteX827" fmla="*/ 942 w 10000"/>
                <a:gd name="connsiteY827" fmla="*/ 9642 h 10000"/>
                <a:gd name="connsiteX828" fmla="*/ 967 w 10000"/>
                <a:gd name="connsiteY828" fmla="*/ 9652 h 10000"/>
                <a:gd name="connsiteX829" fmla="*/ 987 w 10000"/>
                <a:gd name="connsiteY829" fmla="*/ 9668 h 10000"/>
                <a:gd name="connsiteX830" fmla="*/ 1005 w 10000"/>
                <a:gd name="connsiteY830" fmla="*/ 9682 h 10000"/>
                <a:gd name="connsiteX831" fmla="*/ 1025 w 10000"/>
                <a:gd name="connsiteY831" fmla="*/ 9698 h 10000"/>
                <a:gd name="connsiteX832" fmla="*/ 1045 w 10000"/>
                <a:gd name="connsiteY832" fmla="*/ 9712 h 10000"/>
                <a:gd name="connsiteX833" fmla="*/ 1073 w 10000"/>
                <a:gd name="connsiteY833" fmla="*/ 9724 h 10000"/>
                <a:gd name="connsiteX834" fmla="*/ 1098 w 10000"/>
                <a:gd name="connsiteY834" fmla="*/ 9738 h 10000"/>
                <a:gd name="connsiteX835" fmla="*/ 1121 w 10000"/>
                <a:gd name="connsiteY835" fmla="*/ 9750 h 10000"/>
                <a:gd name="connsiteX836" fmla="*/ 1141 w 10000"/>
                <a:gd name="connsiteY836" fmla="*/ 9762 h 10000"/>
                <a:gd name="connsiteX837" fmla="*/ 1159 w 10000"/>
                <a:gd name="connsiteY837" fmla="*/ 9776 h 10000"/>
                <a:gd name="connsiteX838" fmla="*/ 1172 w 10000"/>
                <a:gd name="connsiteY838" fmla="*/ 9787 h 10000"/>
                <a:gd name="connsiteX839" fmla="*/ 1182 w 10000"/>
                <a:gd name="connsiteY839" fmla="*/ 9804 h 10000"/>
                <a:gd name="connsiteX840" fmla="*/ 1194 w 10000"/>
                <a:gd name="connsiteY840" fmla="*/ 9818 h 10000"/>
                <a:gd name="connsiteX841" fmla="*/ 1202 w 10000"/>
                <a:gd name="connsiteY841" fmla="*/ 9834 h 10000"/>
                <a:gd name="connsiteX842" fmla="*/ 1212 w 10000"/>
                <a:gd name="connsiteY842" fmla="*/ 9869 h 10000"/>
                <a:gd name="connsiteX843" fmla="*/ 1220 w 10000"/>
                <a:gd name="connsiteY843" fmla="*/ 9906 h 10000"/>
                <a:gd name="connsiteX844" fmla="*/ 1230 w 10000"/>
                <a:gd name="connsiteY844" fmla="*/ 9951 h 10000"/>
                <a:gd name="connsiteX845" fmla="*/ 1237 w 10000"/>
                <a:gd name="connsiteY845" fmla="*/ 10000 h 10000"/>
                <a:gd name="connsiteX846" fmla="*/ 1237 w 10000"/>
                <a:gd name="connsiteY84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2159 w 10000"/>
                <a:gd name="connsiteY725" fmla="*/ 8006 h 10000"/>
                <a:gd name="connsiteX726" fmla="*/ 1990 w 10000"/>
                <a:gd name="connsiteY726" fmla="*/ 8422 h 10000"/>
                <a:gd name="connsiteX727" fmla="*/ 1904 w 10000"/>
                <a:gd name="connsiteY727" fmla="*/ 8481 h 10000"/>
                <a:gd name="connsiteX728" fmla="*/ 1856 w 10000"/>
                <a:gd name="connsiteY728" fmla="*/ 8506 h 10000"/>
                <a:gd name="connsiteX729" fmla="*/ 1816 w 10000"/>
                <a:gd name="connsiteY729" fmla="*/ 8527 h 10000"/>
                <a:gd name="connsiteX730" fmla="*/ 1793 w 10000"/>
                <a:gd name="connsiteY730" fmla="*/ 8539 h 10000"/>
                <a:gd name="connsiteX731" fmla="*/ 1775 w 10000"/>
                <a:gd name="connsiteY731" fmla="*/ 8546 h 10000"/>
                <a:gd name="connsiteX732" fmla="*/ 1758 w 10000"/>
                <a:gd name="connsiteY732" fmla="*/ 8548 h 10000"/>
                <a:gd name="connsiteX733" fmla="*/ 1742 w 10000"/>
                <a:gd name="connsiteY733" fmla="*/ 8551 h 10000"/>
                <a:gd name="connsiteX734" fmla="*/ 1727 w 10000"/>
                <a:gd name="connsiteY734" fmla="*/ 8537 h 10000"/>
                <a:gd name="connsiteX735" fmla="*/ 1717 w 10000"/>
                <a:gd name="connsiteY735" fmla="*/ 8518 h 10000"/>
                <a:gd name="connsiteX736" fmla="*/ 1684 w 10000"/>
                <a:gd name="connsiteY736" fmla="*/ 8429 h 10000"/>
                <a:gd name="connsiteX737" fmla="*/ 1525 w 10000"/>
                <a:gd name="connsiteY737" fmla="*/ 8186 h 10000"/>
                <a:gd name="connsiteX738" fmla="*/ 1500 w 10000"/>
                <a:gd name="connsiteY738" fmla="*/ 8191 h 10000"/>
                <a:gd name="connsiteX739" fmla="*/ 1472 w 10000"/>
                <a:gd name="connsiteY739" fmla="*/ 8198 h 10000"/>
                <a:gd name="connsiteX740" fmla="*/ 1434 w 10000"/>
                <a:gd name="connsiteY740" fmla="*/ 8223 h 10000"/>
                <a:gd name="connsiteX741" fmla="*/ 1149 w 10000"/>
                <a:gd name="connsiteY741" fmla="*/ 8256 h 10000"/>
                <a:gd name="connsiteX742" fmla="*/ 1139 w 10000"/>
                <a:gd name="connsiteY742" fmla="*/ 8249 h 10000"/>
                <a:gd name="connsiteX743" fmla="*/ 1126 w 10000"/>
                <a:gd name="connsiteY743" fmla="*/ 8240 h 10000"/>
                <a:gd name="connsiteX744" fmla="*/ 1114 w 10000"/>
                <a:gd name="connsiteY744" fmla="*/ 8240 h 10000"/>
                <a:gd name="connsiteX745" fmla="*/ 1091 w 10000"/>
                <a:gd name="connsiteY745" fmla="*/ 8242 h 10000"/>
                <a:gd name="connsiteX746" fmla="*/ 1071 w 10000"/>
                <a:gd name="connsiteY746" fmla="*/ 8252 h 10000"/>
                <a:gd name="connsiteX747" fmla="*/ 1048 w 10000"/>
                <a:gd name="connsiteY747" fmla="*/ 8261 h 10000"/>
                <a:gd name="connsiteX748" fmla="*/ 1030 w 10000"/>
                <a:gd name="connsiteY748" fmla="*/ 8273 h 10000"/>
                <a:gd name="connsiteX749" fmla="*/ 1010 w 10000"/>
                <a:gd name="connsiteY749" fmla="*/ 8287 h 10000"/>
                <a:gd name="connsiteX750" fmla="*/ 995 w 10000"/>
                <a:gd name="connsiteY750" fmla="*/ 8303 h 10000"/>
                <a:gd name="connsiteX751" fmla="*/ 975 w 10000"/>
                <a:gd name="connsiteY751" fmla="*/ 8322 h 10000"/>
                <a:gd name="connsiteX752" fmla="*/ 960 w 10000"/>
                <a:gd name="connsiteY752" fmla="*/ 8343 h 10000"/>
                <a:gd name="connsiteX753" fmla="*/ 927 w 10000"/>
                <a:gd name="connsiteY753" fmla="*/ 8380 h 10000"/>
                <a:gd name="connsiteX754" fmla="*/ 891 w 10000"/>
                <a:gd name="connsiteY754" fmla="*/ 8417 h 10000"/>
                <a:gd name="connsiteX755" fmla="*/ 874 w 10000"/>
                <a:gd name="connsiteY755" fmla="*/ 8436 h 10000"/>
                <a:gd name="connsiteX756" fmla="*/ 859 w 10000"/>
                <a:gd name="connsiteY756" fmla="*/ 8450 h 10000"/>
                <a:gd name="connsiteX757" fmla="*/ 838 w 10000"/>
                <a:gd name="connsiteY757" fmla="*/ 8462 h 10000"/>
                <a:gd name="connsiteX758" fmla="*/ 821 w 10000"/>
                <a:gd name="connsiteY758" fmla="*/ 8476 h 10000"/>
                <a:gd name="connsiteX759" fmla="*/ 742 w 10000"/>
                <a:gd name="connsiteY759" fmla="*/ 8562 h 10000"/>
                <a:gd name="connsiteX760" fmla="*/ 672 w 10000"/>
                <a:gd name="connsiteY760" fmla="*/ 8644 h 10000"/>
                <a:gd name="connsiteX761" fmla="*/ 639 w 10000"/>
                <a:gd name="connsiteY761" fmla="*/ 8684 h 10000"/>
                <a:gd name="connsiteX762" fmla="*/ 609 w 10000"/>
                <a:gd name="connsiteY762" fmla="*/ 8731 h 10000"/>
                <a:gd name="connsiteX763" fmla="*/ 583 w 10000"/>
                <a:gd name="connsiteY763" fmla="*/ 8777 h 10000"/>
                <a:gd name="connsiteX764" fmla="*/ 556 w 10000"/>
                <a:gd name="connsiteY764" fmla="*/ 8831 h 10000"/>
                <a:gd name="connsiteX765" fmla="*/ 545 w 10000"/>
                <a:gd name="connsiteY765" fmla="*/ 8852 h 10000"/>
                <a:gd name="connsiteX766" fmla="*/ 525 w 10000"/>
                <a:gd name="connsiteY766" fmla="*/ 8885 h 10000"/>
                <a:gd name="connsiteX767" fmla="*/ 503 w 10000"/>
                <a:gd name="connsiteY767" fmla="*/ 8925 h 10000"/>
                <a:gd name="connsiteX768" fmla="*/ 480 w 10000"/>
                <a:gd name="connsiteY768" fmla="*/ 8962 h 10000"/>
                <a:gd name="connsiteX769" fmla="*/ 465 w 10000"/>
                <a:gd name="connsiteY769" fmla="*/ 8981 h 10000"/>
                <a:gd name="connsiteX770" fmla="*/ 455 w 10000"/>
                <a:gd name="connsiteY770" fmla="*/ 8993 h 10000"/>
                <a:gd name="connsiteX771" fmla="*/ 444 w 10000"/>
                <a:gd name="connsiteY771" fmla="*/ 9000 h 10000"/>
                <a:gd name="connsiteX772" fmla="*/ 434 w 10000"/>
                <a:gd name="connsiteY772" fmla="*/ 9007 h 10000"/>
                <a:gd name="connsiteX773" fmla="*/ 432 w 10000"/>
                <a:gd name="connsiteY773" fmla="*/ 9007 h 10000"/>
                <a:gd name="connsiteX774" fmla="*/ 429 w 10000"/>
                <a:gd name="connsiteY774" fmla="*/ 9004 h 10000"/>
                <a:gd name="connsiteX775" fmla="*/ 427 w 10000"/>
                <a:gd name="connsiteY775" fmla="*/ 8997 h 10000"/>
                <a:gd name="connsiteX776" fmla="*/ 427 w 10000"/>
                <a:gd name="connsiteY776" fmla="*/ 8993 h 10000"/>
                <a:gd name="connsiteX777" fmla="*/ 424 w 10000"/>
                <a:gd name="connsiteY777" fmla="*/ 8976 h 10000"/>
                <a:gd name="connsiteX778" fmla="*/ 427 w 10000"/>
                <a:gd name="connsiteY778" fmla="*/ 8948 h 10000"/>
                <a:gd name="connsiteX779" fmla="*/ 437 w 10000"/>
                <a:gd name="connsiteY779" fmla="*/ 8913 h 10000"/>
                <a:gd name="connsiteX780" fmla="*/ 455 w 10000"/>
                <a:gd name="connsiteY780" fmla="*/ 8859 h 10000"/>
                <a:gd name="connsiteX781" fmla="*/ 462 w 10000"/>
                <a:gd name="connsiteY781" fmla="*/ 8834 h 10000"/>
                <a:gd name="connsiteX782" fmla="*/ 470 w 10000"/>
                <a:gd name="connsiteY782" fmla="*/ 8810 h 10000"/>
                <a:gd name="connsiteX783" fmla="*/ 472 w 10000"/>
                <a:gd name="connsiteY783" fmla="*/ 8794 h 10000"/>
                <a:gd name="connsiteX784" fmla="*/ 472 w 10000"/>
                <a:gd name="connsiteY784" fmla="*/ 8780 h 10000"/>
                <a:gd name="connsiteX785" fmla="*/ 462 w 10000"/>
                <a:gd name="connsiteY785" fmla="*/ 8784 h 10000"/>
                <a:gd name="connsiteX786" fmla="*/ 452 w 10000"/>
                <a:gd name="connsiteY786" fmla="*/ 8787 h 10000"/>
                <a:gd name="connsiteX787" fmla="*/ 437 w 10000"/>
                <a:gd name="connsiteY787" fmla="*/ 8794 h 10000"/>
                <a:gd name="connsiteX788" fmla="*/ 424 w 10000"/>
                <a:gd name="connsiteY788" fmla="*/ 8803 h 10000"/>
                <a:gd name="connsiteX789" fmla="*/ 394 w 10000"/>
                <a:gd name="connsiteY789" fmla="*/ 8829 h 10000"/>
                <a:gd name="connsiteX790" fmla="*/ 364 w 10000"/>
                <a:gd name="connsiteY790" fmla="*/ 8859 h 10000"/>
                <a:gd name="connsiteX791" fmla="*/ 311 w 10000"/>
                <a:gd name="connsiteY791" fmla="*/ 8922 h 10000"/>
                <a:gd name="connsiteX792" fmla="*/ 268 w 10000"/>
                <a:gd name="connsiteY792" fmla="*/ 8964 h 10000"/>
                <a:gd name="connsiteX793" fmla="*/ 205 w 10000"/>
                <a:gd name="connsiteY793" fmla="*/ 9016 h 10000"/>
                <a:gd name="connsiteX794" fmla="*/ 146 w 10000"/>
                <a:gd name="connsiteY794" fmla="*/ 9053 h 10000"/>
                <a:gd name="connsiteX795" fmla="*/ 139 w 10000"/>
                <a:gd name="connsiteY795" fmla="*/ 9063 h 10000"/>
                <a:gd name="connsiteX796" fmla="*/ 129 w 10000"/>
                <a:gd name="connsiteY796" fmla="*/ 9077 h 10000"/>
                <a:gd name="connsiteX797" fmla="*/ 126 w 10000"/>
                <a:gd name="connsiteY797" fmla="*/ 9086 h 10000"/>
                <a:gd name="connsiteX798" fmla="*/ 126 w 10000"/>
                <a:gd name="connsiteY798" fmla="*/ 9102 h 10000"/>
                <a:gd name="connsiteX799" fmla="*/ 129 w 10000"/>
                <a:gd name="connsiteY799" fmla="*/ 9116 h 10000"/>
                <a:gd name="connsiteX800" fmla="*/ 139 w 10000"/>
                <a:gd name="connsiteY800" fmla="*/ 9135 h 10000"/>
                <a:gd name="connsiteX801" fmla="*/ 149 w 10000"/>
                <a:gd name="connsiteY801" fmla="*/ 9151 h 10000"/>
                <a:gd name="connsiteX802" fmla="*/ 164 w 10000"/>
                <a:gd name="connsiteY802" fmla="*/ 9175 h 10000"/>
                <a:gd name="connsiteX803" fmla="*/ 184 w 10000"/>
                <a:gd name="connsiteY803" fmla="*/ 9196 h 10000"/>
                <a:gd name="connsiteX804" fmla="*/ 207 w 10000"/>
                <a:gd name="connsiteY804" fmla="*/ 9215 h 10000"/>
                <a:gd name="connsiteX805" fmla="*/ 227 w 10000"/>
                <a:gd name="connsiteY805" fmla="*/ 9233 h 10000"/>
                <a:gd name="connsiteX806" fmla="*/ 253 w 10000"/>
                <a:gd name="connsiteY806" fmla="*/ 9250 h 10000"/>
                <a:gd name="connsiteX807" fmla="*/ 303 w 10000"/>
                <a:gd name="connsiteY807" fmla="*/ 9282 h 10000"/>
                <a:gd name="connsiteX808" fmla="*/ 351 w 10000"/>
                <a:gd name="connsiteY808" fmla="*/ 9315 h 10000"/>
                <a:gd name="connsiteX809" fmla="*/ 414 w 10000"/>
                <a:gd name="connsiteY809" fmla="*/ 9364 h 10000"/>
                <a:gd name="connsiteX810" fmla="*/ 480 w 10000"/>
                <a:gd name="connsiteY810" fmla="*/ 9416 h 10000"/>
                <a:gd name="connsiteX811" fmla="*/ 513 w 10000"/>
                <a:gd name="connsiteY811" fmla="*/ 9437 h 10000"/>
                <a:gd name="connsiteX812" fmla="*/ 548 w 10000"/>
                <a:gd name="connsiteY812" fmla="*/ 9462 h 10000"/>
                <a:gd name="connsiteX813" fmla="*/ 581 w 10000"/>
                <a:gd name="connsiteY813" fmla="*/ 9483 h 10000"/>
                <a:gd name="connsiteX814" fmla="*/ 614 w 10000"/>
                <a:gd name="connsiteY814" fmla="*/ 9502 h 10000"/>
                <a:gd name="connsiteX815" fmla="*/ 641 w 10000"/>
                <a:gd name="connsiteY815" fmla="*/ 9525 h 10000"/>
                <a:gd name="connsiteX816" fmla="*/ 672 w 10000"/>
                <a:gd name="connsiteY816" fmla="*/ 9549 h 10000"/>
                <a:gd name="connsiteX817" fmla="*/ 702 w 10000"/>
                <a:gd name="connsiteY817" fmla="*/ 9568 h 10000"/>
                <a:gd name="connsiteX818" fmla="*/ 737 w 10000"/>
                <a:gd name="connsiteY818" fmla="*/ 9589 h 10000"/>
                <a:gd name="connsiteX819" fmla="*/ 770 w 10000"/>
                <a:gd name="connsiteY819" fmla="*/ 9605 h 10000"/>
                <a:gd name="connsiteX820" fmla="*/ 808 w 10000"/>
                <a:gd name="connsiteY820" fmla="*/ 9617 h 10000"/>
                <a:gd name="connsiteX821" fmla="*/ 843 w 10000"/>
                <a:gd name="connsiteY821" fmla="*/ 9624 h 10000"/>
                <a:gd name="connsiteX822" fmla="*/ 884 w 10000"/>
                <a:gd name="connsiteY822" fmla="*/ 9628 h 10000"/>
                <a:gd name="connsiteX823" fmla="*/ 902 w 10000"/>
                <a:gd name="connsiteY823" fmla="*/ 9628 h 10000"/>
                <a:gd name="connsiteX824" fmla="*/ 914 w 10000"/>
                <a:gd name="connsiteY824" fmla="*/ 9631 h 10000"/>
                <a:gd name="connsiteX825" fmla="*/ 932 w 10000"/>
                <a:gd name="connsiteY825" fmla="*/ 9638 h 10000"/>
                <a:gd name="connsiteX826" fmla="*/ 942 w 10000"/>
                <a:gd name="connsiteY826" fmla="*/ 9642 h 10000"/>
                <a:gd name="connsiteX827" fmla="*/ 967 w 10000"/>
                <a:gd name="connsiteY827" fmla="*/ 9652 h 10000"/>
                <a:gd name="connsiteX828" fmla="*/ 987 w 10000"/>
                <a:gd name="connsiteY828" fmla="*/ 9668 h 10000"/>
                <a:gd name="connsiteX829" fmla="*/ 1005 w 10000"/>
                <a:gd name="connsiteY829" fmla="*/ 9682 h 10000"/>
                <a:gd name="connsiteX830" fmla="*/ 1025 w 10000"/>
                <a:gd name="connsiteY830" fmla="*/ 9698 h 10000"/>
                <a:gd name="connsiteX831" fmla="*/ 1045 w 10000"/>
                <a:gd name="connsiteY831" fmla="*/ 9712 h 10000"/>
                <a:gd name="connsiteX832" fmla="*/ 1073 w 10000"/>
                <a:gd name="connsiteY832" fmla="*/ 9724 h 10000"/>
                <a:gd name="connsiteX833" fmla="*/ 1098 w 10000"/>
                <a:gd name="connsiteY833" fmla="*/ 9738 h 10000"/>
                <a:gd name="connsiteX834" fmla="*/ 1121 w 10000"/>
                <a:gd name="connsiteY834" fmla="*/ 9750 h 10000"/>
                <a:gd name="connsiteX835" fmla="*/ 1141 w 10000"/>
                <a:gd name="connsiteY835" fmla="*/ 9762 h 10000"/>
                <a:gd name="connsiteX836" fmla="*/ 1159 w 10000"/>
                <a:gd name="connsiteY836" fmla="*/ 9776 h 10000"/>
                <a:gd name="connsiteX837" fmla="*/ 1172 w 10000"/>
                <a:gd name="connsiteY837" fmla="*/ 9787 h 10000"/>
                <a:gd name="connsiteX838" fmla="*/ 1182 w 10000"/>
                <a:gd name="connsiteY838" fmla="*/ 9804 h 10000"/>
                <a:gd name="connsiteX839" fmla="*/ 1194 w 10000"/>
                <a:gd name="connsiteY839" fmla="*/ 9818 h 10000"/>
                <a:gd name="connsiteX840" fmla="*/ 1202 w 10000"/>
                <a:gd name="connsiteY840" fmla="*/ 9834 h 10000"/>
                <a:gd name="connsiteX841" fmla="*/ 1212 w 10000"/>
                <a:gd name="connsiteY841" fmla="*/ 9869 h 10000"/>
                <a:gd name="connsiteX842" fmla="*/ 1220 w 10000"/>
                <a:gd name="connsiteY842" fmla="*/ 9906 h 10000"/>
                <a:gd name="connsiteX843" fmla="*/ 1230 w 10000"/>
                <a:gd name="connsiteY843" fmla="*/ 9951 h 10000"/>
                <a:gd name="connsiteX844" fmla="*/ 1237 w 10000"/>
                <a:gd name="connsiteY844" fmla="*/ 10000 h 10000"/>
                <a:gd name="connsiteX845" fmla="*/ 1237 w 10000"/>
                <a:gd name="connsiteY84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2157 w 10000"/>
                <a:gd name="connsiteY724" fmla="*/ 7938 h 10000"/>
                <a:gd name="connsiteX725" fmla="*/ 1990 w 10000"/>
                <a:gd name="connsiteY725" fmla="*/ 8422 h 10000"/>
                <a:gd name="connsiteX726" fmla="*/ 1904 w 10000"/>
                <a:gd name="connsiteY726" fmla="*/ 8481 h 10000"/>
                <a:gd name="connsiteX727" fmla="*/ 1856 w 10000"/>
                <a:gd name="connsiteY727" fmla="*/ 8506 h 10000"/>
                <a:gd name="connsiteX728" fmla="*/ 1816 w 10000"/>
                <a:gd name="connsiteY728" fmla="*/ 8527 h 10000"/>
                <a:gd name="connsiteX729" fmla="*/ 1793 w 10000"/>
                <a:gd name="connsiteY729" fmla="*/ 8539 h 10000"/>
                <a:gd name="connsiteX730" fmla="*/ 1775 w 10000"/>
                <a:gd name="connsiteY730" fmla="*/ 8546 h 10000"/>
                <a:gd name="connsiteX731" fmla="*/ 1758 w 10000"/>
                <a:gd name="connsiteY731" fmla="*/ 8548 h 10000"/>
                <a:gd name="connsiteX732" fmla="*/ 1742 w 10000"/>
                <a:gd name="connsiteY732" fmla="*/ 8551 h 10000"/>
                <a:gd name="connsiteX733" fmla="*/ 1727 w 10000"/>
                <a:gd name="connsiteY733" fmla="*/ 8537 h 10000"/>
                <a:gd name="connsiteX734" fmla="*/ 1717 w 10000"/>
                <a:gd name="connsiteY734" fmla="*/ 8518 h 10000"/>
                <a:gd name="connsiteX735" fmla="*/ 1684 w 10000"/>
                <a:gd name="connsiteY735" fmla="*/ 8429 h 10000"/>
                <a:gd name="connsiteX736" fmla="*/ 1525 w 10000"/>
                <a:gd name="connsiteY736" fmla="*/ 8186 h 10000"/>
                <a:gd name="connsiteX737" fmla="*/ 1500 w 10000"/>
                <a:gd name="connsiteY737" fmla="*/ 8191 h 10000"/>
                <a:gd name="connsiteX738" fmla="*/ 1472 w 10000"/>
                <a:gd name="connsiteY738" fmla="*/ 8198 h 10000"/>
                <a:gd name="connsiteX739" fmla="*/ 1434 w 10000"/>
                <a:gd name="connsiteY739" fmla="*/ 8223 h 10000"/>
                <a:gd name="connsiteX740" fmla="*/ 1149 w 10000"/>
                <a:gd name="connsiteY740" fmla="*/ 8256 h 10000"/>
                <a:gd name="connsiteX741" fmla="*/ 1139 w 10000"/>
                <a:gd name="connsiteY741" fmla="*/ 8249 h 10000"/>
                <a:gd name="connsiteX742" fmla="*/ 1126 w 10000"/>
                <a:gd name="connsiteY742" fmla="*/ 8240 h 10000"/>
                <a:gd name="connsiteX743" fmla="*/ 1114 w 10000"/>
                <a:gd name="connsiteY743" fmla="*/ 8240 h 10000"/>
                <a:gd name="connsiteX744" fmla="*/ 1091 w 10000"/>
                <a:gd name="connsiteY744" fmla="*/ 8242 h 10000"/>
                <a:gd name="connsiteX745" fmla="*/ 1071 w 10000"/>
                <a:gd name="connsiteY745" fmla="*/ 8252 h 10000"/>
                <a:gd name="connsiteX746" fmla="*/ 1048 w 10000"/>
                <a:gd name="connsiteY746" fmla="*/ 8261 h 10000"/>
                <a:gd name="connsiteX747" fmla="*/ 1030 w 10000"/>
                <a:gd name="connsiteY747" fmla="*/ 8273 h 10000"/>
                <a:gd name="connsiteX748" fmla="*/ 1010 w 10000"/>
                <a:gd name="connsiteY748" fmla="*/ 8287 h 10000"/>
                <a:gd name="connsiteX749" fmla="*/ 995 w 10000"/>
                <a:gd name="connsiteY749" fmla="*/ 8303 h 10000"/>
                <a:gd name="connsiteX750" fmla="*/ 975 w 10000"/>
                <a:gd name="connsiteY750" fmla="*/ 8322 h 10000"/>
                <a:gd name="connsiteX751" fmla="*/ 960 w 10000"/>
                <a:gd name="connsiteY751" fmla="*/ 8343 h 10000"/>
                <a:gd name="connsiteX752" fmla="*/ 927 w 10000"/>
                <a:gd name="connsiteY752" fmla="*/ 8380 h 10000"/>
                <a:gd name="connsiteX753" fmla="*/ 891 w 10000"/>
                <a:gd name="connsiteY753" fmla="*/ 8417 h 10000"/>
                <a:gd name="connsiteX754" fmla="*/ 874 w 10000"/>
                <a:gd name="connsiteY754" fmla="*/ 8436 h 10000"/>
                <a:gd name="connsiteX755" fmla="*/ 859 w 10000"/>
                <a:gd name="connsiteY755" fmla="*/ 8450 h 10000"/>
                <a:gd name="connsiteX756" fmla="*/ 838 w 10000"/>
                <a:gd name="connsiteY756" fmla="*/ 8462 h 10000"/>
                <a:gd name="connsiteX757" fmla="*/ 821 w 10000"/>
                <a:gd name="connsiteY757" fmla="*/ 8476 h 10000"/>
                <a:gd name="connsiteX758" fmla="*/ 742 w 10000"/>
                <a:gd name="connsiteY758" fmla="*/ 8562 h 10000"/>
                <a:gd name="connsiteX759" fmla="*/ 672 w 10000"/>
                <a:gd name="connsiteY759" fmla="*/ 8644 h 10000"/>
                <a:gd name="connsiteX760" fmla="*/ 639 w 10000"/>
                <a:gd name="connsiteY760" fmla="*/ 8684 h 10000"/>
                <a:gd name="connsiteX761" fmla="*/ 609 w 10000"/>
                <a:gd name="connsiteY761" fmla="*/ 8731 h 10000"/>
                <a:gd name="connsiteX762" fmla="*/ 583 w 10000"/>
                <a:gd name="connsiteY762" fmla="*/ 8777 h 10000"/>
                <a:gd name="connsiteX763" fmla="*/ 556 w 10000"/>
                <a:gd name="connsiteY763" fmla="*/ 8831 h 10000"/>
                <a:gd name="connsiteX764" fmla="*/ 545 w 10000"/>
                <a:gd name="connsiteY764" fmla="*/ 8852 h 10000"/>
                <a:gd name="connsiteX765" fmla="*/ 525 w 10000"/>
                <a:gd name="connsiteY765" fmla="*/ 8885 h 10000"/>
                <a:gd name="connsiteX766" fmla="*/ 503 w 10000"/>
                <a:gd name="connsiteY766" fmla="*/ 8925 h 10000"/>
                <a:gd name="connsiteX767" fmla="*/ 480 w 10000"/>
                <a:gd name="connsiteY767" fmla="*/ 8962 h 10000"/>
                <a:gd name="connsiteX768" fmla="*/ 465 w 10000"/>
                <a:gd name="connsiteY768" fmla="*/ 8981 h 10000"/>
                <a:gd name="connsiteX769" fmla="*/ 455 w 10000"/>
                <a:gd name="connsiteY769" fmla="*/ 8993 h 10000"/>
                <a:gd name="connsiteX770" fmla="*/ 444 w 10000"/>
                <a:gd name="connsiteY770" fmla="*/ 9000 h 10000"/>
                <a:gd name="connsiteX771" fmla="*/ 434 w 10000"/>
                <a:gd name="connsiteY771" fmla="*/ 9007 h 10000"/>
                <a:gd name="connsiteX772" fmla="*/ 432 w 10000"/>
                <a:gd name="connsiteY772" fmla="*/ 9007 h 10000"/>
                <a:gd name="connsiteX773" fmla="*/ 429 w 10000"/>
                <a:gd name="connsiteY773" fmla="*/ 9004 h 10000"/>
                <a:gd name="connsiteX774" fmla="*/ 427 w 10000"/>
                <a:gd name="connsiteY774" fmla="*/ 8997 h 10000"/>
                <a:gd name="connsiteX775" fmla="*/ 427 w 10000"/>
                <a:gd name="connsiteY775" fmla="*/ 8993 h 10000"/>
                <a:gd name="connsiteX776" fmla="*/ 424 w 10000"/>
                <a:gd name="connsiteY776" fmla="*/ 8976 h 10000"/>
                <a:gd name="connsiteX777" fmla="*/ 427 w 10000"/>
                <a:gd name="connsiteY777" fmla="*/ 8948 h 10000"/>
                <a:gd name="connsiteX778" fmla="*/ 437 w 10000"/>
                <a:gd name="connsiteY778" fmla="*/ 8913 h 10000"/>
                <a:gd name="connsiteX779" fmla="*/ 455 w 10000"/>
                <a:gd name="connsiteY779" fmla="*/ 8859 h 10000"/>
                <a:gd name="connsiteX780" fmla="*/ 462 w 10000"/>
                <a:gd name="connsiteY780" fmla="*/ 8834 h 10000"/>
                <a:gd name="connsiteX781" fmla="*/ 470 w 10000"/>
                <a:gd name="connsiteY781" fmla="*/ 8810 h 10000"/>
                <a:gd name="connsiteX782" fmla="*/ 472 w 10000"/>
                <a:gd name="connsiteY782" fmla="*/ 8794 h 10000"/>
                <a:gd name="connsiteX783" fmla="*/ 472 w 10000"/>
                <a:gd name="connsiteY783" fmla="*/ 8780 h 10000"/>
                <a:gd name="connsiteX784" fmla="*/ 462 w 10000"/>
                <a:gd name="connsiteY784" fmla="*/ 8784 h 10000"/>
                <a:gd name="connsiteX785" fmla="*/ 452 w 10000"/>
                <a:gd name="connsiteY785" fmla="*/ 8787 h 10000"/>
                <a:gd name="connsiteX786" fmla="*/ 437 w 10000"/>
                <a:gd name="connsiteY786" fmla="*/ 8794 h 10000"/>
                <a:gd name="connsiteX787" fmla="*/ 424 w 10000"/>
                <a:gd name="connsiteY787" fmla="*/ 8803 h 10000"/>
                <a:gd name="connsiteX788" fmla="*/ 394 w 10000"/>
                <a:gd name="connsiteY788" fmla="*/ 8829 h 10000"/>
                <a:gd name="connsiteX789" fmla="*/ 364 w 10000"/>
                <a:gd name="connsiteY789" fmla="*/ 8859 h 10000"/>
                <a:gd name="connsiteX790" fmla="*/ 311 w 10000"/>
                <a:gd name="connsiteY790" fmla="*/ 8922 h 10000"/>
                <a:gd name="connsiteX791" fmla="*/ 268 w 10000"/>
                <a:gd name="connsiteY791" fmla="*/ 8964 h 10000"/>
                <a:gd name="connsiteX792" fmla="*/ 205 w 10000"/>
                <a:gd name="connsiteY792" fmla="*/ 9016 h 10000"/>
                <a:gd name="connsiteX793" fmla="*/ 146 w 10000"/>
                <a:gd name="connsiteY793" fmla="*/ 9053 h 10000"/>
                <a:gd name="connsiteX794" fmla="*/ 139 w 10000"/>
                <a:gd name="connsiteY794" fmla="*/ 9063 h 10000"/>
                <a:gd name="connsiteX795" fmla="*/ 129 w 10000"/>
                <a:gd name="connsiteY795" fmla="*/ 9077 h 10000"/>
                <a:gd name="connsiteX796" fmla="*/ 126 w 10000"/>
                <a:gd name="connsiteY796" fmla="*/ 9086 h 10000"/>
                <a:gd name="connsiteX797" fmla="*/ 126 w 10000"/>
                <a:gd name="connsiteY797" fmla="*/ 9102 h 10000"/>
                <a:gd name="connsiteX798" fmla="*/ 129 w 10000"/>
                <a:gd name="connsiteY798" fmla="*/ 9116 h 10000"/>
                <a:gd name="connsiteX799" fmla="*/ 139 w 10000"/>
                <a:gd name="connsiteY799" fmla="*/ 9135 h 10000"/>
                <a:gd name="connsiteX800" fmla="*/ 149 w 10000"/>
                <a:gd name="connsiteY800" fmla="*/ 9151 h 10000"/>
                <a:gd name="connsiteX801" fmla="*/ 164 w 10000"/>
                <a:gd name="connsiteY801" fmla="*/ 9175 h 10000"/>
                <a:gd name="connsiteX802" fmla="*/ 184 w 10000"/>
                <a:gd name="connsiteY802" fmla="*/ 9196 h 10000"/>
                <a:gd name="connsiteX803" fmla="*/ 207 w 10000"/>
                <a:gd name="connsiteY803" fmla="*/ 9215 h 10000"/>
                <a:gd name="connsiteX804" fmla="*/ 227 w 10000"/>
                <a:gd name="connsiteY804" fmla="*/ 9233 h 10000"/>
                <a:gd name="connsiteX805" fmla="*/ 253 w 10000"/>
                <a:gd name="connsiteY805" fmla="*/ 9250 h 10000"/>
                <a:gd name="connsiteX806" fmla="*/ 303 w 10000"/>
                <a:gd name="connsiteY806" fmla="*/ 9282 h 10000"/>
                <a:gd name="connsiteX807" fmla="*/ 351 w 10000"/>
                <a:gd name="connsiteY807" fmla="*/ 9315 h 10000"/>
                <a:gd name="connsiteX808" fmla="*/ 414 w 10000"/>
                <a:gd name="connsiteY808" fmla="*/ 9364 h 10000"/>
                <a:gd name="connsiteX809" fmla="*/ 480 w 10000"/>
                <a:gd name="connsiteY809" fmla="*/ 9416 h 10000"/>
                <a:gd name="connsiteX810" fmla="*/ 513 w 10000"/>
                <a:gd name="connsiteY810" fmla="*/ 9437 h 10000"/>
                <a:gd name="connsiteX811" fmla="*/ 548 w 10000"/>
                <a:gd name="connsiteY811" fmla="*/ 9462 h 10000"/>
                <a:gd name="connsiteX812" fmla="*/ 581 w 10000"/>
                <a:gd name="connsiteY812" fmla="*/ 9483 h 10000"/>
                <a:gd name="connsiteX813" fmla="*/ 614 w 10000"/>
                <a:gd name="connsiteY813" fmla="*/ 9502 h 10000"/>
                <a:gd name="connsiteX814" fmla="*/ 641 w 10000"/>
                <a:gd name="connsiteY814" fmla="*/ 9525 h 10000"/>
                <a:gd name="connsiteX815" fmla="*/ 672 w 10000"/>
                <a:gd name="connsiteY815" fmla="*/ 9549 h 10000"/>
                <a:gd name="connsiteX816" fmla="*/ 702 w 10000"/>
                <a:gd name="connsiteY816" fmla="*/ 9568 h 10000"/>
                <a:gd name="connsiteX817" fmla="*/ 737 w 10000"/>
                <a:gd name="connsiteY817" fmla="*/ 9589 h 10000"/>
                <a:gd name="connsiteX818" fmla="*/ 770 w 10000"/>
                <a:gd name="connsiteY818" fmla="*/ 9605 h 10000"/>
                <a:gd name="connsiteX819" fmla="*/ 808 w 10000"/>
                <a:gd name="connsiteY819" fmla="*/ 9617 h 10000"/>
                <a:gd name="connsiteX820" fmla="*/ 843 w 10000"/>
                <a:gd name="connsiteY820" fmla="*/ 9624 h 10000"/>
                <a:gd name="connsiteX821" fmla="*/ 884 w 10000"/>
                <a:gd name="connsiteY821" fmla="*/ 9628 h 10000"/>
                <a:gd name="connsiteX822" fmla="*/ 902 w 10000"/>
                <a:gd name="connsiteY822" fmla="*/ 9628 h 10000"/>
                <a:gd name="connsiteX823" fmla="*/ 914 w 10000"/>
                <a:gd name="connsiteY823" fmla="*/ 9631 h 10000"/>
                <a:gd name="connsiteX824" fmla="*/ 932 w 10000"/>
                <a:gd name="connsiteY824" fmla="*/ 9638 h 10000"/>
                <a:gd name="connsiteX825" fmla="*/ 942 w 10000"/>
                <a:gd name="connsiteY825" fmla="*/ 9642 h 10000"/>
                <a:gd name="connsiteX826" fmla="*/ 967 w 10000"/>
                <a:gd name="connsiteY826" fmla="*/ 9652 h 10000"/>
                <a:gd name="connsiteX827" fmla="*/ 987 w 10000"/>
                <a:gd name="connsiteY827" fmla="*/ 9668 h 10000"/>
                <a:gd name="connsiteX828" fmla="*/ 1005 w 10000"/>
                <a:gd name="connsiteY828" fmla="*/ 9682 h 10000"/>
                <a:gd name="connsiteX829" fmla="*/ 1025 w 10000"/>
                <a:gd name="connsiteY829" fmla="*/ 9698 h 10000"/>
                <a:gd name="connsiteX830" fmla="*/ 1045 w 10000"/>
                <a:gd name="connsiteY830" fmla="*/ 9712 h 10000"/>
                <a:gd name="connsiteX831" fmla="*/ 1073 w 10000"/>
                <a:gd name="connsiteY831" fmla="*/ 9724 h 10000"/>
                <a:gd name="connsiteX832" fmla="*/ 1098 w 10000"/>
                <a:gd name="connsiteY832" fmla="*/ 9738 h 10000"/>
                <a:gd name="connsiteX833" fmla="*/ 1121 w 10000"/>
                <a:gd name="connsiteY833" fmla="*/ 9750 h 10000"/>
                <a:gd name="connsiteX834" fmla="*/ 1141 w 10000"/>
                <a:gd name="connsiteY834" fmla="*/ 9762 h 10000"/>
                <a:gd name="connsiteX835" fmla="*/ 1159 w 10000"/>
                <a:gd name="connsiteY835" fmla="*/ 9776 h 10000"/>
                <a:gd name="connsiteX836" fmla="*/ 1172 w 10000"/>
                <a:gd name="connsiteY836" fmla="*/ 9787 h 10000"/>
                <a:gd name="connsiteX837" fmla="*/ 1182 w 10000"/>
                <a:gd name="connsiteY837" fmla="*/ 9804 h 10000"/>
                <a:gd name="connsiteX838" fmla="*/ 1194 w 10000"/>
                <a:gd name="connsiteY838" fmla="*/ 9818 h 10000"/>
                <a:gd name="connsiteX839" fmla="*/ 1202 w 10000"/>
                <a:gd name="connsiteY839" fmla="*/ 9834 h 10000"/>
                <a:gd name="connsiteX840" fmla="*/ 1212 w 10000"/>
                <a:gd name="connsiteY840" fmla="*/ 9869 h 10000"/>
                <a:gd name="connsiteX841" fmla="*/ 1220 w 10000"/>
                <a:gd name="connsiteY841" fmla="*/ 9906 h 10000"/>
                <a:gd name="connsiteX842" fmla="*/ 1230 w 10000"/>
                <a:gd name="connsiteY842" fmla="*/ 9951 h 10000"/>
                <a:gd name="connsiteX843" fmla="*/ 1237 w 10000"/>
                <a:gd name="connsiteY843" fmla="*/ 10000 h 10000"/>
                <a:gd name="connsiteX844" fmla="*/ 1237 w 10000"/>
                <a:gd name="connsiteY84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2157 w 10000"/>
                <a:gd name="connsiteY723" fmla="*/ 7882 h 10000"/>
                <a:gd name="connsiteX724" fmla="*/ 1990 w 10000"/>
                <a:gd name="connsiteY724" fmla="*/ 8422 h 10000"/>
                <a:gd name="connsiteX725" fmla="*/ 1904 w 10000"/>
                <a:gd name="connsiteY725" fmla="*/ 8481 h 10000"/>
                <a:gd name="connsiteX726" fmla="*/ 1856 w 10000"/>
                <a:gd name="connsiteY726" fmla="*/ 8506 h 10000"/>
                <a:gd name="connsiteX727" fmla="*/ 1816 w 10000"/>
                <a:gd name="connsiteY727" fmla="*/ 8527 h 10000"/>
                <a:gd name="connsiteX728" fmla="*/ 1793 w 10000"/>
                <a:gd name="connsiteY728" fmla="*/ 8539 h 10000"/>
                <a:gd name="connsiteX729" fmla="*/ 1775 w 10000"/>
                <a:gd name="connsiteY729" fmla="*/ 8546 h 10000"/>
                <a:gd name="connsiteX730" fmla="*/ 1758 w 10000"/>
                <a:gd name="connsiteY730" fmla="*/ 8548 h 10000"/>
                <a:gd name="connsiteX731" fmla="*/ 1742 w 10000"/>
                <a:gd name="connsiteY731" fmla="*/ 8551 h 10000"/>
                <a:gd name="connsiteX732" fmla="*/ 1727 w 10000"/>
                <a:gd name="connsiteY732" fmla="*/ 8537 h 10000"/>
                <a:gd name="connsiteX733" fmla="*/ 1717 w 10000"/>
                <a:gd name="connsiteY733" fmla="*/ 8518 h 10000"/>
                <a:gd name="connsiteX734" fmla="*/ 1684 w 10000"/>
                <a:gd name="connsiteY734" fmla="*/ 8429 h 10000"/>
                <a:gd name="connsiteX735" fmla="*/ 1525 w 10000"/>
                <a:gd name="connsiteY735" fmla="*/ 8186 h 10000"/>
                <a:gd name="connsiteX736" fmla="*/ 1500 w 10000"/>
                <a:gd name="connsiteY736" fmla="*/ 8191 h 10000"/>
                <a:gd name="connsiteX737" fmla="*/ 1472 w 10000"/>
                <a:gd name="connsiteY737" fmla="*/ 8198 h 10000"/>
                <a:gd name="connsiteX738" fmla="*/ 1434 w 10000"/>
                <a:gd name="connsiteY738" fmla="*/ 8223 h 10000"/>
                <a:gd name="connsiteX739" fmla="*/ 1149 w 10000"/>
                <a:gd name="connsiteY739" fmla="*/ 8256 h 10000"/>
                <a:gd name="connsiteX740" fmla="*/ 1139 w 10000"/>
                <a:gd name="connsiteY740" fmla="*/ 8249 h 10000"/>
                <a:gd name="connsiteX741" fmla="*/ 1126 w 10000"/>
                <a:gd name="connsiteY741" fmla="*/ 8240 h 10000"/>
                <a:gd name="connsiteX742" fmla="*/ 1114 w 10000"/>
                <a:gd name="connsiteY742" fmla="*/ 8240 h 10000"/>
                <a:gd name="connsiteX743" fmla="*/ 1091 w 10000"/>
                <a:gd name="connsiteY743" fmla="*/ 8242 h 10000"/>
                <a:gd name="connsiteX744" fmla="*/ 1071 w 10000"/>
                <a:gd name="connsiteY744" fmla="*/ 8252 h 10000"/>
                <a:gd name="connsiteX745" fmla="*/ 1048 w 10000"/>
                <a:gd name="connsiteY745" fmla="*/ 8261 h 10000"/>
                <a:gd name="connsiteX746" fmla="*/ 1030 w 10000"/>
                <a:gd name="connsiteY746" fmla="*/ 8273 h 10000"/>
                <a:gd name="connsiteX747" fmla="*/ 1010 w 10000"/>
                <a:gd name="connsiteY747" fmla="*/ 8287 h 10000"/>
                <a:gd name="connsiteX748" fmla="*/ 995 w 10000"/>
                <a:gd name="connsiteY748" fmla="*/ 8303 h 10000"/>
                <a:gd name="connsiteX749" fmla="*/ 975 w 10000"/>
                <a:gd name="connsiteY749" fmla="*/ 8322 h 10000"/>
                <a:gd name="connsiteX750" fmla="*/ 960 w 10000"/>
                <a:gd name="connsiteY750" fmla="*/ 8343 h 10000"/>
                <a:gd name="connsiteX751" fmla="*/ 927 w 10000"/>
                <a:gd name="connsiteY751" fmla="*/ 8380 h 10000"/>
                <a:gd name="connsiteX752" fmla="*/ 891 w 10000"/>
                <a:gd name="connsiteY752" fmla="*/ 8417 h 10000"/>
                <a:gd name="connsiteX753" fmla="*/ 874 w 10000"/>
                <a:gd name="connsiteY753" fmla="*/ 8436 h 10000"/>
                <a:gd name="connsiteX754" fmla="*/ 859 w 10000"/>
                <a:gd name="connsiteY754" fmla="*/ 8450 h 10000"/>
                <a:gd name="connsiteX755" fmla="*/ 838 w 10000"/>
                <a:gd name="connsiteY755" fmla="*/ 8462 h 10000"/>
                <a:gd name="connsiteX756" fmla="*/ 821 w 10000"/>
                <a:gd name="connsiteY756" fmla="*/ 8476 h 10000"/>
                <a:gd name="connsiteX757" fmla="*/ 742 w 10000"/>
                <a:gd name="connsiteY757" fmla="*/ 8562 h 10000"/>
                <a:gd name="connsiteX758" fmla="*/ 672 w 10000"/>
                <a:gd name="connsiteY758" fmla="*/ 8644 h 10000"/>
                <a:gd name="connsiteX759" fmla="*/ 639 w 10000"/>
                <a:gd name="connsiteY759" fmla="*/ 8684 h 10000"/>
                <a:gd name="connsiteX760" fmla="*/ 609 w 10000"/>
                <a:gd name="connsiteY760" fmla="*/ 8731 h 10000"/>
                <a:gd name="connsiteX761" fmla="*/ 583 w 10000"/>
                <a:gd name="connsiteY761" fmla="*/ 8777 h 10000"/>
                <a:gd name="connsiteX762" fmla="*/ 556 w 10000"/>
                <a:gd name="connsiteY762" fmla="*/ 8831 h 10000"/>
                <a:gd name="connsiteX763" fmla="*/ 545 w 10000"/>
                <a:gd name="connsiteY763" fmla="*/ 8852 h 10000"/>
                <a:gd name="connsiteX764" fmla="*/ 525 w 10000"/>
                <a:gd name="connsiteY764" fmla="*/ 8885 h 10000"/>
                <a:gd name="connsiteX765" fmla="*/ 503 w 10000"/>
                <a:gd name="connsiteY765" fmla="*/ 8925 h 10000"/>
                <a:gd name="connsiteX766" fmla="*/ 480 w 10000"/>
                <a:gd name="connsiteY766" fmla="*/ 8962 h 10000"/>
                <a:gd name="connsiteX767" fmla="*/ 465 w 10000"/>
                <a:gd name="connsiteY767" fmla="*/ 8981 h 10000"/>
                <a:gd name="connsiteX768" fmla="*/ 455 w 10000"/>
                <a:gd name="connsiteY768" fmla="*/ 8993 h 10000"/>
                <a:gd name="connsiteX769" fmla="*/ 444 w 10000"/>
                <a:gd name="connsiteY769" fmla="*/ 9000 h 10000"/>
                <a:gd name="connsiteX770" fmla="*/ 434 w 10000"/>
                <a:gd name="connsiteY770" fmla="*/ 9007 h 10000"/>
                <a:gd name="connsiteX771" fmla="*/ 432 w 10000"/>
                <a:gd name="connsiteY771" fmla="*/ 9007 h 10000"/>
                <a:gd name="connsiteX772" fmla="*/ 429 w 10000"/>
                <a:gd name="connsiteY772" fmla="*/ 9004 h 10000"/>
                <a:gd name="connsiteX773" fmla="*/ 427 w 10000"/>
                <a:gd name="connsiteY773" fmla="*/ 8997 h 10000"/>
                <a:gd name="connsiteX774" fmla="*/ 427 w 10000"/>
                <a:gd name="connsiteY774" fmla="*/ 8993 h 10000"/>
                <a:gd name="connsiteX775" fmla="*/ 424 w 10000"/>
                <a:gd name="connsiteY775" fmla="*/ 8976 h 10000"/>
                <a:gd name="connsiteX776" fmla="*/ 427 w 10000"/>
                <a:gd name="connsiteY776" fmla="*/ 8948 h 10000"/>
                <a:gd name="connsiteX777" fmla="*/ 437 w 10000"/>
                <a:gd name="connsiteY777" fmla="*/ 8913 h 10000"/>
                <a:gd name="connsiteX778" fmla="*/ 455 w 10000"/>
                <a:gd name="connsiteY778" fmla="*/ 8859 h 10000"/>
                <a:gd name="connsiteX779" fmla="*/ 462 w 10000"/>
                <a:gd name="connsiteY779" fmla="*/ 8834 h 10000"/>
                <a:gd name="connsiteX780" fmla="*/ 470 w 10000"/>
                <a:gd name="connsiteY780" fmla="*/ 8810 h 10000"/>
                <a:gd name="connsiteX781" fmla="*/ 472 w 10000"/>
                <a:gd name="connsiteY781" fmla="*/ 8794 h 10000"/>
                <a:gd name="connsiteX782" fmla="*/ 472 w 10000"/>
                <a:gd name="connsiteY782" fmla="*/ 8780 h 10000"/>
                <a:gd name="connsiteX783" fmla="*/ 462 w 10000"/>
                <a:gd name="connsiteY783" fmla="*/ 8784 h 10000"/>
                <a:gd name="connsiteX784" fmla="*/ 452 w 10000"/>
                <a:gd name="connsiteY784" fmla="*/ 8787 h 10000"/>
                <a:gd name="connsiteX785" fmla="*/ 437 w 10000"/>
                <a:gd name="connsiteY785" fmla="*/ 8794 h 10000"/>
                <a:gd name="connsiteX786" fmla="*/ 424 w 10000"/>
                <a:gd name="connsiteY786" fmla="*/ 8803 h 10000"/>
                <a:gd name="connsiteX787" fmla="*/ 394 w 10000"/>
                <a:gd name="connsiteY787" fmla="*/ 8829 h 10000"/>
                <a:gd name="connsiteX788" fmla="*/ 364 w 10000"/>
                <a:gd name="connsiteY788" fmla="*/ 8859 h 10000"/>
                <a:gd name="connsiteX789" fmla="*/ 311 w 10000"/>
                <a:gd name="connsiteY789" fmla="*/ 8922 h 10000"/>
                <a:gd name="connsiteX790" fmla="*/ 268 w 10000"/>
                <a:gd name="connsiteY790" fmla="*/ 8964 h 10000"/>
                <a:gd name="connsiteX791" fmla="*/ 205 w 10000"/>
                <a:gd name="connsiteY791" fmla="*/ 9016 h 10000"/>
                <a:gd name="connsiteX792" fmla="*/ 146 w 10000"/>
                <a:gd name="connsiteY792" fmla="*/ 9053 h 10000"/>
                <a:gd name="connsiteX793" fmla="*/ 139 w 10000"/>
                <a:gd name="connsiteY793" fmla="*/ 9063 h 10000"/>
                <a:gd name="connsiteX794" fmla="*/ 129 w 10000"/>
                <a:gd name="connsiteY794" fmla="*/ 9077 h 10000"/>
                <a:gd name="connsiteX795" fmla="*/ 126 w 10000"/>
                <a:gd name="connsiteY795" fmla="*/ 9086 h 10000"/>
                <a:gd name="connsiteX796" fmla="*/ 126 w 10000"/>
                <a:gd name="connsiteY796" fmla="*/ 9102 h 10000"/>
                <a:gd name="connsiteX797" fmla="*/ 129 w 10000"/>
                <a:gd name="connsiteY797" fmla="*/ 9116 h 10000"/>
                <a:gd name="connsiteX798" fmla="*/ 139 w 10000"/>
                <a:gd name="connsiteY798" fmla="*/ 9135 h 10000"/>
                <a:gd name="connsiteX799" fmla="*/ 149 w 10000"/>
                <a:gd name="connsiteY799" fmla="*/ 9151 h 10000"/>
                <a:gd name="connsiteX800" fmla="*/ 164 w 10000"/>
                <a:gd name="connsiteY800" fmla="*/ 9175 h 10000"/>
                <a:gd name="connsiteX801" fmla="*/ 184 w 10000"/>
                <a:gd name="connsiteY801" fmla="*/ 9196 h 10000"/>
                <a:gd name="connsiteX802" fmla="*/ 207 w 10000"/>
                <a:gd name="connsiteY802" fmla="*/ 9215 h 10000"/>
                <a:gd name="connsiteX803" fmla="*/ 227 w 10000"/>
                <a:gd name="connsiteY803" fmla="*/ 9233 h 10000"/>
                <a:gd name="connsiteX804" fmla="*/ 253 w 10000"/>
                <a:gd name="connsiteY804" fmla="*/ 9250 h 10000"/>
                <a:gd name="connsiteX805" fmla="*/ 303 w 10000"/>
                <a:gd name="connsiteY805" fmla="*/ 9282 h 10000"/>
                <a:gd name="connsiteX806" fmla="*/ 351 w 10000"/>
                <a:gd name="connsiteY806" fmla="*/ 9315 h 10000"/>
                <a:gd name="connsiteX807" fmla="*/ 414 w 10000"/>
                <a:gd name="connsiteY807" fmla="*/ 9364 h 10000"/>
                <a:gd name="connsiteX808" fmla="*/ 480 w 10000"/>
                <a:gd name="connsiteY808" fmla="*/ 9416 h 10000"/>
                <a:gd name="connsiteX809" fmla="*/ 513 w 10000"/>
                <a:gd name="connsiteY809" fmla="*/ 9437 h 10000"/>
                <a:gd name="connsiteX810" fmla="*/ 548 w 10000"/>
                <a:gd name="connsiteY810" fmla="*/ 9462 h 10000"/>
                <a:gd name="connsiteX811" fmla="*/ 581 w 10000"/>
                <a:gd name="connsiteY811" fmla="*/ 9483 h 10000"/>
                <a:gd name="connsiteX812" fmla="*/ 614 w 10000"/>
                <a:gd name="connsiteY812" fmla="*/ 9502 h 10000"/>
                <a:gd name="connsiteX813" fmla="*/ 641 w 10000"/>
                <a:gd name="connsiteY813" fmla="*/ 9525 h 10000"/>
                <a:gd name="connsiteX814" fmla="*/ 672 w 10000"/>
                <a:gd name="connsiteY814" fmla="*/ 9549 h 10000"/>
                <a:gd name="connsiteX815" fmla="*/ 702 w 10000"/>
                <a:gd name="connsiteY815" fmla="*/ 9568 h 10000"/>
                <a:gd name="connsiteX816" fmla="*/ 737 w 10000"/>
                <a:gd name="connsiteY816" fmla="*/ 9589 h 10000"/>
                <a:gd name="connsiteX817" fmla="*/ 770 w 10000"/>
                <a:gd name="connsiteY817" fmla="*/ 9605 h 10000"/>
                <a:gd name="connsiteX818" fmla="*/ 808 w 10000"/>
                <a:gd name="connsiteY818" fmla="*/ 9617 h 10000"/>
                <a:gd name="connsiteX819" fmla="*/ 843 w 10000"/>
                <a:gd name="connsiteY819" fmla="*/ 9624 h 10000"/>
                <a:gd name="connsiteX820" fmla="*/ 884 w 10000"/>
                <a:gd name="connsiteY820" fmla="*/ 9628 h 10000"/>
                <a:gd name="connsiteX821" fmla="*/ 902 w 10000"/>
                <a:gd name="connsiteY821" fmla="*/ 9628 h 10000"/>
                <a:gd name="connsiteX822" fmla="*/ 914 w 10000"/>
                <a:gd name="connsiteY822" fmla="*/ 9631 h 10000"/>
                <a:gd name="connsiteX823" fmla="*/ 932 w 10000"/>
                <a:gd name="connsiteY823" fmla="*/ 9638 h 10000"/>
                <a:gd name="connsiteX824" fmla="*/ 942 w 10000"/>
                <a:gd name="connsiteY824" fmla="*/ 9642 h 10000"/>
                <a:gd name="connsiteX825" fmla="*/ 967 w 10000"/>
                <a:gd name="connsiteY825" fmla="*/ 9652 h 10000"/>
                <a:gd name="connsiteX826" fmla="*/ 987 w 10000"/>
                <a:gd name="connsiteY826" fmla="*/ 9668 h 10000"/>
                <a:gd name="connsiteX827" fmla="*/ 1005 w 10000"/>
                <a:gd name="connsiteY827" fmla="*/ 9682 h 10000"/>
                <a:gd name="connsiteX828" fmla="*/ 1025 w 10000"/>
                <a:gd name="connsiteY828" fmla="*/ 9698 h 10000"/>
                <a:gd name="connsiteX829" fmla="*/ 1045 w 10000"/>
                <a:gd name="connsiteY829" fmla="*/ 9712 h 10000"/>
                <a:gd name="connsiteX830" fmla="*/ 1073 w 10000"/>
                <a:gd name="connsiteY830" fmla="*/ 9724 h 10000"/>
                <a:gd name="connsiteX831" fmla="*/ 1098 w 10000"/>
                <a:gd name="connsiteY831" fmla="*/ 9738 h 10000"/>
                <a:gd name="connsiteX832" fmla="*/ 1121 w 10000"/>
                <a:gd name="connsiteY832" fmla="*/ 9750 h 10000"/>
                <a:gd name="connsiteX833" fmla="*/ 1141 w 10000"/>
                <a:gd name="connsiteY833" fmla="*/ 9762 h 10000"/>
                <a:gd name="connsiteX834" fmla="*/ 1159 w 10000"/>
                <a:gd name="connsiteY834" fmla="*/ 9776 h 10000"/>
                <a:gd name="connsiteX835" fmla="*/ 1172 w 10000"/>
                <a:gd name="connsiteY835" fmla="*/ 9787 h 10000"/>
                <a:gd name="connsiteX836" fmla="*/ 1182 w 10000"/>
                <a:gd name="connsiteY836" fmla="*/ 9804 h 10000"/>
                <a:gd name="connsiteX837" fmla="*/ 1194 w 10000"/>
                <a:gd name="connsiteY837" fmla="*/ 9818 h 10000"/>
                <a:gd name="connsiteX838" fmla="*/ 1202 w 10000"/>
                <a:gd name="connsiteY838" fmla="*/ 9834 h 10000"/>
                <a:gd name="connsiteX839" fmla="*/ 1212 w 10000"/>
                <a:gd name="connsiteY839" fmla="*/ 9869 h 10000"/>
                <a:gd name="connsiteX840" fmla="*/ 1220 w 10000"/>
                <a:gd name="connsiteY840" fmla="*/ 9906 h 10000"/>
                <a:gd name="connsiteX841" fmla="*/ 1230 w 10000"/>
                <a:gd name="connsiteY841" fmla="*/ 9951 h 10000"/>
                <a:gd name="connsiteX842" fmla="*/ 1237 w 10000"/>
                <a:gd name="connsiteY842" fmla="*/ 10000 h 10000"/>
                <a:gd name="connsiteX843" fmla="*/ 1237 w 10000"/>
                <a:gd name="connsiteY84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2159 w 10000"/>
                <a:gd name="connsiteY722" fmla="*/ 7833 h 10000"/>
                <a:gd name="connsiteX723" fmla="*/ 1990 w 10000"/>
                <a:gd name="connsiteY723" fmla="*/ 8422 h 10000"/>
                <a:gd name="connsiteX724" fmla="*/ 1904 w 10000"/>
                <a:gd name="connsiteY724" fmla="*/ 8481 h 10000"/>
                <a:gd name="connsiteX725" fmla="*/ 1856 w 10000"/>
                <a:gd name="connsiteY725" fmla="*/ 8506 h 10000"/>
                <a:gd name="connsiteX726" fmla="*/ 1816 w 10000"/>
                <a:gd name="connsiteY726" fmla="*/ 8527 h 10000"/>
                <a:gd name="connsiteX727" fmla="*/ 1793 w 10000"/>
                <a:gd name="connsiteY727" fmla="*/ 8539 h 10000"/>
                <a:gd name="connsiteX728" fmla="*/ 1775 w 10000"/>
                <a:gd name="connsiteY728" fmla="*/ 8546 h 10000"/>
                <a:gd name="connsiteX729" fmla="*/ 1758 w 10000"/>
                <a:gd name="connsiteY729" fmla="*/ 8548 h 10000"/>
                <a:gd name="connsiteX730" fmla="*/ 1742 w 10000"/>
                <a:gd name="connsiteY730" fmla="*/ 8551 h 10000"/>
                <a:gd name="connsiteX731" fmla="*/ 1727 w 10000"/>
                <a:gd name="connsiteY731" fmla="*/ 8537 h 10000"/>
                <a:gd name="connsiteX732" fmla="*/ 1717 w 10000"/>
                <a:gd name="connsiteY732" fmla="*/ 8518 h 10000"/>
                <a:gd name="connsiteX733" fmla="*/ 1684 w 10000"/>
                <a:gd name="connsiteY733" fmla="*/ 8429 h 10000"/>
                <a:gd name="connsiteX734" fmla="*/ 1525 w 10000"/>
                <a:gd name="connsiteY734" fmla="*/ 8186 h 10000"/>
                <a:gd name="connsiteX735" fmla="*/ 1500 w 10000"/>
                <a:gd name="connsiteY735" fmla="*/ 8191 h 10000"/>
                <a:gd name="connsiteX736" fmla="*/ 1472 w 10000"/>
                <a:gd name="connsiteY736" fmla="*/ 8198 h 10000"/>
                <a:gd name="connsiteX737" fmla="*/ 1434 w 10000"/>
                <a:gd name="connsiteY737" fmla="*/ 8223 h 10000"/>
                <a:gd name="connsiteX738" fmla="*/ 1149 w 10000"/>
                <a:gd name="connsiteY738" fmla="*/ 8256 h 10000"/>
                <a:gd name="connsiteX739" fmla="*/ 1139 w 10000"/>
                <a:gd name="connsiteY739" fmla="*/ 8249 h 10000"/>
                <a:gd name="connsiteX740" fmla="*/ 1126 w 10000"/>
                <a:gd name="connsiteY740" fmla="*/ 8240 h 10000"/>
                <a:gd name="connsiteX741" fmla="*/ 1114 w 10000"/>
                <a:gd name="connsiteY741" fmla="*/ 8240 h 10000"/>
                <a:gd name="connsiteX742" fmla="*/ 1091 w 10000"/>
                <a:gd name="connsiteY742" fmla="*/ 8242 h 10000"/>
                <a:gd name="connsiteX743" fmla="*/ 1071 w 10000"/>
                <a:gd name="connsiteY743" fmla="*/ 8252 h 10000"/>
                <a:gd name="connsiteX744" fmla="*/ 1048 w 10000"/>
                <a:gd name="connsiteY744" fmla="*/ 8261 h 10000"/>
                <a:gd name="connsiteX745" fmla="*/ 1030 w 10000"/>
                <a:gd name="connsiteY745" fmla="*/ 8273 h 10000"/>
                <a:gd name="connsiteX746" fmla="*/ 1010 w 10000"/>
                <a:gd name="connsiteY746" fmla="*/ 8287 h 10000"/>
                <a:gd name="connsiteX747" fmla="*/ 995 w 10000"/>
                <a:gd name="connsiteY747" fmla="*/ 8303 h 10000"/>
                <a:gd name="connsiteX748" fmla="*/ 975 w 10000"/>
                <a:gd name="connsiteY748" fmla="*/ 8322 h 10000"/>
                <a:gd name="connsiteX749" fmla="*/ 960 w 10000"/>
                <a:gd name="connsiteY749" fmla="*/ 8343 h 10000"/>
                <a:gd name="connsiteX750" fmla="*/ 927 w 10000"/>
                <a:gd name="connsiteY750" fmla="*/ 8380 h 10000"/>
                <a:gd name="connsiteX751" fmla="*/ 891 w 10000"/>
                <a:gd name="connsiteY751" fmla="*/ 8417 h 10000"/>
                <a:gd name="connsiteX752" fmla="*/ 874 w 10000"/>
                <a:gd name="connsiteY752" fmla="*/ 8436 h 10000"/>
                <a:gd name="connsiteX753" fmla="*/ 859 w 10000"/>
                <a:gd name="connsiteY753" fmla="*/ 8450 h 10000"/>
                <a:gd name="connsiteX754" fmla="*/ 838 w 10000"/>
                <a:gd name="connsiteY754" fmla="*/ 8462 h 10000"/>
                <a:gd name="connsiteX755" fmla="*/ 821 w 10000"/>
                <a:gd name="connsiteY755" fmla="*/ 8476 h 10000"/>
                <a:gd name="connsiteX756" fmla="*/ 742 w 10000"/>
                <a:gd name="connsiteY756" fmla="*/ 8562 h 10000"/>
                <a:gd name="connsiteX757" fmla="*/ 672 w 10000"/>
                <a:gd name="connsiteY757" fmla="*/ 8644 h 10000"/>
                <a:gd name="connsiteX758" fmla="*/ 639 w 10000"/>
                <a:gd name="connsiteY758" fmla="*/ 8684 h 10000"/>
                <a:gd name="connsiteX759" fmla="*/ 609 w 10000"/>
                <a:gd name="connsiteY759" fmla="*/ 8731 h 10000"/>
                <a:gd name="connsiteX760" fmla="*/ 583 w 10000"/>
                <a:gd name="connsiteY760" fmla="*/ 8777 h 10000"/>
                <a:gd name="connsiteX761" fmla="*/ 556 w 10000"/>
                <a:gd name="connsiteY761" fmla="*/ 8831 h 10000"/>
                <a:gd name="connsiteX762" fmla="*/ 545 w 10000"/>
                <a:gd name="connsiteY762" fmla="*/ 8852 h 10000"/>
                <a:gd name="connsiteX763" fmla="*/ 525 w 10000"/>
                <a:gd name="connsiteY763" fmla="*/ 8885 h 10000"/>
                <a:gd name="connsiteX764" fmla="*/ 503 w 10000"/>
                <a:gd name="connsiteY764" fmla="*/ 8925 h 10000"/>
                <a:gd name="connsiteX765" fmla="*/ 480 w 10000"/>
                <a:gd name="connsiteY765" fmla="*/ 8962 h 10000"/>
                <a:gd name="connsiteX766" fmla="*/ 465 w 10000"/>
                <a:gd name="connsiteY766" fmla="*/ 8981 h 10000"/>
                <a:gd name="connsiteX767" fmla="*/ 455 w 10000"/>
                <a:gd name="connsiteY767" fmla="*/ 8993 h 10000"/>
                <a:gd name="connsiteX768" fmla="*/ 444 w 10000"/>
                <a:gd name="connsiteY768" fmla="*/ 9000 h 10000"/>
                <a:gd name="connsiteX769" fmla="*/ 434 w 10000"/>
                <a:gd name="connsiteY769" fmla="*/ 9007 h 10000"/>
                <a:gd name="connsiteX770" fmla="*/ 432 w 10000"/>
                <a:gd name="connsiteY770" fmla="*/ 9007 h 10000"/>
                <a:gd name="connsiteX771" fmla="*/ 429 w 10000"/>
                <a:gd name="connsiteY771" fmla="*/ 9004 h 10000"/>
                <a:gd name="connsiteX772" fmla="*/ 427 w 10000"/>
                <a:gd name="connsiteY772" fmla="*/ 8997 h 10000"/>
                <a:gd name="connsiteX773" fmla="*/ 427 w 10000"/>
                <a:gd name="connsiteY773" fmla="*/ 8993 h 10000"/>
                <a:gd name="connsiteX774" fmla="*/ 424 w 10000"/>
                <a:gd name="connsiteY774" fmla="*/ 8976 h 10000"/>
                <a:gd name="connsiteX775" fmla="*/ 427 w 10000"/>
                <a:gd name="connsiteY775" fmla="*/ 8948 h 10000"/>
                <a:gd name="connsiteX776" fmla="*/ 437 w 10000"/>
                <a:gd name="connsiteY776" fmla="*/ 8913 h 10000"/>
                <a:gd name="connsiteX777" fmla="*/ 455 w 10000"/>
                <a:gd name="connsiteY777" fmla="*/ 8859 h 10000"/>
                <a:gd name="connsiteX778" fmla="*/ 462 w 10000"/>
                <a:gd name="connsiteY778" fmla="*/ 8834 h 10000"/>
                <a:gd name="connsiteX779" fmla="*/ 470 w 10000"/>
                <a:gd name="connsiteY779" fmla="*/ 8810 h 10000"/>
                <a:gd name="connsiteX780" fmla="*/ 472 w 10000"/>
                <a:gd name="connsiteY780" fmla="*/ 8794 h 10000"/>
                <a:gd name="connsiteX781" fmla="*/ 472 w 10000"/>
                <a:gd name="connsiteY781" fmla="*/ 8780 h 10000"/>
                <a:gd name="connsiteX782" fmla="*/ 462 w 10000"/>
                <a:gd name="connsiteY782" fmla="*/ 8784 h 10000"/>
                <a:gd name="connsiteX783" fmla="*/ 452 w 10000"/>
                <a:gd name="connsiteY783" fmla="*/ 8787 h 10000"/>
                <a:gd name="connsiteX784" fmla="*/ 437 w 10000"/>
                <a:gd name="connsiteY784" fmla="*/ 8794 h 10000"/>
                <a:gd name="connsiteX785" fmla="*/ 424 w 10000"/>
                <a:gd name="connsiteY785" fmla="*/ 8803 h 10000"/>
                <a:gd name="connsiteX786" fmla="*/ 394 w 10000"/>
                <a:gd name="connsiteY786" fmla="*/ 8829 h 10000"/>
                <a:gd name="connsiteX787" fmla="*/ 364 w 10000"/>
                <a:gd name="connsiteY787" fmla="*/ 8859 h 10000"/>
                <a:gd name="connsiteX788" fmla="*/ 311 w 10000"/>
                <a:gd name="connsiteY788" fmla="*/ 8922 h 10000"/>
                <a:gd name="connsiteX789" fmla="*/ 268 w 10000"/>
                <a:gd name="connsiteY789" fmla="*/ 8964 h 10000"/>
                <a:gd name="connsiteX790" fmla="*/ 205 w 10000"/>
                <a:gd name="connsiteY790" fmla="*/ 9016 h 10000"/>
                <a:gd name="connsiteX791" fmla="*/ 146 w 10000"/>
                <a:gd name="connsiteY791" fmla="*/ 9053 h 10000"/>
                <a:gd name="connsiteX792" fmla="*/ 139 w 10000"/>
                <a:gd name="connsiteY792" fmla="*/ 9063 h 10000"/>
                <a:gd name="connsiteX793" fmla="*/ 129 w 10000"/>
                <a:gd name="connsiteY793" fmla="*/ 9077 h 10000"/>
                <a:gd name="connsiteX794" fmla="*/ 126 w 10000"/>
                <a:gd name="connsiteY794" fmla="*/ 9086 h 10000"/>
                <a:gd name="connsiteX795" fmla="*/ 126 w 10000"/>
                <a:gd name="connsiteY795" fmla="*/ 9102 h 10000"/>
                <a:gd name="connsiteX796" fmla="*/ 129 w 10000"/>
                <a:gd name="connsiteY796" fmla="*/ 9116 h 10000"/>
                <a:gd name="connsiteX797" fmla="*/ 139 w 10000"/>
                <a:gd name="connsiteY797" fmla="*/ 9135 h 10000"/>
                <a:gd name="connsiteX798" fmla="*/ 149 w 10000"/>
                <a:gd name="connsiteY798" fmla="*/ 9151 h 10000"/>
                <a:gd name="connsiteX799" fmla="*/ 164 w 10000"/>
                <a:gd name="connsiteY799" fmla="*/ 9175 h 10000"/>
                <a:gd name="connsiteX800" fmla="*/ 184 w 10000"/>
                <a:gd name="connsiteY800" fmla="*/ 9196 h 10000"/>
                <a:gd name="connsiteX801" fmla="*/ 207 w 10000"/>
                <a:gd name="connsiteY801" fmla="*/ 9215 h 10000"/>
                <a:gd name="connsiteX802" fmla="*/ 227 w 10000"/>
                <a:gd name="connsiteY802" fmla="*/ 9233 h 10000"/>
                <a:gd name="connsiteX803" fmla="*/ 253 w 10000"/>
                <a:gd name="connsiteY803" fmla="*/ 9250 h 10000"/>
                <a:gd name="connsiteX804" fmla="*/ 303 w 10000"/>
                <a:gd name="connsiteY804" fmla="*/ 9282 h 10000"/>
                <a:gd name="connsiteX805" fmla="*/ 351 w 10000"/>
                <a:gd name="connsiteY805" fmla="*/ 9315 h 10000"/>
                <a:gd name="connsiteX806" fmla="*/ 414 w 10000"/>
                <a:gd name="connsiteY806" fmla="*/ 9364 h 10000"/>
                <a:gd name="connsiteX807" fmla="*/ 480 w 10000"/>
                <a:gd name="connsiteY807" fmla="*/ 9416 h 10000"/>
                <a:gd name="connsiteX808" fmla="*/ 513 w 10000"/>
                <a:gd name="connsiteY808" fmla="*/ 9437 h 10000"/>
                <a:gd name="connsiteX809" fmla="*/ 548 w 10000"/>
                <a:gd name="connsiteY809" fmla="*/ 9462 h 10000"/>
                <a:gd name="connsiteX810" fmla="*/ 581 w 10000"/>
                <a:gd name="connsiteY810" fmla="*/ 9483 h 10000"/>
                <a:gd name="connsiteX811" fmla="*/ 614 w 10000"/>
                <a:gd name="connsiteY811" fmla="*/ 9502 h 10000"/>
                <a:gd name="connsiteX812" fmla="*/ 641 w 10000"/>
                <a:gd name="connsiteY812" fmla="*/ 9525 h 10000"/>
                <a:gd name="connsiteX813" fmla="*/ 672 w 10000"/>
                <a:gd name="connsiteY813" fmla="*/ 9549 h 10000"/>
                <a:gd name="connsiteX814" fmla="*/ 702 w 10000"/>
                <a:gd name="connsiteY814" fmla="*/ 9568 h 10000"/>
                <a:gd name="connsiteX815" fmla="*/ 737 w 10000"/>
                <a:gd name="connsiteY815" fmla="*/ 9589 h 10000"/>
                <a:gd name="connsiteX816" fmla="*/ 770 w 10000"/>
                <a:gd name="connsiteY816" fmla="*/ 9605 h 10000"/>
                <a:gd name="connsiteX817" fmla="*/ 808 w 10000"/>
                <a:gd name="connsiteY817" fmla="*/ 9617 h 10000"/>
                <a:gd name="connsiteX818" fmla="*/ 843 w 10000"/>
                <a:gd name="connsiteY818" fmla="*/ 9624 h 10000"/>
                <a:gd name="connsiteX819" fmla="*/ 884 w 10000"/>
                <a:gd name="connsiteY819" fmla="*/ 9628 h 10000"/>
                <a:gd name="connsiteX820" fmla="*/ 902 w 10000"/>
                <a:gd name="connsiteY820" fmla="*/ 9628 h 10000"/>
                <a:gd name="connsiteX821" fmla="*/ 914 w 10000"/>
                <a:gd name="connsiteY821" fmla="*/ 9631 h 10000"/>
                <a:gd name="connsiteX822" fmla="*/ 932 w 10000"/>
                <a:gd name="connsiteY822" fmla="*/ 9638 h 10000"/>
                <a:gd name="connsiteX823" fmla="*/ 942 w 10000"/>
                <a:gd name="connsiteY823" fmla="*/ 9642 h 10000"/>
                <a:gd name="connsiteX824" fmla="*/ 967 w 10000"/>
                <a:gd name="connsiteY824" fmla="*/ 9652 h 10000"/>
                <a:gd name="connsiteX825" fmla="*/ 987 w 10000"/>
                <a:gd name="connsiteY825" fmla="*/ 9668 h 10000"/>
                <a:gd name="connsiteX826" fmla="*/ 1005 w 10000"/>
                <a:gd name="connsiteY826" fmla="*/ 9682 h 10000"/>
                <a:gd name="connsiteX827" fmla="*/ 1025 w 10000"/>
                <a:gd name="connsiteY827" fmla="*/ 9698 h 10000"/>
                <a:gd name="connsiteX828" fmla="*/ 1045 w 10000"/>
                <a:gd name="connsiteY828" fmla="*/ 9712 h 10000"/>
                <a:gd name="connsiteX829" fmla="*/ 1073 w 10000"/>
                <a:gd name="connsiteY829" fmla="*/ 9724 h 10000"/>
                <a:gd name="connsiteX830" fmla="*/ 1098 w 10000"/>
                <a:gd name="connsiteY830" fmla="*/ 9738 h 10000"/>
                <a:gd name="connsiteX831" fmla="*/ 1121 w 10000"/>
                <a:gd name="connsiteY831" fmla="*/ 9750 h 10000"/>
                <a:gd name="connsiteX832" fmla="*/ 1141 w 10000"/>
                <a:gd name="connsiteY832" fmla="*/ 9762 h 10000"/>
                <a:gd name="connsiteX833" fmla="*/ 1159 w 10000"/>
                <a:gd name="connsiteY833" fmla="*/ 9776 h 10000"/>
                <a:gd name="connsiteX834" fmla="*/ 1172 w 10000"/>
                <a:gd name="connsiteY834" fmla="*/ 9787 h 10000"/>
                <a:gd name="connsiteX835" fmla="*/ 1182 w 10000"/>
                <a:gd name="connsiteY835" fmla="*/ 9804 h 10000"/>
                <a:gd name="connsiteX836" fmla="*/ 1194 w 10000"/>
                <a:gd name="connsiteY836" fmla="*/ 9818 h 10000"/>
                <a:gd name="connsiteX837" fmla="*/ 1202 w 10000"/>
                <a:gd name="connsiteY837" fmla="*/ 9834 h 10000"/>
                <a:gd name="connsiteX838" fmla="*/ 1212 w 10000"/>
                <a:gd name="connsiteY838" fmla="*/ 9869 h 10000"/>
                <a:gd name="connsiteX839" fmla="*/ 1220 w 10000"/>
                <a:gd name="connsiteY839" fmla="*/ 9906 h 10000"/>
                <a:gd name="connsiteX840" fmla="*/ 1230 w 10000"/>
                <a:gd name="connsiteY840" fmla="*/ 9951 h 10000"/>
                <a:gd name="connsiteX841" fmla="*/ 1237 w 10000"/>
                <a:gd name="connsiteY841" fmla="*/ 10000 h 10000"/>
                <a:gd name="connsiteX842" fmla="*/ 1237 w 10000"/>
                <a:gd name="connsiteY84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2167 w 10000"/>
                <a:gd name="connsiteY721" fmla="*/ 7742 h 10000"/>
                <a:gd name="connsiteX722" fmla="*/ 1990 w 10000"/>
                <a:gd name="connsiteY722" fmla="*/ 8422 h 10000"/>
                <a:gd name="connsiteX723" fmla="*/ 1904 w 10000"/>
                <a:gd name="connsiteY723" fmla="*/ 8481 h 10000"/>
                <a:gd name="connsiteX724" fmla="*/ 1856 w 10000"/>
                <a:gd name="connsiteY724" fmla="*/ 8506 h 10000"/>
                <a:gd name="connsiteX725" fmla="*/ 1816 w 10000"/>
                <a:gd name="connsiteY725" fmla="*/ 8527 h 10000"/>
                <a:gd name="connsiteX726" fmla="*/ 1793 w 10000"/>
                <a:gd name="connsiteY726" fmla="*/ 8539 h 10000"/>
                <a:gd name="connsiteX727" fmla="*/ 1775 w 10000"/>
                <a:gd name="connsiteY727" fmla="*/ 8546 h 10000"/>
                <a:gd name="connsiteX728" fmla="*/ 1758 w 10000"/>
                <a:gd name="connsiteY728" fmla="*/ 8548 h 10000"/>
                <a:gd name="connsiteX729" fmla="*/ 1742 w 10000"/>
                <a:gd name="connsiteY729" fmla="*/ 8551 h 10000"/>
                <a:gd name="connsiteX730" fmla="*/ 1727 w 10000"/>
                <a:gd name="connsiteY730" fmla="*/ 8537 h 10000"/>
                <a:gd name="connsiteX731" fmla="*/ 1717 w 10000"/>
                <a:gd name="connsiteY731" fmla="*/ 8518 h 10000"/>
                <a:gd name="connsiteX732" fmla="*/ 1684 w 10000"/>
                <a:gd name="connsiteY732" fmla="*/ 8429 h 10000"/>
                <a:gd name="connsiteX733" fmla="*/ 1525 w 10000"/>
                <a:gd name="connsiteY733" fmla="*/ 8186 h 10000"/>
                <a:gd name="connsiteX734" fmla="*/ 1500 w 10000"/>
                <a:gd name="connsiteY734" fmla="*/ 8191 h 10000"/>
                <a:gd name="connsiteX735" fmla="*/ 1472 w 10000"/>
                <a:gd name="connsiteY735" fmla="*/ 8198 h 10000"/>
                <a:gd name="connsiteX736" fmla="*/ 1434 w 10000"/>
                <a:gd name="connsiteY736" fmla="*/ 8223 h 10000"/>
                <a:gd name="connsiteX737" fmla="*/ 1149 w 10000"/>
                <a:gd name="connsiteY737" fmla="*/ 8256 h 10000"/>
                <a:gd name="connsiteX738" fmla="*/ 1139 w 10000"/>
                <a:gd name="connsiteY738" fmla="*/ 8249 h 10000"/>
                <a:gd name="connsiteX739" fmla="*/ 1126 w 10000"/>
                <a:gd name="connsiteY739" fmla="*/ 8240 h 10000"/>
                <a:gd name="connsiteX740" fmla="*/ 1114 w 10000"/>
                <a:gd name="connsiteY740" fmla="*/ 8240 h 10000"/>
                <a:gd name="connsiteX741" fmla="*/ 1091 w 10000"/>
                <a:gd name="connsiteY741" fmla="*/ 8242 h 10000"/>
                <a:gd name="connsiteX742" fmla="*/ 1071 w 10000"/>
                <a:gd name="connsiteY742" fmla="*/ 8252 h 10000"/>
                <a:gd name="connsiteX743" fmla="*/ 1048 w 10000"/>
                <a:gd name="connsiteY743" fmla="*/ 8261 h 10000"/>
                <a:gd name="connsiteX744" fmla="*/ 1030 w 10000"/>
                <a:gd name="connsiteY744" fmla="*/ 8273 h 10000"/>
                <a:gd name="connsiteX745" fmla="*/ 1010 w 10000"/>
                <a:gd name="connsiteY745" fmla="*/ 8287 h 10000"/>
                <a:gd name="connsiteX746" fmla="*/ 995 w 10000"/>
                <a:gd name="connsiteY746" fmla="*/ 8303 h 10000"/>
                <a:gd name="connsiteX747" fmla="*/ 975 w 10000"/>
                <a:gd name="connsiteY747" fmla="*/ 8322 h 10000"/>
                <a:gd name="connsiteX748" fmla="*/ 960 w 10000"/>
                <a:gd name="connsiteY748" fmla="*/ 8343 h 10000"/>
                <a:gd name="connsiteX749" fmla="*/ 927 w 10000"/>
                <a:gd name="connsiteY749" fmla="*/ 8380 h 10000"/>
                <a:gd name="connsiteX750" fmla="*/ 891 w 10000"/>
                <a:gd name="connsiteY750" fmla="*/ 8417 h 10000"/>
                <a:gd name="connsiteX751" fmla="*/ 874 w 10000"/>
                <a:gd name="connsiteY751" fmla="*/ 8436 h 10000"/>
                <a:gd name="connsiteX752" fmla="*/ 859 w 10000"/>
                <a:gd name="connsiteY752" fmla="*/ 8450 h 10000"/>
                <a:gd name="connsiteX753" fmla="*/ 838 w 10000"/>
                <a:gd name="connsiteY753" fmla="*/ 8462 h 10000"/>
                <a:gd name="connsiteX754" fmla="*/ 821 w 10000"/>
                <a:gd name="connsiteY754" fmla="*/ 8476 h 10000"/>
                <a:gd name="connsiteX755" fmla="*/ 742 w 10000"/>
                <a:gd name="connsiteY755" fmla="*/ 8562 h 10000"/>
                <a:gd name="connsiteX756" fmla="*/ 672 w 10000"/>
                <a:gd name="connsiteY756" fmla="*/ 8644 h 10000"/>
                <a:gd name="connsiteX757" fmla="*/ 639 w 10000"/>
                <a:gd name="connsiteY757" fmla="*/ 8684 h 10000"/>
                <a:gd name="connsiteX758" fmla="*/ 609 w 10000"/>
                <a:gd name="connsiteY758" fmla="*/ 8731 h 10000"/>
                <a:gd name="connsiteX759" fmla="*/ 583 w 10000"/>
                <a:gd name="connsiteY759" fmla="*/ 8777 h 10000"/>
                <a:gd name="connsiteX760" fmla="*/ 556 w 10000"/>
                <a:gd name="connsiteY760" fmla="*/ 8831 h 10000"/>
                <a:gd name="connsiteX761" fmla="*/ 545 w 10000"/>
                <a:gd name="connsiteY761" fmla="*/ 8852 h 10000"/>
                <a:gd name="connsiteX762" fmla="*/ 525 w 10000"/>
                <a:gd name="connsiteY762" fmla="*/ 8885 h 10000"/>
                <a:gd name="connsiteX763" fmla="*/ 503 w 10000"/>
                <a:gd name="connsiteY763" fmla="*/ 8925 h 10000"/>
                <a:gd name="connsiteX764" fmla="*/ 480 w 10000"/>
                <a:gd name="connsiteY764" fmla="*/ 8962 h 10000"/>
                <a:gd name="connsiteX765" fmla="*/ 465 w 10000"/>
                <a:gd name="connsiteY765" fmla="*/ 8981 h 10000"/>
                <a:gd name="connsiteX766" fmla="*/ 455 w 10000"/>
                <a:gd name="connsiteY766" fmla="*/ 8993 h 10000"/>
                <a:gd name="connsiteX767" fmla="*/ 444 w 10000"/>
                <a:gd name="connsiteY767" fmla="*/ 9000 h 10000"/>
                <a:gd name="connsiteX768" fmla="*/ 434 w 10000"/>
                <a:gd name="connsiteY768" fmla="*/ 9007 h 10000"/>
                <a:gd name="connsiteX769" fmla="*/ 432 w 10000"/>
                <a:gd name="connsiteY769" fmla="*/ 9007 h 10000"/>
                <a:gd name="connsiteX770" fmla="*/ 429 w 10000"/>
                <a:gd name="connsiteY770" fmla="*/ 9004 h 10000"/>
                <a:gd name="connsiteX771" fmla="*/ 427 w 10000"/>
                <a:gd name="connsiteY771" fmla="*/ 8997 h 10000"/>
                <a:gd name="connsiteX772" fmla="*/ 427 w 10000"/>
                <a:gd name="connsiteY772" fmla="*/ 8993 h 10000"/>
                <a:gd name="connsiteX773" fmla="*/ 424 w 10000"/>
                <a:gd name="connsiteY773" fmla="*/ 8976 h 10000"/>
                <a:gd name="connsiteX774" fmla="*/ 427 w 10000"/>
                <a:gd name="connsiteY774" fmla="*/ 8948 h 10000"/>
                <a:gd name="connsiteX775" fmla="*/ 437 w 10000"/>
                <a:gd name="connsiteY775" fmla="*/ 8913 h 10000"/>
                <a:gd name="connsiteX776" fmla="*/ 455 w 10000"/>
                <a:gd name="connsiteY776" fmla="*/ 8859 h 10000"/>
                <a:gd name="connsiteX777" fmla="*/ 462 w 10000"/>
                <a:gd name="connsiteY777" fmla="*/ 8834 h 10000"/>
                <a:gd name="connsiteX778" fmla="*/ 470 w 10000"/>
                <a:gd name="connsiteY778" fmla="*/ 8810 h 10000"/>
                <a:gd name="connsiteX779" fmla="*/ 472 w 10000"/>
                <a:gd name="connsiteY779" fmla="*/ 8794 h 10000"/>
                <a:gd name="connsiteX780" fmla="*/ 472 w 10000"/>
                <a:gd name="connsiteY780" fmla="*/ 8780 h 10000"/>
                <a:gd name="connsiteX781" fmla="*/ 462 w 10000"/>
                <a:gd name="connsiteY781" fmla="*/ 8784 h 10000"/>
                <a:gd name="connsiteX782" fmla="*/ 452 w 10000"/>
                <a:gd name="connsiteY782" fmla="*/ 8787 h 10000"/>
                <a:gd name="connsiteX783" fmla="*/ 437 w 10000"/>
                <a:gd name="connsiteY783" fmla="*/ 8794 h 10000"/>
                <a:gd name="connsiteX784" fmla="*/ 424 w 10000"/>
                <a:gd name="connsiteY784" fmla="*/ 8803 h 10000"/>
                <a:gd name="connsiteX785" fmla="*/ 394 w 10000"/>
                <a:gd name="connsiteY785" fmla="*/ 8829 h 10000"/>
                <a:gd name="connsiteX786" fmla="*/ 364 w 10000"/>
                <a:gd name="connsiteY786" fmla="*/ 8859 h 10000"/>
                <a:gd name="connsiteX787" fmla="*/ 311 w 10000"/>
                <a:gd name="connsiteY787" fmla="*/ 8922 h 10000"/>
                <a:gd name="connsiteX788" fmla="*/ 268 w 10000"/>
                <a:gd name="connsiteY788" fmla="*/ 8964 h 10000"/>
                <a:gd name="connsiteX789" fmla="*/ 205 w 10000"/>
                <a:gd name="connsiteY789" fmla="*/ 9016 h 10000"/>
                <a:gd name="connsiteX790" fmla="*/ 146 w 10000"/>
                <a:gd name="connsiteY790" fmla="*/ 9053 h 10000"/>
                <a:gd name="connsiteX791" fmla="*/ 139 w 10000"/>
                <a:gd name="connsiteY791" fmla="*/ 9063 h 10000"/>
                <a:gd name="connsiteX792" fmla="*/ 129 w 10000"/>
                <a:gd name="connsiteY792" fmla="*/ 9077 h 10000"/>
                <a:gd name="connsiteX793" fmla="*/ 126 w 10000"/>
                <a:gd name="connsiteY793" fmla="*/ 9086 h 10000"/>
                <a:gd name="connsiteX794" fmla="*/ 126 w 10000"/>
                <a:gd name="connsiteY794" fmla="*/ 9102 h 10000"/>
                <a:gd name="connsiteX795" fmla="*/ 129 w 10000"/>
                <a:gd name="connsiteY795" fmla="*/ 9116 h 10000"/>
                <a:gd name="connsiteX796" fmla="*/ 139 w 10000"/>
                <a:gd name="connsiteY796" fmla="*/ 9135 h 10000"/>
                <a:gd name="connsiteX797" fmla="*/ 149 w 10000"/>
                <a:gd name="connsiteY797" fmla="*/ 9151 h 10000"/>
                <a:gd name="connsiteX798" fmla="*/ 164 w 10000"/>
                <a:gd name="connsiteY798" fmla="*/ 9175 h 10000"/>
                <a:gd name="connsiteX799" fmla="*/ 184 w 10000"/>
                <a:gd name="connsiteY799" fmla="*/ 9196 h 10000"/>
                <a:gd name="connsiteX800" fmla="*/ 207 w 10000"/>
                <a:gd name="connsiteY800" fmla="*/ 9215 h 10000"/>
                <a:gd name="connsiteX801" fmla="*/ 227 w 10000"/>
                <a:gd name="connsiteY801" fmla="*/ 9233 h 10000"/>
                <a:gd name="connsiteX802" fmla="*/ 253 w 10000"/>
                <a:gd name="connsiteY802" fmla="*/ 9250 h 10000"/>
                <a:gd name="connsiteX803" fmla="*/ 303 w 10000"/>
                <a:gd name="connsiteY803" fmla="*/ 9282 h 10000"/>
                <a:gd name="connsiteX804" fmla="*/ 351 w 10000"/>
                <a:gd name="connsiteY804" fmla="*/ 9315 h 10000"/>
                <a:gd name="connsiteX805" fmla="*/ 414 w 10000"/>
                <a:gd name="connsiteY805" fmla="*/ 9364 h 10000"/>
                <a:gd name="connsiteX806" fmla="*/ 480 w 10000"/>
                <a:gd name="connsiteY806" fmla="*/ 9416 h 10000"/>
                <a:gd name="connsiteX807" fmla="*/ 513 w 10000"/>
                <a:gd name="connsiteY807" fmla="*/ 9437 h 10000"/>
                <a:gd name="connsiteX808" fmla="*/ 548 w 10000"/>
                <a:gd name="connsiteY808" fmla="*/ 9462 h 10000"/>
                <a:gd name="connsiteX809" fmla="*/ 581 w 10000"/>
                <a:gd name="connsiteY809" fmla="*/ 9483 h 10000"/>
                <a:gd name="connsiteX810" fmla="*/ 614 w 10000"/>
                <a:gd name="connsiteY810" fmla="*/ 9502 h 10000"/>
                <a:gd name="connsiteX811" fmla="*/ 641 w 10000"/>
                <a:gd name="connsiteY811" fmla="*/ 9525 h 10000"/>
                <a:gd name="connsiteX812" fmla="*/ 672 w 10000"/>
                <a:gd name="connsiteY812" fmla="*/ 9549 h 10000"/>
                <a:gd name="connsiteX813" fmla="*/ 702 w 10000"/>
                <a:gd name="connsiteY813" fmla="*/ 9568 h 10000"/>
                <a:gd name="connsiteX814" fmla="*/ 737 w 10000"/>
                <a:gd name="connsiteY814" fmla="*/ 9589 h 10000"/>
                <a:gd name="connsiteX815" fmla="*/ 770 w 10000"/>
                <a:gd name="connsiteY815" fmla="*/ 9605 h 10000"/>
                <a:gd name="connsiteX816" fmla="*/ 808 w 10000"/>
                <a:gd name="connsiteY816" fmla="*/ 9617 h 10000"/>
                <a:gd name="connsiteX817" fmla="*/ 843 w 10000"/>
                <a:gd name="connsiteY817" fmla="*/ 9624 h 10000"/>
                <a:gd name="connsiteX818" fmla="*/ 884 w 10000"/>
                <a:gd name="connsiteY818" fmla="*/ 9628 h 10000"/>
                <a:gd name="connsiteX819" fmla="*/ 902 w 10000"/>
                <a:gd name="connsiteY819" fmla="*/ 9628 h 10000"/>
                <a:gd name="connsiteX820" fmla="*/ 914 w 10000"/>
                <a:gd name="connsiteY820" fmla="*/ 9631 h 10000"/>
                <a:gd name="connsiteX821" fmla="*/ 932 w 10000"/>
                <a:gd name="connsiteY821" fmla="*/ 9638 h 10000"/>
                <a:gd name="connsiteX822" fmla="*/ 942 w 10000"/>
                <a:gd name="connsiteY822" fmla="*/ 9642 h 10000"/>
                <a:gd name="connsiteX823" fmla="*/ 967 w 10000"/>
                <a:gd name="connsiteY823" fmla="*/ 9652 h 10000"/>
                <a:gd name="connsiteX824" fmla="*/ 987 w 10000"/>
                <a:gd name="connsiteY824" fmla="*/ 9668 h 10000"/>
                <a:gd name="connsiteX825" fmla="*/ 1005 w 10000"/>
                <a:gd name="connsiteY825" fmla="*/ 9682 h 10000"/>
                <a:gd name="connsiteX826" fmla="*/ 1025 w 10000"/>
                <a:gd name="connsiteY826" fmla="*/ 9698 h 10000"/>
                <a:gd name="connsiteX827" fmla="*/ 1045 w 10000"/>
                <a:gd name="connsiteY827" fmla="*/ 9712 h 10000"/>
                <a:gd name="connsiteX828" fmla="*/ 1073 w 10000"/>
                <a:gd name="connsiteY828" fmla="*/ 9724 h 10000"/>
                <a:gd name="connsiteX829" fmla="*/ 1098 w 10000"/>
                <a:gd name="connsiteY829" fmla="*/ 9738 h 10000"/>
                <a:gd name="connsiteX830" fmla="*/ 1121 w 10000"/>
                <a:gd name="connsiteY830" fmla="*/ 9750 h 10000"/>
                <a:gd name="connsiteX831" fmla="*/ 1141 w 10000"/>
                <a:gd name="connsiteY831" fmla="*/ 9762 h 10000"/>
                <a:gd name="connsiteX832" fmla="*/ 1159 w 10000"/>
                <a:gd name="connsiteY832" fmla="*/ 9776 h 10000"/>
                <a:gd name="connsiteX833" fmla="*/ 1172 w 10000"/>
                <a:gd name="connsiteY833" fmla="*/ 9787 h 10000"/>
                <a:gd name="connsiteX834" fmla="*/ 1182 w 10000"/>
                <a:gd name="connsiteY834" fmla="*/ 9804 h 10000"/>
                <a:gd name="connsiteX835" fmla="*/ 1194 w 10000"/>
                <a:gd name="connsiteY835" fmla="*/ 9818 h 10000"/>
                <a:gd name="connsiteX836" fmla="*/ 1202 w 10000"/>
                <a:gd name="connsiteY836" fmla="*/ 9834 h 10000"/>
                <a:gd name="connsiteX837" fmla="*/ 1212 w 10000"/>
                <a:gd name="connsiteY837" fmla="*/ 9869 h 10000"/>
                <a:gd name="connsiteX838" fmla="*/ 1220 w 10000"/>
                <a:gd name="connsiteY838" fmla="*/ 9906 h 10000"/>
                <a:gd name="connsiteX839" fmla="*/ 1230 w 10000"/>
                <a:gd name="connsiteY839" fmla="*/ 9951 h 10000"/>
                <a:gd name="connsiteX840" fmla="*/ 1237 w 10000"/>
                <a:gd name="connsiteY840" fmla="*/ 10000 h 10000"/>
                <a:gd name="connsiteX841" fmla="*/ 1237 w 10000"/>
                <a:gd name="connsiteY84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2593 w 10000"/>
                <a:gd name="connsiteY720" fmla="*/ 7415 h 10000"/>
                <a:gd name="connsiteX721" fmla="*/ 1990 w 10000"/>
                <a:gd name="connsiteY721" fmla="*/ 8422 h 10000"/>
                <a:gd name="connsiteX722" fmla="*/ 1904 w 10000"/>
                <a:gd name="connsiteY722" fmla="*/ 8481 h 10000"/>
                <a:gd name="connsiteX723" fmla="*/ 1856 w 10000"/>
                <a:gd name="connsiteY723" fmla="*/ 8506 h 10000"/>
                <a:gd name="connsiteX724" fmla="*/ 1816 w 10000"/>
                <a:gd name="connsiteY724" fmla="*/ 8527 h 10000"/>
                <a:gd name="connsiteX725" fmla="*/ 1793 w 10000"/>
                <a:gd name="connsiteY725" fmla="*/ 8539 h 10000"/>
                <a:gd name="connsiteX726" fmla="*/ 1775 w 10000"/>
                <a:gd name="connsiteY726" fmla="*/ 8546 h 10000"/>
                <a:gd name="connsiteX727" fmla="*/ 1758 w 10000"/>
                <a:gd name="connsiteY727" fmla="*/ 8548 h 10000"/>
                <a:gd name="connsiteX728" fmla="*/ 1742 w 10000"/>
                <a:gd name="connsiteY728" fmla="*/ 8551 h 10000"/>
                <a:gd name="connsiteX729" fmla="*/ 1727 w 10000"/>
                <a:gd name="connsiteY729" fmla="*/ 8537 h 10000"/>
                <a:gd name="connsiteX730" fmla="*/ 1717 w 10000"/>
                <a:gd name="connsiteY730" fmla="*/ 8518 h 10000"/>
                <a:gd name="connsiteX731" fmla="*/ 1684 w 10000"/>
                <a:gd name="connsiteY731" fmla="*/ 8429 h 10000"/>
                <a:gd name="connsiteX732" fmla="*/ 1525 w 10000"/>
                <a:gd name="connsiteY732" fmla="*/ 8186 h 10000"/>
                <a:gd name="connsiteX733" fmla="*/ 1500 w 10000"/>
                <a:gd name="connsiteY733" fmla="*/ 8191 h 10000"/>
                <a:gd name="connsiteX734" fmla="*/ 1472 w 10000"/>
                <a:gd name="connsiteY734" fmla="*/ 8198 h 10000"/>
                <a:gd name="connsiteX735" fmla="*/ 1434 w 10000"/>
                <a:gd name="connsiteY735" fmla="*/ 8223 h 10000"/>
                <a:gd name="connsiteX736" fmla="*/ 1149 w 10000"/>
                <a:gd name="connsiteY736" fmla="*/ 8256 h 10000"/>
                <a:gd name="connsiteX737" fmla="*/ 1139 w 10000"/>
                <a:gd name="connsiteY737" fmla="*/ 8249 h 10000"/>
                <a:gd name="connsiteX738" fmla="*/ 1126 w 10000"/>
                <a:gd name="connsiteY738" fmla="*/ 8240 h 10000"/>
                <a:gd name="connsiteX739" fmla="*/ 1114 w 10000"/>
                <a:gd name="connsiteY739" fmla="*/ 8240 h 10000"/>
                <a:gd name="connsiteX740" fmla="*/ 1091 w 10000"/>
                <a:gd name="connsiteY740" fmla="*/ 8242 h 10000"/>
                <a:gd name="connsiteX741" fmla="*/ 1071 w 10000"/>
                <a:gd name="connsiteY741" fmla="*/ 8252 h 10000"/>
                <a:gd name="connsiteX742" fmla="*/ 1048 w 10000"/>
                <a:gd name="connsiteY742" fmla="*/ 8261 h 10000"/>
                <a:gd name="connsiteX743" fmla="*/ 1030 w 10000"/>
                <a:gd name="connsiteY743" fmla="*/ 8273 h 10000"/>
                <a:gd name="connsiteX744" fmla="*/ 1010 w 10000"/>
                <a:gd name="connsiteY744" fmla="*/ 8287 h 10000"/>
                <a:gd name="connsiteX745" fmla="*/ 995 w 10000"/>
                <a:gd name="connsiteY745" fmla="*/ 8303 h 10000"/>
                <a:gd name="connsiteX746" fmla="*/ 975 w 10000"/>
                <a:gd name="connsiteY746" fmla="*/ 8322 h 10000"/>
                <a:gd name="connsiteX747" fmla="*/ 960 w 10000"/>
                <a:gd name="connsiteY747" fmla="*/ 8343 h 10000"/>
                <a:gd name="connsiteX748" fmla="*/ 927 w 10000"/>
                <a:gd name="connsiteY748" fmla="*/ 8380 h 10000"/>
                <a:gd name="connsiteX749" fmla="*/ 891 w 10000"/>
                <a:gd name="connsiteY749" fmla="*/ 8417 h 10000"/>
                <a:gd name="connsiteX750" fmla="*/ 874 w 10000"/>
                <a:gd name="connsiteY750" fmla="*/ 8436 h 10000"/>
                <a:gd name="connsiteX751" fmla="*/ 859 w 10000"/>
                <a:gd name="connsiteY751" fmla="*/ 8450 h 10000"/>
                <a:gd name="connsiteX752" fmla="*/ 838 w 10000"/>
                <a:gd name="connsiteY752" fmla="*/ 8462 h 10000"/>
                <a:gd name="connsiteX753" fmla="*/ 821 w 10000"/>
                <a:gd name="connsiteY753" fmla="*/ 8476 h 10000"/>
                <a:gd name="connsiteX754" fmla="*/ 742 w 10000"/>
                <a:gd name="connsiteY754" fmla="*/ 8562 h 10000"/>
                <a:gd name="connsiteX755" fmla="*/ 672 w 10000"/>
                <a:gd name="connsiteY755" fmla="*/ 8644 h 10000"/>
                <a:gd name="connsiteX756" fmla="*/ 639 w 10000"/>
                <a:gd name="connsiteY756" fmla="*/ 8684 h 10000"/>
                <a:gd name="connsiteX757" fmla="*/ 609 w 10000"/>
                <a:gd name="connsiteY757" fmla="*/ 8731 h 10000"/>
                <a:gd name="connsiteX758" fmla="*/ 583 w 10000"/>
                <a:gd name="connsiteY758" fmla="*/ 8777 h 10000"/>
                <a:gd name="connsiteX759" fmla="*/ 556 w 10000"/>
                <a:gd name="connsiteY759" fmla="*/ 8831 h 10000"/>
                <a:gd name="connsiteX760" fmla="*/ 545 w 10000"/>
                <a:gd name="connsiteY760" fmla="*/ 8852 h 10000"/>
                <a:gd name="connsiteX761" fmla="*/ 525 w 10000"/>
                <a:gd name="connsiteY761" fmla="*/ 8885 h 10000"/>
                <a:gd name="connsiteX762" fmla="*/ 503 w 10000"/>
                <a:gd name="connsiteY762" fmla="*/ 8925 h 10000"/>
                <a:gd name="connsiteX763" fmla="*/ 480 w 10000"/>
                <a:gd name="connsiteY763" fmla="*/ 8962 h 10000"/>
                <a:gd name="connsiteX764" fmla="*/ 465 w 10000"/>
                <a:gd name="connsiteY764" fmla="*/ 8981 h 10000"/>
                <a:gd name="connsiteX765" fmla="*/ 455 w 10000"/>
                <a:gd name="connsiteY765" fmla="*/ 8993 h 10000"/>
                <a:gd name="connsiteX766" fmla="*/ 444 w 10000"/>
                <a:gd name="connsiteY766" fmla="*/ 9000 h 10000"/>
                <a:gd name="connsiteX767" fmla="*/ 434 w 10000"/>
                <a:gd name="connsiteY767" fmla="*/ 9007 h 10000"/>
                <a:gd name="connsiteX768" fmla="*/ 432 w 10000"/>
                <a:gd name="connsiteY768" fmla="*/ 9007 h 10000"/>
                <a:gd name="connsiteX769" fmla="*/ 429 w 10000"/>
                <a:gd name="connsiteY769" fmla="*/ 9004 h 10000"/>
                <a:gd name="connsiteX770" fmla="*/ 427 w 10000"/>
                <a:gd name="connsiteY770" fmla="*/ 8997 h 10000"/>
                <a:gd name="connsiteX771" fmla="*/ 427 w 10000"/>
                <a:gd name="connsiteY771" fmla="*/ 8993 h 10000"/>
                <a:gd name="connsiteX772" fmla="*/ 424 w 10000"/>
                <a:gd name="connsiteY772" fmla="*/ 8976 h 10000"/>
                <a:gd name="connsiteX773" fmla="*/ 427 w 10000"/>
                <a:gd name="connsiteY773" fmla="*/ 8948 h 10000"/>
                <a:gd name="connsiteX774" fmla="*/ 437 w 10000"/>
                <a:gd name="connsiteY774" fmla="*/ 8913 h 10000"/>
                <a:gd name="connsiteX775" fmla="*/ 455 w 10000"/>
                <a:gd name="connsiteY775" fmla="*/ 8859 h 10000"/>
                <a:gd name="connsiteX776" fmla="*/ 462 w 10000"/>
                <a:gd name="connsiteY776" fmla="*/ 8834 h 10000"/>
                <a:gd name="connsiteX777" fmla="*/ 470 w 10000"/>
                <a:gd name="connsiteY777" fmla="*/ 8810 h 10000"/>
                <a:gd name="connsiteX778" fmla="*/ 472 w 10000"/>
                <a:gd name="connsiteY778" fmla="*/ 8794 h 10000"/>
                <a:gd name="connsiteX779" fmla="*/ 472 w 10000"/>
                <a:gd name="connsiteY779" fmla="*/ 8780 h 10000"/>
                <a:gd name="connsiteX780" fmla="*/ 462 w 10000"/>
                <a:gd name="connsiteY780" fmla="*/ 8784 h 10000"/>
                <a:gd name="connsiteX781" fmla="*/ 452 w 10000"/>
                <a:gd name="connsiteY781" fmla="*/ 8787 h 10000"/>
                <a:gd name="connsiteX782" fmla="*/ 437 w 10000"/>
                <a:gd name="connsiteY782" fmla="*/ 8794 h 10000"/>
                <a:gd name="connsiteX783" fmla="*/ 424 w 10000"/>
                <a:gd name="connsiteY783" fmla="*/ 8803 h 10000"/>
                <a:gd name="connsiteX784" fmla="*/ 394 w 10000"/>
                <a:gd name="connsiteY784" fmla="*/ 8829 h 10000"/>
                <a:gd name="connsiteX785" fmla="*/ 364 w 10000"/>
                <a:gd name="connsiteY785" fmla="*/ 8859 h 10000"/>
                <a:gd name="connsiteX786" fmla="*/ 311 w 10000"/>
                <a:gd name="connsiteY786" fmla="*/ 8922 h 10000"/>
                <a:gd name="connsiteX787" fmla="*/ 268 w 10000"/>
                <a:gd name="connsiteY787" fmla="*/ 8964 h 10000"/>
                <a:gd name="connsiteX788" fmla="*/ 205 w 10000"/>
                <a:gd name="connsiteY788" fmla="*/ 9016 h 10000"/>
                <a:gd name="connsiteX789" fmla="*/ 146 w 10000"/>
                <a:gd name="connsiteY789" fmla="*/ 9053 h 10000"/>
                <a:gd name="connsiteX790" fmla="*/ 139 w 10000"/>
                <a:gd name="connsiteY790" fmla="*/ 9063 h 10000"/>
                <a:gd name="connsiteX791" fmla="*/ 129 w 10000"/>
                <a:gd name="connsiteY791" fmla="*/ 9077 h 10000"/>
                <a:gd name="connsiteX792" fmla="*/ 126 w 10000"/>
                <a:gd name="connsiteY792" fmla="*/ 9086 h 10000"/>
                <a:gd name="connsiteX793" fmla="*/ 126 w 10000"/>
                <a:gd name="connsiteY793" fmla="*/ 9102 h 10000"/>
                <a:gd name="connsiteX794" fmla="*/ 129 w 10000"/>
                <a:gd name="connsiteY794" fmla="*/ 9116 h 10000"/>
                <a:gd name="connsiteX795" fmla="*/ 139 w 10000"/>
                <a:gd name="connsiteY795" fmla="*/ 9135 h 10000"/>
                <a:gd name="connsiteX796" fmla="*/ 149 w 10000"/>
                <a:gd name="connsiteY796" fmla="*/ 9151 h 10000"/>
                <a:gd name="connsiteX797" fmla="*/ 164 w 10000"/>
                <a:gd name="connsiteY797" fmla="*/ 9175 h 10000"/>
                <a:gd name="connsiteX798" fmla="*/ 184 w 10000"/>
                <a:gd name="connsiteY798" fmla="*/ 9196 h 10000"/>
                <a:gd name="connsiteX799" fmla="*/ 207 w 10000"/>
                <a:gd name="connsiteY799" fmla="*/ 9215 h 10000"/>
                <a:gd name="connsiteX800" fmla="*/ 227 w 10000"/>
                <a:gd name="connsiteY800" fmla="*/ 9233 h 10000"/>
                <a:gd name="connsiteX801" fmla="*/ 253 w 10000"/>
                <a:gd name="connsiteY801" fmla="*/ 9250 h 10000"/>
                <a:gd name="connsiteX802" fmla="*/ 303 w 10000"/>
                <a:gd name="connsiteY802" fmla="*/ 9282 h 10000"/>
                <a:gd name="connsiteX803" fmla="*/ 351 w 10000"/>
                <a:gd name="connsiteY803" fmla="*/ 9315 h 10000"/>
                <a:gd name="connsiteX804" fmla="*/ 414 w 10000"/>
                <a:gd name="connsiteY804" fmla="*/ 9364 h 10000"/>
                <a:gd name="connsiteX805" fmla="*/ 480 w 10000"/>
                <a:gd name="connsiteY805" fmla="*/ 9416 h 10000"/>
                <a:gd name="connsiteX806" fmla="*/ 513 w 10000"/>
                <a:gd name="connsiteY806" fmla="*/ 9437 h 10000"/>
                <a:gd name="connsiteX807" fmla="*/ 548 w 10000"/>
                <a:gd name="connsiteY807" fmla="*/ 9462 h 10000"/>
                <a:gd name="connsiteX808" fmla="*/ 581 w 10000"/>
                <a:gd name="connsiteY808" fmla="*/ 9483 h 10000"/>
                <a:gd name="connsiteX809" fmla="*/ 614 w 10000"/>
                <a:gd name="connsiteY809" fmla="*/ 9502 h 10000"/>
                <a:gd name="connsiteX810" fmla="*/ 641 w 10000"/>
                <a:gd name="connsiteY810" fmla="*/ 9525 h 10000"/>
                <a:gd name="connsiteX811" fmla="*/ 672 w 10000"/>
                <a:gd name="connsiteY811" fmla="*/ 9549 h 10000"/>
                <a:gd name="connsiteX812" fmla="*/ 702 w 10000"/>
                <a:gd name="connsiteY812" fmla="*/ 9568 h 10000"/>
                <a:gd name="connsiteX813" fmla="*/ 737 w 10000"/>
                <a:gd name="connsiteY813" fmla="*/ 9589 h 10000"/>
                <a:gd name="connsiteX814" fmla="*/ 770 w 10000"/>
                <a:gd name="connsiteY814" fmla="*/ 9605 h 10000"/>
                <a:gd name="connsiteX815" fmla="*/ 808 w 10000"/>
                <a:gd name="connsiteY815" fmla="*/ 9617 h 10000"/>
                <a:gd name="connsiteX816" fmla="*/ 843 w 10000"/>
                <a:gd name="connsiteY816" fmla="*/ 9624 h 10000"/>
                <a:gd name="connsiteX817" fmla="*/ 884 w 10000"/>
                <a:gd name="connsiteY817" fmla="*/ 9628 h 10000"/>
                <a:gd name="connsiteX818" fmla="*/ 902 w 10000"/>
                <a:gd name="connsiteY818" fmla="*/ 9628 h 10000"/>
                <a:gd name="connsiteX819" fmla="*/ 914 w 10000"/>
                <a:gd name="connsiteY819" fmla="*/ 9631 h 10000"/>
                <a:gd name="connsiteX820" fmla="*/ 932 w 10000"/>
                <a:gd name="connsiteY820" fmla="*/ 9638 h 10000"/>
                <a:gd name="connsiteX821" fmla="*/ 942 w 10000"/>
                <a:gd name="connsiteY821" fmla="*/ 9642 h 10000"/>
                <a:gd name="connsiteX822" fmla="*/ 967 w 10000"/>
                <a:gd name="connsiteY822" fmla="*/ 9652 h 10000"/>
                <a:gd name="connsiteX823" fmla="*/ 987 w 10000"/>
                <a:gd name="connsiteY823" fmla="*/ 9668 h 10000"/>
                <a:gd name="connsiteX824" fmla="*/ 1005 w 10000"/>
                <a:gd name="connsiteY824" fmla="*/ 9682 h 10000"/>
                <a:gd name="connsiteX825" fmla="*/ 1025 w 10000"/>
                <a:gd name="connsiteY825" fmla="*/ 9698 h 10000"/>
                <a:gd name="connsiteX826" fmla="*/ 1045 w 10000"/>
                <a:gd name="connsiteY826" fmla="*/ 9712 h 10000"/>
                <a:gd name="connsiteX827" fmla="*/ 1073 w 10000"/>
                <a:gd name="connsiteY827" fmla="*/ 9724 h 10000"/>
                <a:gd name="connsiteX828" fmla="*/ 1098 w 10000"/>
                <a:gd name="connsiteY828" fmla="*/ 9738 h 10000"/>
                <a:gd name="connsiteX829" fmla="*/ 1121 w 10000"/>
                <a:gd name="connsiteY829" fmla="*/ 9750 h 10000"/>
                <a:gd name="connsiteX830" fmla="*/ 1141 w 10000"/>
                <a:gd name="connsiteY830" fmla="*/ 9762 h 10000"/>
                <a:gd name="connsiteX831" fmla="*/ 1159 w 10000"/>
                <a:gd name="connsiteY831" fmla="*/ 9776 h 10000"/>
                <a:gd name="connsiteX832" fmla="*/ 1172 w 10000"/>
                <a:gd name="connsiteY832" fmla="*/ 9787 h 10000"/>
                <a:gd name="connsiteX833" fmla="*/ 1182 w 10000"/>
                <a:gd name="connsiteY833" fmla="*/ 9804 h 10000"/>
                <a:gd name="connsiteX834" fmla="*/ 1194 w 10000"/>
                <a:gd name="connsiteY834" fmla="*/ 9818 h 10000"/>
                <a:gd name="connsiteX835" fmla="*/ 1202 w 10000"/>
                <a:gd name="connsiteY835" fmla="*/ 9834 h 10000"/>
                <a:gd name="connsiteX836" fmla="*/ 1212 w 10000"/>
                <a:gd name="connsiteY836" fmla="*/ 9869 h 10000"/>
                <a:gd name="connsiteX837" fmla="*/ 1220 w 10000"/>
                <a:gd name="connsiteY837" fmla="*/ 9906 h 10000"/>
                <a:gd name="connsiteX838" fmla="*/ 1230 w 10000"/>
                <a:gd name="connsiteY838" fmla="*/ 9951 h 10000"/>
                <a:gd name="connsiteX839" fmla="*/ 1237 w 10000"/>
                <a:gd name="connsiteY839" fmla="*/ 10000 h 10000"/>
                <a:gd name="connsiteX840" fmla="*/ 1237 w 10000"/>
                <a:gd name="connsiteY84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2520 w 10000"/>
                <a:gd name="connsiteY719" fmla="*/ 7466 h 10000"/>
                <a:gd name="connsiteX720" fmla="*/ 1990 w 10000"/>
                <a:gd name="connsiteY720" fmla="*/ 8422 h 10000"/>
                <a:gd name="connsiteX721" fmla="*/ 1904 w 10000"/>
                <a:gd name="connsiteY721" fmla="*/ 8481 h 10000"/>
                <a:gd name="connsiteX722" fmla="*/ 1856 w 10000"/>
                <a:gd name="connsiteY722" fmla="*/ 8506 h 10000"/>
                <a:gd name="connsiteX723" fmla="*/ 1816 w 10000"/>
                <a:gd name="connsiteY723" fmla="*/ 8527 h 10000"/>
                <a:gd name="connsiteX724" fmla="*/ 1793 w 10000"/>
                <a:gd name="connsiteY724" fmla="*/ 8539 h 10000"/>
                <a:gd name="connsiteX725" fmla="*/ 1775 w 10000"/>
                <a:gd name="connsiteY725" fmla="*/ 8546 h 10000"/>
                <a:gd name="connsiteX726" fmla="*/ 1758 w 10000"/>
                <a:gd name="connsiteY726" fmla="*/ 8548 h 10000"/>
                <a:gd name="connsiteX727" fmla="*/ 1742 w 10000"/>
                <a:gd name="connsiteY727" fmla="*/ 8551 h 10000"/>
                <a:gd name="connsiteX728" fmla="*/ 1727 w 10000"/>
                <a:gd name="connsiteY728" fmla="*/ 8537 h 10000"/>
                <a:gd name="connsiteX729" fmla="*/ 1717 w 10000"/>
                <a:gd name="connsiteY729" fmla="*/ 8518 h 10000"/>
                <a:gd name="connsiteX730" fmla="*/ 1684 w 10000"/>
                <a:gd name="connsiteY730" fmla="*/ 8429 h 10000"/>
                <a:gd name="connsiteX731" fmla="*/ 1525 w 10000"/>
                <a:gd name="connsiteY731" fmla="*/ 8186 h 10000"/>
                <a:gd name="connsiteX732" fmla="*/ 1500 w 10000"/>
                <a:gd name="connsiteY732" fmla="*/ 8191 h 10000"/>
                <a:gd name="connsiteX733" fmla="*/ 1472 w 10000"/>
                <a:gd name="connsiteY733" fmla="*/ 8198 h 10000"/>
                <a:gd name="connsiteX734" fmla="*/ 1434 w 10000"/>
                <a:gd name="connsiteY734" fmla="*/ 8223 h 10000"/>
                <a:gd name="connsiteX735" fmla="*/ 1149 w 10000"/>
                <a:gd name="connsiteY735" fmla="*/ 8256 h 10000"/>
                <a:gd name="connsiteX736" fmla="*/ 1139 w 10000"/>
                <a:gd name="connsiteY736" fmla="*/ 8249 h 10000"/>
                <a:gd name="connsiteX737" fmla="*/ 1126 w 10000"/>
                <a:gd name="connsiteY737" fmla="*/ 8240 h 10000"/>
                <a:gd name="connsiteX738" fmla="*/ 1114 w 10000"/>
                <a:gd name="connsiteY738" fmla="*/ 8240 h 10000"/>
                <a:gd name="connsiteX739" fmla="*/ 1091 w 10000"/>
                <a:gd name="connsiteY739" fmla="*/ 8242 h 10000"/>
                <a:gd name="connsiteX740" fmla="*/ 1071 w 10000"/>
                <a:gd name="connsiteY740" fmla="*/ 8252 h 10000"/>
                <a:gd name="connsiteX741" fmla="*/ 1048 w 10000"/>
                <a:gd name="connsiteY741" fmla="*/ 8261 h 10000"/>
                <a:gd name="connsiteX742" fmla="*/ 1030 w 10000"/>
                <a:gd name="connsiteY742" fmla="*/ 8273 h 10000"/>
                <a:gd name="connsiteX743" fmla="*/ 1010 w 10000"/>
                <a:gd name="connsiteY743" fmla="*/ 8287 h 10000"/>
                <a:gd name="connsiteX744" fmla="*/ 995 w 10000"/>
                <a:gd name="connsiteY744" fmla="*/ 8303 h 10000"/>
                <a:gd name="connsiteX745" fmla="*/ 975 w 10000"/>
                <a:gd name="connsiteY745" fmla="*/ 8322 h 10000"/>
                <a:gd name="connsiteX746" fmla="*/ 960 w 10000"/>
                <a:gd name="connsiteY746" fmla="*/ 8343 h 10000"/>
                <a:gd name="connsiteX747" fmla="*/ 927 w 10000"/>
                <a:gd name="connsiteY747" fmla="*/ 8380 h 10000"/>
                <a:gd name="connsiteX748" fmla="*/ 891 w 10000"/>
                <a:gd name="connsiteY748" fmla="*/ 8417 h 10000"/>
                <a:gd name="connsiteX749" fmla="*/ 874 w 10000"/>
                <a:gd name="connsiteY749" fmla="*/ 8436 h 10000"/>
                <a:gd name="connsiteX750" fmla="*/ 859 w 10000"/>
                <a:gd name="connsiteY750" fmla="*/ 8450 h 10000"/>
                <a:gd name="connsiteX751" fmla="*/ 838 w 10000"/>
                <a:gd name="connsiteY751" fmla="*/ 8462 h 10000"/>
                <a:gd name="connsiteX752" fmla="*/ 821 w 10000"/>
                <a:gd name="connsiteY752" fmla="*/ 8476 h 10000"/>
                <a:gd name="connsiteX753" fmla="*/ 742 w 10000"/>
                <a:gd name="connsiteY753" fmla="*/ 8562 h 10000"/>
                <a:gd name="connsiteX754" fmla="*/ 672 w 10000"/>
                <a:gd name="connsiteY754" fmla="*/ 8644 h 10000"/>
                <a:gd name="connsiteX755" fmla="*/ 639 w 10000"/>
                <a:gd name="connsiteY755" fmla="*/ 8684 h 10000"/>
                <a:gd name="connsiteX756" fmla="*/ 609 w 10000"/>
                <a:gd name="connsiteY756" fmla="*/ 8731 h 10000"/>
                <a:gd name="connsiteX757" fmla="*/ 583 w 10000"/>
                <a:gd name="connsiteY757" fmla="*/ 8777 h 10000"/>
                <a:gd name="connsiteX758" fmla="*/ 556 w 10000"/>
                <a:gd name="connsiteY758" fmla="*/ 8831 h 10000"/>
                <a:gd name="connsiteX759" fmla="*/ 545 w 10000"/>
                <a:gd name="connsiteY759" fmla="*/ 8852 h 10000"/>
                <a:gd name="connsiteX760" fmla="*/ 525 w 10000"/>
                <a:gd name="connsiteY760" fmla="*/ 8885 h 10000"/>
                <a:gd name="connsiteX761" fmla="*/ 503 w 10000"/>
                <a:gd name="connsiteY761" fmla="*/ 8925 h 10000"/>
                <a:gd name="connsiteX762" fmla="*/ 480 w 10000"/>
                <a:gd name="connsiteY762" fmla="*/ 8962 h 10000"/>
                <a:gd name="connsiteX763" fmla="*/ 465 w 10000"/>
                <a:gd name="connsiteY763" fmla="*/ 8981 h 10000"/>
                <a:gd name="connsiteX764" fmla="*/ 455 w 10000"/>
                <a:gd name="connsiteY764" fmla="*/ 8993 h 10000"/>
                <a:gd name="connsiteX765" fmla="*/ 444 w 10000"/>
                <a:gd name="connsiteY765" fmla="*/ 9000 h 10000"/>
                <a:gd name="connsiteX766" fmla="*/ 434 w 10000"/>
                <a:gd name="connsiteY766" fmla="*/ 9007 h 10000"/>
                <a:gd name="connsiteX767" fmla="*/ 432 w 10000"/>
                <a:gd name="connsiteY767" fmla="*/ 9007 h 10000"/>
                <a:gd name="connsiteX768" fmla="*/ 429 w 10000"/>
                <a:gd name="connsiteY768" fmla="*/ 9004 h 10000"/>
                <a:gd name="connsiteX769" fmla="*/ 427 w 10000"/>
                <a:gd name="connsiteY769" fmla="*/ 8997 h 10000"/>
                <a:gd name="connsiteX770" fmla="*/ 427 w 10000"/>
                <a:gd name="connsiteY770" fmla="*/ 8993 h 10000"/>
                <a:gd name="connsiteX771" fmla="*/ 424 w 10000"/>
                <a:gd name="connsiteY771" fmla="*/ 8976 h 10000"/>
                <a:gd name="connsiteX772" fmla="*/ 427 w 10000"/>
                <a:gd name="connsiteY772" fmla="*/ 8948 h 10000"/>
                <a:gd name="connsiteX773" fmla="*/ 437 w 10000"/>
                <a:gd name="connsiteY773" fmla="*/ 8913 h 10000"/>
                <a:gd name="connsiteX774" fmla="*/ 455 w 10000"/>
                <a:gd name="connsiteY774" fmla="*/ 8859 h 10000"/>
                <a:gd name="connsiteX775" fmla="*/ 462 w 10000"/>
                <a:gd name="connsiteY775" fmla="*/ 8834 h 10000"/>
                <a:gd name="connsiteX776" fmla="*/ 470 w 10000"/>
                <a:gd name="connsiteY776" fmla="*/ 8810 h 10000"/>
                <a:gd name="connsiteX777" fmla="*/ 472 w 10000"/>
                <a:gd name="connsiteY777" fmla="*/ 8794 h 10000"/>
                <a:gd name="connsiteX778" fmla="*/ 472 w 10000"/>
                <a:gd name="connsiteY778" fmla="*/ 8780 h 10000"/>
                <a:gd name="connsiteX779" fmla="*/ 462 w 10000"/>
                <a:gd name="connsiteY779" fmla="*/ 8784 h 10000"/>
                <a:gd name="connsiteX780" fmla="*/ 452 w 10000"/>
                <a:gd name="connsiteY780" fmla="*/ 8787 h 10000"/>
                <a:gd name="connsiteX781" fmla="*/ 437 w 10000"/>
                <a:gd name="connsiteY781" fmla="*/ 8794 h 10000"/>
                <a:gd name="connsiteX782" fmla="*/ 424 w 10000"/>
                <a:gd name="connsiteY782" fmla="*/ 8803 h 10000"/>
                <a:gd name="connsiteX783" fmla="*/ 394 w 10000"/>
                <a:gd name="connsiteY783" fmla="*/ 8829 h 10000"/>
                <a:gd name="connsiteX784" fmla="*/ 364 w 10000"/>
                <a:gd name="connsiteY784" fmla="*/ 8859 h 10000"/>
                <a:gd name="connsiteX785" fmla="*/ 311 w 10000"/>
                <a:gd name="connsiteY785" fmla="*/ 8922 h 10000"/>
                <a:gd name="connsiteX786" fmla="*/ 268 w 10000"/>
                <a:gd name="connsiteY786" fmla="*/ 8964 h 10000"/>
                <a:gd name="connsiteX787" fmla="*/ 205 w 10000"/>
                <a:gd name="connsiteY787" fmla="*/ 9016 h 10000"/>
                <a:gd name="connsiteX788" fmla="*/ 146 w 10000"/>
                <a:gd name="connsiteY788" fmla="*/ 9053 h 10000"/>
                <a:gd name="connsiteX789" fmla="*/ 139 w 10000"/>
                <a:gd name="connsiteY789" fmla="*/ 9063 h 10000"/>
                <a:gd name="connsiteX790" fmla="*/ 129 w 10000"/>
                <a:gd name="connsiteY790" fmla="*/ 9077 h 10000"/>
                <a:gd name="connsiteX791" fmla="*/ 126 w 10000"/>
                <a:gd name="connsiteY791" fmla="*/ 9086 h 10000"/>
                <a:gd name="connsiteX792" fmla="*/ 126 w 10000"/>
                <a:gd name="connsiteY792" fmla="*/ 9102 h 10000"/>
                <a:gd name="connsiteX793" fmla="*/ 129 w 10000"/>
                <a:gd name="connsiteY793" fmla="*/ 9116 h 10000"/>
                <a:gd name="connsiteX794" fmla="*/ 139 w 10000"/>
                <a:gd name="connsiteY794" fmla="*/ 9135 h 10000"/>
                <a:gd name="connsiteX795" fmla="*/ 149 w 10000"/>
                <a:gd name="connsiteY795" fmla="*/ 9151 h 10000"/>
                <a:gd name="connsiteX796" fmla="*/ 164 w 10000"/>
                <a:gd name="connsiteY796" fmla="*/ 9175 h 10000"/>
                <a:gd name="connsiteX797" fmla="*/ 184 w 10000"/>
                <a:gd name="connsiteY797" fmla="*/ 9196 h 10000"/>
                <a:gd name="connsiteX798" fmla="*/ 207 w 10000"/>
                <a:gd name="connsiteY798" fmla="*/ 9215 h 10000"/>
                <a:gd name="connsiteX799" fmla="*/ 227 w 10000"/>
                <a:gd name="connsiteY799" fmla="*/ 9233 h 10000"/>
                <a:gd name="connsiteX800" fmla="*/ 253 w 10000"/>
                <a:gd name="connsiteY800" fmla="*/ 9250 h 10000"/>
                <a:gd name="connsiteX801" fmla="*/ 303 w 10000"/>
                <a:gd name="connsiteY801" fmla="*/ 9282 h 10000"/>
                <a:gd name="connsiteX802" fmla="*/ 351 w 10000"/>
                <a:gd name="connsiteY802" fmla="*/ 9315 h 10000"/>
                <a:gd name="connsiteX803" fmla="*/ 414 w 10000"/>
                <a:gd name="connsiteY803" fmla="*/ 9364 h 10000"/>
                <a:gd name="connsiteX804" fmla="*/ 480 w 10000"/>
                <a:gd name="connsiteY804" fmla="*/ 9416 h 10000"/>
                <a:gd name="connsiteX805" fmla="*/ 513 w 10000"/>
                <a:gd name="connsiteY805" fmla="*/ 9437 h 10000"/>
                <a:gd name="connsiteX806" fmla="*/ 548 w 10000"/>
                <a:gd name="connsiteY806" fmla="*/ 9462 h 10000"/>
                <a:gd name="connsiteX807" fmla="*/ 581 w 10000"/>
                <a:gd name="connsiteY807" fmla="*/ 9483 h 10000"/>
                <a:gd name="connsiteX808" fmla="*/ 614 w 10000"/>
                <a:gd name="connsiteY808" fmla="*/ 9502 h 10000"/>
                <a:gd name="connsiteX809" fmla="*/ 641 w 10000"/>
                <a:gd name="connsiteY809" fmla="*/ 9525 h 10000"/>
                <a:gd name="connsiteX810" fmla="*/ 672 w 10000"/>
                <a:gd name="connsiteY810" fmla="*/ 9549 h 10000"/>
                <a:gd name="connsiteX811" fmla="*/ 702 w 10000"/>
                <a:gd name="connsiteY811" fmla="*/ 9568 h 10000"/>
                <a:gd name="connsiteX812" fmla="*/ 737 w 10000"/>
                <a:gd name="connsiteY812" fmla="*/ 9589 h 10000"/>
                <a:gd name="connsiteX813" fmla="*/ 770 w 10000"/>
                <a:gd name="connsiteY813" fmla="*/ 9605 h 10000"/>
                <a:gd name="connsiteX814" fmla="*/ 808 w 10000"/>
                <a:gd name="connsiteY814" fmla="*/ 9617 h 10000"/>
                <a:gd name="connsiteX815" fmla="*/ 843 w 10000"/>
                <a:gd name="connsiteY815" fmla="*/ 9624 h 10000"/>
                <a:gd name="connsiteX816" fmla="*/ 884 w 10000"/>
                <a:gd name="connsiteY816" fmla="*/ 9628 h 10000"/>
                <a:gd name="connsiteX817" fmla="*/ 902 w 10000"/>
                <a:gd name="connsiteY817" fmla="*/ 9628 h 10000"/>
                <a:gd name="connsiteX818" fmla="*/ 914 w 10000"/>
                <a:gd name="connsiteY818" fmla="*/ 9631 h 10000"/>
                <a:gd name="connsiteX819" fmla="*/ 932 w 10000"/>
                <a:gd name="connsiteY819" fmla="*/ 9638 h 10000"/>
                <a:gd name="connsiteX820" fmla="*/ 942 w 10000"/>
                <a:gd name="connsiteY820" fmla="*/ 9642 h 10000"/>
                <a:gd name="connsiteX821" fmla="*/ 967 w 10000"/>
                <a:gd name="connsiteY821" fmla="*/ 9652 h 10000"/>
                <a:gd name="connsiteX822" fmla="*/ 987 w 10000"/>
                <a:gd name="connsiteY822" fmla="*/ 9668 h 10000"/>
                <a:gd name="connsiteX823" fmla="*/ 1005 w 10000"/>
                <a:gd name="connsiteY823" fmla="*/ 9682 h 10000"/>
                <a:gd name="connsiteX824" fmla="*/ 1025 w 10000"/>
                <a:gd name="connsiteY824" fmla="*/ 9698 h 10000"/>
                <a:gd name="connsiteX825" fmla="*/ 1045 w 10000"/>
                <a:gd name="connsiteY825" fmla="*/ 9712 h 10000"/>
                <a:gd name="connsiteX826" fmla="*/ 1073 w 10000"/>
                <a:gd name="connsiteY826" fmla="*/ 9724 h 10000"/>
                <a:gd name="connsiteX827" fmla="*/ 1098 w 10000"/>
                <a:gd name="connsiteY827" fmla="*/ 9738 h 10000"/>
                <a:gd name="connsiteX828" fmla="*/ 1121 w 10000"/>
                <a:gd name="connsiteY828" fmla="*/ 9750 h 10000"/>
                <a:gd name="connsiteX829" fmla="*/ 1141 w 10000"/>
                <a:gd name="connsiteY829" fmla="*/ 9762 h 10000"/>
                <a:gd name="connsiteX830" fmla="*/ 1159 w 10000"/>
                <a:gd name="connsiteY830" fmla="*/ 9776 h 10000"/>
                <a:gd name="connsiteX831" fmla="*/ 1172 w 10000"/>
                <a:gd name="connsiteY831" fmla="*/ 9787 h 10000"/>
                <a:gd name="connsiteX832" fmla="*/ 1182 w 10000"/>
                <a:gd name="connsiteY832" fmla="*/ 9804 h 10000"/>
                <a:gd name="connsiteX833" fmla="*/ 1194 w 10000"/>
                <a:gd name="connsiteY833" fmla="*/ 9818 h 10000"/>
                <a:gd name="connsiteX834" fmla="*/ 1202 w 10000"/>
                <a:gd name="connsiteY834" fmla="*/ 9834 h 10000"/>
                <a:gd name="connsiteX835" fmla="*/ 1212 w 10000"/>
                <a:gd name="connsiteY835" fmla="*/ 9869 h 10000"/>
                <a:gd name="connsiteX836" fmla="*/ 1220 w 10000"/>
                <a:gd name="connsiteY836" fmla="*/ 9906 h 10000"/>
                <a:gd name="connsiteX837" fmla="*/ 1230 w 10000"/>
                <a:gd name="connsiteY837" fmla="*/ 9951 h 10000"/>
                <a:gd name="connsiteX838" fmla="*/ 1237 w 10000"/>
                <a:gd name="connsiteY838" fmla="*/ 10000 h 10000"/>
                <a:gd name="connsiteX839" fmla="*/ 1237 w 10000"/>
                <a:gd name="connsiteY83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82 w 10000"/>
                <a:gd name="connsiteY717" fmla="*/ 7475 h 10000"/>
                <a:gd name="connsiteX718" fmla="*/ 2490 w 10000"/>
                <a:gd name="connsiteY718" fmla="*/ 7475 h 10000"/>
                <a:gd name="connsiteX719" fmla="*/ 1990 w 10000"/>
                <a:gd name="connsiteY719" fmla="*/ 8422 h 10000"/>
                <a:gd name="connsiteX720" fmla="*/ 1904 w 10000"/>
                <a:gd name="connsiteY720" fmla="*/ 8481 h 10000"/>
                <a:gd name="connsiteX721" fmla="*/ 1856 w 10000"/>
                <a:gd name="connsiteY721" fmla="*/ 8506 h 10000"/>
                <a:gd name="connsiteX722" fmla="*/ 1816 w 10000"/>
                <a:gd name="connsiteY722" fmla="*/ 8527 h 10000"/>
                <a:gd name="connsiteX723" fmla="*/ 1793 w 10000"/>
                <a:gd name="connsiteY723" fmla="*/ 8539 h 10000"/>
                <a:gd name="connsiteX724" fmla="*/ 1775 w 10000"/>
                <a:gd name="connsiteY724" fmla="*/ 8546 h 10000"/>
                <a:gd name="connsiteX725" fmla="*/ 1758 w 10000"/>
                <a:gd name="connsiteY725" fmla="*/ 8548 h 10000"/>
                <a:gd name="connsiteX726" fmla="*/ 1742 w 10000"/>
                <a:gd name="connsiteY726" fmla="*/ 8551 h 10000"/>
                <a:gd name="connsiteX727" fmla="*/ 1727 w 10000"/>
                <a:gd name="connsiteY727" fmla="*/ 8537 h 10000"/>
                <a:gd name="connsiteX728" fmla="*/ 1717 w 10000"/>
                <a:gd name="connsiteY728" fmla="*/ 8518 h 10000"/>
                <a:gd name="connsiteX729" fmla="*/ 1684 w 10000"/>
                <a:gd name="connsiteY729" fmla="*/ 8429 h 10000"/>
                <a:gd name="connsiteX730" fmla="*/ 1525 w 10000"/>
                <a:gd name="connsiteY730" fmla="*/ 8186 h 10000"/>
                <a:gd name="connsiteX731" fmla="*/ 1500 w 10000"/>
                <a:gd name="connsiteY731" fmla="*/ 8191 h 10000"/>
                <a:gd name="connsiteX732" fmla="*/ 1472 w 10000"/>
                <a:gd name="connsiteY732" fmla="*/ 8198 h 10000"/>
                <a:gd name="connsiteX733" fmla="*/ 1434 w 10000"/>
                <a:gd name="connsiteY733" fmla="*/ 8223 h 10000"/>
                <a:gd name="connsiteX734" fmla="*/ 1149 w 10000"/>
                <a:gd name="connsiteY734" fmla="*/ 8256 h 10000"/>
                <a:gd name="connsiteX735" fmla="*/ 1139 w 10000"/>
                <a:gd name="connsiteY735" fmla="*/ 8249 h 10000"/>
                <a:gd name="connsiteX736" fmla="*/ 1126 w 10000"/>
                <a:gd name="connsiteY736" fmla="*/ 8240 h 10000"/>
                <a:gd name="connsiteX737" fmla="*/ 1114 w 10000"/>
                <a:gd name="connsiteY737" fmla="*/ 8240 h 10000"/>
                <a:gd name="connsiteX738" fmla="*/ 1091 w 10000"/>
                <a:gd name="connsiteY738" fmla="*/ 8242 h 10000"/>
                <a:gd name="connsiteX739" fmla="*/ 1071 w 10000"/>
                <a:gd name="connsiteY739" fmla="*/ 8252 h 10000"/>
                <a:gd name="connsiteX740" fmla="*/ 1048 w 10000"/>
                <a:gd name="connsiteY740" fmla="*/ 8261 h 10000"/>
                <a:gd name="connsiteX741" fmla="*/ 1030 w 10000"/>
                <a:gd name="connsiteY741" fmla="*/ 8273 h 10000"/>
                <a:gd name="connsiteX742" fmla="*/ 1010 w 10000"/>
                <a:gd name="connsiteY742" fmla="*/ 8287 h 10000"/>
                <a:gd name="connsiteX743" fmla="*/ 995 w 10000"/>
                <a:gd name="connsiteY743" fmla="*/ 8303 h 10000"/>
                <a:gd name="connsiteX744" fmla="*/ 975 w 10000"/>
                <a:gd name="connsiteY744" fmla="*/ 8322 h 10000"/>
                <a:gd name="connsiteX745" fmla="*/ 960 w 10000"/>
                <a:gd name="connsiteY745" fmla="*/ 8343 h 10000"/>
                <a:gd name="connsiteX746" fmla="*/ 927 w 10000"/>
                <a:gd name="connsiteY746" fmla="*/ 8380 h 10000"/>
                <a:gd name="connsiteX747" fmla="*/ 891 w 10000"/>
                <a:gd name="connsiteY747" fmla="*/ 8417 h 10000"/>
                <a:gd name="connsiteX748" fmla="*/ 874 w 10000"/>
                <a:gd name="connsiteY748" fmla="*/ 8436 h 10000"/>
                <a:gd name="connsiteX749" fmla="*/ 859 w 10000"/>
                <a:gd name="connsiteY749" fmla="*/ 8450 h 10000"/>
                <a:gd name="connsiteX750" fmla="*/ 838 w 10000"/>
                <a:gd name="connsiteY750" fmla="*/ 8462 h 10000"/>
                <a:gd name="connsiteX751" fmla="*/ 821 w 10000"/>
                <a:gd name="connsiteY751" fmla="*/ 8476 h 10000"/>
                <a:gd name="connsiteX752" fmla="*/ 742 w 10000"/>
                <a:gd name="connsiteY752" fmla="*/ 8562 h 10000"/>
                <a:gd name="connsiteX753" fmla="*/ 672 w 10000"/>
                <a:gd name="connsiteY753" fmla="*/ 8644 h 10000"/>
                <a:gd name="connsiteX754" fmla="*/ 639 w 10000"/>
                <a:gd name="connsiteY754" fmla="*/ 8684 h 10000"/>
                <a:gd name="connsiteX755" fmla="*/ 609 w 10000"/>
                <a:gd name="connsiteY755" fmla="*/ 8731 h 10000"/>
                <a:gd name="connsiteX756" fmla="*/ 583 w 10000"/>
                <a:gd name="connsiteY756" fmla="*/ 8777 h 10000"/>
                <a:gd name="connsiteX757" fmla="*/ 556 w 10000"/>
                <a:gd name="connsiteY757" fmla="*/ 8831 h 10000"/>
                <a:gd name="connsiteX758" fmla="*/ 545 w 10000"/>
                <a:gd name="connsiteY758" fmla="*/ 8852 h 10000"/>
                <a:gd name="connsiteX759" fmla="*/ 525 w 10000"/>
                <a:gd name="connsiteY759" fmla="*/ 8885 h 10000"/>
                <a:gd name="connsiteX760" fmla="*/ 503 w 10000"/>
                <a:gd name="connsiteY760" fmla="*/ 8925 h 10000"/>
                <a:gd name="connsiteX761" fmla="*/ 480 w 10000"/>
                <a:gd name="connsiteY761" fmla="*/ 8962 h 10000"/>
                <a:gd name="connsiteX762" fmla="*/ 465 w 10000"/>
                <a:gd name="connsiteY762" fmla="*/ 8981 h 10000"/>
                <a:gd name="connsiteX763" fmla="*/ 455 w 10000"/>
                <a:gd name="connsiteY763" fmla="*/ 8993 h 10000"/>
                <a:gd name="connsiteX764" fmla="*/ 444 w 10000"/>
                <a:gd name="connsiteY764" fmla="*/ 9000 h 10000"/>
                <a:gd name="connsiteX765" fmla="*/ 434 w 10000"/>
                <a:gd name="connsiteY765" fmla="*/ 9007 h 10000"/>
                <a:gd name="connsiteX766" fmla="*/ 432 w 10000"/>
                <a:gd name="connsiteY766" fmla="*/ 9007 h 10000"/>
                <a:gd name="connsiteX767" fmla="*/ 429 w 10000"/>
                <a:gd name="connsiteY767" fmla="*/ 9004 h 10000"/>
                <a:gd name="connsiteX768" fmla="*/ 427 w 10000"/>
                <a:gd name="connsiteY768" fmla="*/ 8997 h 10000"/>
                <a:gd name="connsiteX769" fmla="*/ 427 w 10000"/>
                <a:gd name="connsiteY769" fmla="*/ 8993 h 10000"/>
                <a:gd name="connsiteX770" fmla="*/ 424 w 10000"/>
                <a:gd name="connsiteY770" fmla="*/ 8976 h 10000"/>
                <a:gd name="connsiteX771" fmla="*/ 427 w 10000"/>
                <a:gd name="connsiteY771" fmla="*/ 8948 h 10000"/>
                <a:gd name="connsiteX772" fmla="*/ 437 w 10000"/>
                <a:gd name="connsiteY772" fmla="*/ 8913 h 10000"/>
                <a:gd name="connsiteX773" fmla="*/ 455 w 10000"/>
                <a:gd name="connsiteY773" fmla="*/ 8859 h 10000"/>
                <a:gd name="connsiteX774" fmla="*/ 462 w 10000"/>
                <a:gd name="connsiteY774" fmla="*/ 8834 h 10000"/>
                <a:gd name="connsiteX775" fmla="*/ 470 w 10000"/>
                <a:gd name="connsiteY775" fmla="*/ 8810 h 10000"/>
                <a:gd name="connsiteX776" fmla="*/ 472 w 10000"/>
                <a:gd name="connsiteY776" fmla="*/ 8794 h 10000"/>
                <a:gd name="connsiteX777" fmla="*/ 472 w 10000"/>
                <a:gd name="connsiteY777" fmla="*/ 8780 h 10000"/>
                <a:gd name="connsiteX778" fmla="*/ 462 w 10000"/>
                <a:gd name="connsiteY778" fmla="*/ 8784 h 10000"/>
                <a:gd name="connsiteX779" fmla="*/ 452 w 10000"/>
                <a:gd name="connsiteY779" fmla="*/ 8787 h 10000"/>
                <a:gd name="connsiteX780" fmla="*/ 437 w 10000"/>
                <a:gd name="connsiteY780" fmla="*/ 8794 h 10000"/>
                <a:gd name="connsiteX781" fmla="*/ 424 w 10000"/>
                <a:gd name="connsiteY781" fmla="*/ 8803 h 10000"/>
                <a:gd name="connsiteX782" fmla="*/ 394 w 10000"/>
                <a:gd name="connsiteY782" fmla="*/ 8829 h 10000"/>
                <a:gd name="connsiteX783" fmla="*/ 364 w 10000"/>
                <a:gd name="connsiteY783" fmla="*/ 8859 h 10000"/>
                <a:gd name="connsiteX784" fmla="*/ 311 w 10000"/>
                <a:gd name="connsiteY784" fmla="*/ 8922 h 10000"/>
                <a:gd name="connsiteX785" fmla="*/ 268 w 10000"/>
                <a:gd name="connsiteY785" fmla="*/ 8964 h 10000"/>
                <a:gd name="connsiteX786" fmla="*/ 205 w 10000"/>
                <a:gd name="connsiteY786" fmla="*/ 9016 h 10000"/>
                <a:gd name="connsiteX787" fmla="*/ 146 w 10000"/>
                <a:gd name="connsiteY787" fmla="*/ 9053 h 10000"/>
                <a:gd name="connsiteX788" fmla="*/ 139 w 10000"/>
                <a:gd name="connsiteY788" fmla="*/ 9063 h 10000"/>
                <a:gd name="connsiteX789" fmla="*/ 129 w 10000"/>
                <a:gd name="connsiteY789" fmla="*/ 9077 h 10000"/>
                <a:gd name="connsiteX790" fmla="*/ 126 w 10000"/>
                <a:gd name="connsiteY790" fmla="*/ 9086 h 10000"/>
                <a:gd name="connsiteX791" fmla="*/ 126 w 10000"/>
                <a:gd name="connsiteY791" fmla="*/ 9102 h 10000"/>
                <a:gd name="connsiteX792" fmla="*/ 129 w 10000"/>
                <a:gd name="connsiteY792" fmla="*/ 9116 h 10000"/>
                <a:gd name="connsiteX793" fmla="*/ 139 w 10000"/>
                <a:gd name="connsiteY793" fmla="*/ 9135 h 10000"/>
                <a:gd name="connsiteX794" fmla="*/ 149 w 10000"/>
                <a:gd name="connsiteY794" fmla="*/ 9151 h 10000"/>
                <a:gd name="connsiteX795" fmla="*/ 164 w 10000"/>
                <a:gd name="connsiteY795" fmla="*/ 9175 h 10000"/>
                <a:gd name="connsiteX796" fmla="*/ 184 w 10000"/>
                <a:gd name="connsiteY796" fmla="*/ 9196 h 10000"/>
                <a:gd name="connsiteX797" fmla="*/ 207 w 10000"/>
                <a:gd name="connsiteY797" fmla="*/ 9215 h 10000"/>
                <a:gd name="connsiteX798" fmla="*/ 227 w 10000"/>
                <a:gd name="connsiteY798" fmla="*/ 9233 h 10000"/>
                <a:gd name="connsiteX799" fmla="*/ 253 w 10000"/>
                <a:gd name="connsiteY799" fmla="*/ 9250 h 10000"/>
                <a:gd name="connsiteX800" fmla="*/ 303 w 10000"/>
                <a:gd name="connsiteY800" fmla="*/ 9282 h 10000"/>
                <a:gd name="connsiteX801" fmla="*/ 351 w 10000"/>
                <a:gd name="connsiteY801" fmla="*/ 9315 h 10000"/>
                <a:gd name="connsiteX802" fmla="*/ 414 w 10000"/>
                <a:gd name="connsiteY802" fmla="*/ 9364 h 10000"/>
                <a:gd name="connsiteX803" fmla="*/ 480 w 10000"/>
                <a:gd name="connsiteY803" fmla="*/ 9416 h 10000"/>
                <a:gd name="connsiteX804" fmla="*/ 513 w 10000"/>
                <a:gd name="connsiteY804" fmla="*/ 9437 h 10000"/>
                <a:gd name="connsiteX805" fmla="*/ 548 w 10000"/>
                <a:gd name="connsiteY805" fmla="*/ 9462 h 10000"/>
                <a:gd name="connsiteX806" fmla="*/ 581 w 10000"/>
                <a:gd name="connsiteY806" fmla="*/ 9483 h 10000"/>
                <a:gd name="connsiteX807" fmla="*/ 614 w 10000"/>
                <a:gd name="connsiteY807" fmla="*/ 9502 h 10000"/>
                <a:gd name="connsiteX808" fmla="*/ 641 w 10000"/>
                <a:gd name="connsiteY808" fmla="*/ 9525 h 10000"/>
                <a:gd name="connsiteX809" fmla="*/ 672 w 10000"/>
                <a:gd name="connsiteY809" fmla="*/ 9549 h 10000"/>
                <a:gd name="connsiteX810" fmla="*/ 702 w 10000"/>
                <a:gd name="connsiteY810" fmla="*/ 9568 h 10000"/>
                <a:gd name="connsiteX811" fmla="*/ 737 w 10000"/>
                <a:gd name="connsiteY811" fmla="*/ 9589 h 10000"/>
                <a:gd name="connsiteX812" fmla="*/ 770 w 10000"/>
                <a:gd name="connsiteY812" fmla="*/ 9605 h 10000"/>
                <a:gd name="connsiteX813" fmla="*/ 808 w 10000"/>
                <a:gd name="connsiteY813" fmla="*/ 9617 h 10000"/>
                <a:gd name="connsiteX814" fmla="*/ 843 w 10000"/>
                <a:gd name="connsiteY814" fmla="*/ 9624 h 10000"/>
                <a:gd name="connsiteX815" fmla="*/ 884 w 10000"/>
                <a:gd name="connsiteY815" fmla="*/ 9628 h 10000"/>
                <a:gd name="connsiteX816" fmla="*/ 902 w 10000"/>
                <a:gd name="connsiteY816" fmla="*/ 9628 h 10000"/>
                <a:gd name="connsiteX817" fmla="*/ 914 w 10000"/>
                <a:gd name="connsiteY817" fmla="*/ 9631 h 10000"/>
                <a:gd name="connsiteX818" fmla="*/ 932 w 10000"/>
                <a:gd name="connsiteY818" fmla="*/ 9638 h 10000"/>
                <a:gd name="connsiteX819" fmla="*/ 942 w 10000"/>
                <a:gd name="connsiteY819" fmla="*/ 9642 h 10000"/>
                <a:gd name="connsiteX820" fmla="*/ 967 w 10000"/>
                <a:gd name="connsiteY820" fmla="*/ 9652 h 10000"/>
                <a:gd name="connsiteX821" fmla="*/ 987 w 10000"/>
                <a:gd name="connsiteY821" fmla="*/ 9668 h 10000"/>
                <a:gd name="connsiteX822" fmla="*/ 1005 w 10000"/>
                <a:gd name="connsiteY822" fmla="*/ 9682 h 10000"/>
                <a:gd name="connsiteX823" fmla="*/ 1025 w 10000"/>
                <a:gd name="connsiteY823" fmla="*/ 9698 h 10000"/>
                <a:gd name="connsiteX824" fmla="*/ 1045 w 10000"/>
                <a:gd name="connsiteY824" fmla="*/ 9712 h 10000"/>
                <a:gd name="connsiteX825" fmla="*/ 1073 w 10000"/>
                <a:gd name="connsiteY825" fmla="*/ 9724 h 10000"/>
                <a:gd name="connsiteX826" fmla="*/ 1098 w 10000"/>
                <a:gd name="connsiteY826" fmla="*/ 9738 h 10000"/>
                <a:gd name="connsiteX827" fmla="*/ 1121 w 10000"/>
                <a:gd name="connsiteY827" fmla="*/ 9750 h 10000"/>
                <a:gd name="connsiteX828" fmla="*/ 1141 w 10000"/>
                <a:gd name="connsiteY828" fmla="*/ 9762 h 10000"/>
                <a:gd name="connsiteX829" fmla="*/ 1159 w 10000"/>
                <a:gd name="connsiteY829" fmla="*/ 9776 h 10000"/>
                <a:gd name="connsiteX830" fmla="*/ 1172 w 10000"/>
                <a:gd name="connsiteY830" fmla="*/ 9787 h 10000"/>
                <a:gd name="connsiteX831" fmla="*/ 1182 w 10000"/>
                <a:gd name="connsiteY831" fmla="*/ 9804 h 10000"/>
                <a:gd name="connsiteX832" fmla="*/ 1194 w 10000"/>
                <a:gd name="connsiteY832" fmla="*/ 9818 h 10000"/>
                <a:gd name="connsiteX833" fmla="*/ 1202 w 10000"/>
                <a:gd name="connsiteY833" fmla="*/ 9834 h 10000"/>
                <a:gd name="connsiteX834" fmla="*/ 1212 w 10000"/>
                <a:gd name="connsiteY834" fmla="*/ 9869 h 10000"/>
                <a:gd name="connsiteX835" fmla="*/ 1220 w 10000"/>
                <a:gd name="connsiteY835" fmla="*/ 9906 h 10000"/>
                <a:gd name="connsiteX836" fmla="*/ 1230 w 10000"/>
                <a:gd name="connsiteY836" fmla="*/ 9951 h 10000"/>
                <a:gd name="connsiteX837" fmla="*/ 1237 w 10000"/>
                <a:gd name="connsiteY837" fmla="*/ 10000 h 10000"/>
                <a:gd name="connsiteX838" fmla="*/ 1237 w 10000"/>
                <a:gd name="connsiteY83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2490 w 10000"/>
                <a:gd name="connsiteY717" fmla="*/ 7475 h 10000"/>
                <a:gd name="connsiteX718" fmla="*/ 1990 w 10000"/>
                <a:gd name="connsiteY718" fmla="*/ 8422 h 10000"/>
                <a:gd name="connsiteX719" fmla="*/ 1904 w 10000"/>
                <a:gd name="connsiteY719" fmla="*/ 8481 h 10000"/>
                <a:gd name="connsiteX720" fmla="*/ 1856 w 10000"/>
                <a:gd name="connsiteY720" fmla="*/ 8506 h 10000"/>
                <a:gd name="connsiteX721" fmla="*/ 1816 w 10000"/>
                <a:gd name="connsiteY721" fmla="*/ 8527 h 10000"/>
                <a:gd name="connsiteX722" fmla="*/ 1793 w 10000"/>
                <a:gd name="connsiteY722" fmla="*/ 8539 h 10000"/>
                <a:gd name="connsiteX723" fmla="*/ 1775 w 10000"/>
                <a:gd name="connsiteY723" fmla="*/ 8546 h 10000"/>
                <a:gd name="connsiteX724" fmla="*/ 1758 w 10000"/>
                <a:gd name="connsiteY724" fmla="*/ 8548 h 10000"/>
                <a:gd name="connsiteX725" fmla="*/ 1742 w 10000"/>
                <a:gd name="connsiteY725" fmla="*/ 8551 h 10000"/>
                <a:gd name="connsiteX726" fmla="*/ 1727 w 10000"/>
                <a:gd name="connsiteY726" fmla="*/ 8537 h 10000"/>
                <a:gd name="connsiteX727" fmla="*/ 1717 w 10000"/>
                <a:gd name="connsiteY727" fmla="*/ 8518 h 10000"/>
                <a:gd name="connsiteX728" fmla="*/ 1684 w 10000"/>
                <a:gd name="connsiteY728" fmla="*/ 8429 h 10000"/>
                <a:gd name="connsiteX729" fmla="*/ 1525 w 10000"/>
                <a:gd name="connsiteY729" fmla="*/ 8186 h 10000"/>
                <a:gd name="connsiteX730" fmla="*/ 1500 w 10000"/>
                <a:gd name="connsiteY730" fmla="*/ 8191 h 10000"/>
                <a:gd name="connsiteX731" fmla="*/ 1472 w 10000"/>
                <a:gd name="connsiteY731" fmla="*/ 8198 h 10000"/>
                <a:gd name="connsiteX732" fmla="*/ 1434 w 10000"/>
                <a:gd name="connsiteY732" fmla="*/ 8223 h 10000"/>
                <a:gd name="connsiteX733" fmla="*/ 1149 w 10000"/>
                <a:gd name="connsiteY733" fmla="*/ 8256 h 10000"/>
                <a:gd name="connsiteX734" fmla="*/ 1139 w 10000"/>
                <a:gd name="connsiteY734" fmla="*/ 8249 h 10000"/>
                <a:gd name="connsiteX735" fmla="*/ 1126 w 10000"/>
                <a:gd name="connsiteY735" fmla="*/ 8240 h 10000"/>
                <a:gd name="connsiteX736" fmla="*/ 1114 w 10000"/>
                <a:gd name="connsiteY736" fmla="*/ 8240 h 10000"/>
                <a:gd name="connsiteX737" fmla="*/ 1091 w 10000"/>
                <a:gd name="connsiteY737" fmla="*/ 8242 h 10000"/>
                <a:gd name="connsiteX738" fmla="*/ 1071 w 10000"/>
                <a:gd name="connsiteY738" fmla="*/ 8252 h 10000"/>
                <a:gd name="connsiteX739" fmla="*/ 1048 w 10000"/>
                <a:gd name="connsiteY739" fmla="*/ 8261 h 10000"/>
                <a:gd name="connsiteX740" fmla="*/ 1030 w 10000"/>
                <a:gd name="connsiteY740" fmla="*/ 8273 h 10000"/>
                <a:gd name="connsiteX741" fmla="*/ 1010 w 10000"/>
                <a:gd name="connsiteY741" fmla="*/ 8287 h 10000"/>
                <a:gd name="connsiteX742" fmla="*/ 995 w 10000"/>
                <a:gd name="connsiteY742" fmla="*/ 8303 h 10000"/>
                <a:gd name="connsiteX743" fmla="*/ 975 w 10000"/>
                <a:gd name="connsiteY743" fmla="*/ 8322 h 10000"/>
                <a:gd name="connsiteX744" fmla="*/ 960 w 10000"/>
                <a:gd name="connsiteY744" fmla="*/ 8343 h 10000"/>
                <a:gd name="connsiteX745" fmla="*/ 927 w 10000"/>
                <a:gd name="connsiteY745" fmla="*/ 8380 h 10000"/>
                <a:gd name="connsiteX746" fmla="*/ 891 w 10000"/>
                <a:gd name="connsiteY746" fmla="*/ 8417 h 10000"/>
                <a:gd name="connsiteX747" fmla="*/ 874 w 10000"/>
                <a:gd name="connsiteY747" fmla="*/ 8436 h 10000"/>
                <a:gd name="connsiteX748" fmla="*/ 859 w 10000"/>
                <a:gd name="connsiteY748" fmla="*/ 8450 h 10000"/>
                <a:gd name="connsiteX749" fmla="*/ 838 w 10000"/>
                <a:gd name="connsiteY749" fmla="*/ 8462 h 10000"/>
                <a:gd name="connsiteX750" fmla="*/ 821 w 10000"/>
                <a:gd name="connsiteY750" fmla="*/ 8476 h 10000"/>
                <a:gd name="connsiteX751" fmla="*/ 742 w 10000"/>
                <a:gd name="connsiteY751" fmla="*/ 8562 h 10000"/>
                <a:gd name="connsiteX752" fmla="*/ 672 w 10000"/>
                <a:gd name="connsiteY752" fmla="*/ 8644 h 10000"/>
                <a:gd name="connsiteX753" fmla="*/ 639 w 10000"/>
                <a:gd name="connsiteY753" fmla="*/ 8684 h 10000"/>
                <a:gd name="connsiteX754" fmla="*/ 609 w 10000"/>
                <a:gd name="connsiteY754" fmla="*/ 8731 h 10000"/>
                <a:gd name="connsiteX755" fmla="*/ 583 w 10000"/>
                <a:gd name="connsiteY755" fmla="*/ 8777 h 10000"/>
                <a:gd name="connsiteX756" fmla="*/ 556 w 10000"/>
                <a:gd name="connsiteY756" fmla="*/ 8831 h 10000"/>
                <a:gd name="connsiteX757" fmla="*/ 545 w 10000"/>
                <a:gd name="connsiteY757" fmla="*/ 8852 h 10000"/>
                <a:gd name="connsiteX758" fmla="*/ 525 w 10000"/>
                <a:gd name="connsiteY758" fmla="*/ 8885 h 10000"/>
                <a:gd name="connsiteX759" fmla="*/ 503 w 10000"/>
                <a:gd name="connsiteY759" fmla="*/ 8925 h 10000"/>
                <a:gd name="connsiteX760" fmla="*/ 480 w 10000"/>
                <a:gd name="connsiteY760" fmla="*/ 8962 h 10000"/>
                <a:gd name="connsiteX761" fmla="*/ 465 w 10000"/>
                <a:gd name="connsiteY761" fmla="*/ 8981 h 10000"/>
                <a:gd name="connsiteX762" fmla="*/ 455 w 10000"/>
                <a:gd name="connsiteY762" fmla="*/ 8993 h 10000"/>
                <a:gd name="connsiteX763" fmla="*/ 444 w 10000"/>
                <a:gd name="connsiteY763" fmla="*/ 9000 h 10000"/>
                <a:gd name="connsiteX764" fmla="*/ 434 w 10000"/>
                <a:gd name="connsiteY764" fmla="*/ 9007 h 10000"/>
                <a:gd name="connsiteX765" fmla="*/ 432 w 10000"/>
                <a:gd name="connsiteY765" fmla="*/ 9007 h 10000"/>
                <a:gd name="connsiteX766" fmla="*/ 429 w 10000"/>
                <a:gd name="connsiteY766" fmla="*/ 9004 h 10000"/>
                <a:gd name="connsiteX767" fmla="*/ 427 w 10000"/>
                <a:gd name="connsiteY767" fmla="*/ 8997 h 10000"/>
                <a:gd name="connsiteX768" fmla="*/ 427 w 10000"/>
                <a:gd name="connsiteY768" fmla="*/ 8993 h 10000"/>
                <a:gd name="connsiteX769" fmla="*/ 424 w 10000"/>
                <a:gd name="connsiteY769" fmla="*/ 8976 h 10000"/>
                <a:gd name="connsiteX770" fmla="*/ 427 w 10000"/>
                <a:gd name="connsiteY770" fmla="*/ 8948 h 10000"/>
                <a:gd name="connsiteX771" fmla="*/ 437 w 10000"/>
                <a:gd name="connsiteY771" fmla="*/ 8913 h 10000"/>
                <a:gd name="connsiteX772" fmla="*/ 455 w 10000"/>
                <a:gd name="connsiteY772" fmla="*/ 8859 h 10000"/>
                <a:gd name="connsiteX773" fmla="*/ 462 w 10000"/>
                <a:gd name="connsiteY773" fmla="*/ 8834 h 10000"/>
                <a:gd name="connsiteX774" fmla="*/ 470 w 10000"/>
                <a:gd name="connsiteY774" fmla="*/ 8810 h 10000"/>
                <a:gd name="connsiteX775" fmla="*/ 472 w 10000"/>
                <a:gd name="connsiteY775" fmla="*/ 8794 h 10000"/>
                <a:gd name="connsiteX776" fmla="*/ 472 w 10000"/>
                <a:gd name="connsiteY776" fmla="*/ 8780 h 10000"/>
                <a:gd name="connsiteX777" fmla="*/ 462 w 10000"/>
                <a:gd name="connsiteY777" fmla="*/ 8784 h 10000"/>
                <a:gd name="connsiteX778" fmla="*/ 452 w 10000"/>
                <a:gd name="connsiteY778" fmla="*/ 8787 h 10000"/>
                <a:gd name="connsiteX779" fmla="*/ 437 w 10000"/>
                <a:gd name="connsiteY779" fmla="*/ 8794 h 10000"/>
                <a:gd name="connsiteX780" fmla="*/ 424 w 10000"/>
                <a:gd name="connsiteY780" fmla="*/ 8803 h 10000"/>
                <a:gd name="connsiteX781" fmla="*/ 394 w 10000"/>
                <a:gd name="connsiteY781" fmla="*/ 8829 h 10000"/>
                <a:gd name="connsiteX782" fmla="*/ 364 w 10000"/>
                <a:gd name="connsiteY782" fmla="*/ 8859 h 10000"/>
                <a:gd name="connsiteX783" fmla="*/ 311 w 10000"/>
                <a:gd name="connsiteY783" fmla="*/ 8922 h 10000"/>
                <a:gd name="connsiteX784" fmla="*/ 268 w 10000"/>
                <a:gd name="connsiteY784" fmla="*/ 8964 h 10000"/>
                <a:gd name="connsiteX785" fmla="*/ 205 w 10000"/>
                <a:gd name="connsiteY785" fmla="*/ 9016 h 10000"/>
                <a:gd name="connsiteX786" fmla="*/ 146 w 10000"/>
                <a:gd name="connsiteY786" fmla="*/ 9053 h 10000"/>
                <a:gd name="connsiteX787" fmla="*/ 139 w 10000"/>
                <a:gd name="connsiteY787" fmla="*/ 9063 h 10000"/>
                <a:gd name="connsiteX788" fmla="*/ 129 w 10000"/>
                <a:gd name="connsiteY788" fmla="*/ 9077 h 10000"/>
                <a:gd name="connsiteX789" fmla="*/ 126 w 10000"/>
                <a:gd name="connsiteY789" fmla="*/ 9086 h 10000"/>
                <a:gd name="connsiteX790" fmla="*/ 126 w 10000"/>
                <a:gd name="connsiteY790" fmla="*/ 9102 h 10000"/>
                <a:gd name="connsiteX791" fmla="*/ 129 w 10000"/>
                <a:gd name="connsiteY791" fmla="*/ 9116 h 10000"/>
                <a:gd name="connsiteX792" fmla="*/ 139 w 10000"/>
                <a:gd name="connsiteY792" fmla="*/ 9135 h 10000"/>
                <a:gd name="connsiteX793" fmla="*/ 149 w 10000"/>
                <a:gd name="connsiteY793" fmla="*/ 9151 h 10000"/>
                <a:gd name="connsiteX794" fmla="*/ 164 w 10000"/>
                <a:gd name="connsiteY794" fmla="*/ 9175 h 10000"/>
                <a:gd name="connsiteX795" fmla="*/ 184 w 10000"/>
                <a:gd name="connsiteY795" fmla="*/ 9196 h 10000"/>
                <a:gd name="connsiteX796" fmla="*/ 207 w 10000"/>
                <a:gd name="connsiteY796" fmla="*/ 9215 h 10000"/>
                <a:gd name="connsiteX797" fmla="*/ 227 w 10000"/>
                <a:gd name="connsiteY797" fmla="*/ 9233 h 10000"/>
                <a:gd name="connsiteX798" fmla="*/ 253 w 10000"/>
                <a:gd name="connsiteY798" fmla="*/ 9250 h 10000"/>
                <a:gd name="connsiteX799" fmla="*/ 303 w 10000"/>
                <a:gd name="connsiteY799" fmla="*/ 9282 h 10000"/>
                <a:gd name="connsiteX800" fmla="*/ 351 w 10000"/>
                <a:gd name="connsiteY800" fmla="*/ 9315 h 10000"/>
                <a:gd name="connsiteX801" fmla="*/ 414 w 10000"/>
                <a:gd name="connsiteY801" fmla="*/ 9364 h 10000"/>
                <a:gd name="connsiteX802" fmla="*/ 480 w 10000"/>
                <a:gd name="connsiteY802" fmla="*/ 9416 h 10000"/>
                <a:gd name="connsiteX803" fmla="*/ 513 w 10000"/>
                <a:gd name="connsiteY803" fmla="*/ 9437 h 10000"/>
                <a:gd name="connsiteX804" fmla="*/ 548 w 10000"/>
                <a:gd name="connsiteY804" fmla="*/ 9462 h 10000"/>
                <a:gd name="connsiteX805" fmla="*/ 581 w 10000"/>
                <a:gd name="connsiteY805" fmla="*/ 9483 h 10000"/>
                <a:gd name="connsiteX806" fmla="*/ 614 w 10000"/>
                <a:gd name="connsiteY806" fmla="*/ 9502 h 10000"/>
                <a:gd name="connsiteX807" fmla="*/ 641 w 10000"/>
                <a:gd name="connsiteY807" fmla="*/ 9525 h 10000"/>
                <a:gd name="connsiteX808" fmla="*/ 672 w 10000"/>
                <a:gd name="connsiteY808" fmla="*/ 9549 h 10000"/>
                <a:gd name="connsiteX809" fmla="*/ 702 w 10000"/>
                <a:gd name="connsiteY809" fmla="*/ 9568 h 10000"/>
                <a:gd name="connsiteX810" fmla="*/ 737 w 10000"/>
                <a:gd name="connsiteY810" fmla="*/ 9589 h 10000"/>
                <a:gd name="connsiteX811" fmla="*/ 770 w 10000"/>
                <a:gd name="connsiteY811" fmla="*/ 9605 h 10000"/>
                <a:gd name="connsiteX812" fmla="*/ 808 w 10000"/>
                <a:gd name="connsiteY812" fmla="*/ 9617 h 10000"/>
                <a:gd name="connsiteX813" fmla="*/ 843 w 10000"/>
                <a:gd name="connsiteY813" fmla="*/ 9624 h 10000"/>
                <a:gd name="connsiteX814" fmla="*/ 884 w 10000"/>
                <a:gd name="connsiteY814" fmla="*/ 9628 h 10000"/>
                <a:gd name="connsiteX815" fmla="*/ 902 w 10000"/>
                <a:gd name="connsiteY815" fmla="*/ 9628 h 10000"/>
                <a:gd name="connsiteX816" fmla="*/ 914 w 10000"/>
                <a:gd name="connsiteY816" fmla="*/ 9631 h 10000"/>
                <a:gd name="connsiteX817" fmla="*/ 932 w 10000"/>
                <a:gd name="connsiteY817" fmla="*/ 9638 h 10000"/>
                <a:gd name="connsiteX818" fmla="*/ 942 w 10000"/>
                <a:gd name="connsiteY818" fmla="*/ 9642 h 10000"/>
                <a:gd name="connsiteX819" fmla="*/ 967 w 10000"/>
                <a:gd name="connsiteY819" fmla="*/ 9652 h 10000"/>
                <a:gd name="connsiteX820" fmla="*/ 987 w 10000"/>
                <a:gd name="connsiteY820" fmla="*/ 9668 h 10000"/>
                <a:gd name="connsiteX821" fmla="*/ 1005 w 10000"/>
                <a:gd name="connsiteY821" fmla="*/ 9682 h 10000"/>
                <a:gd name="connsiteX822" fmla="*/ 1025 w 10000"/>
                <a:gd name="connsiteY822" fmla="*/ 9698 h 10000"/>
                <a:gd name="connsiteX823" fmla="*/ 1045 w 10000"/>
                <a:gd name="connsiteY823" fmla="*/ 9712 h 10000"/>
                <a:gd name="connsiteX824" fmla="*/ 1073 w 10000"/>
                <a:gd name="connsiteY824" fmla="*/ 9724 h 10000"/>
                <a:gd name="connsiteX825" fmla="*/ 1098 w 10000"/>
                <a:gd name="connsiteY825" fmla="*/ 9738 h 10000"/>
                <a:gd name="connsiteX826" fmla="*/ 1121 w 10000"/>
                <a:gd name="connsiteY826" fmla="*/ 9750 h 10000"/>
                <a:gd name="connsiteX827" fmla="*/ 1141 w 10000"/>
                <a:gd name="connsiteY827" fmla="*/ 9762 h 10000"/>
                <a:gd name="connsiteX828" fmla="*/ 1159 w 10000"/>
                <a:gd name="connsiteY828" fmla="*/ 9776 h 10000"/>
                <a:gd name="connsiteX829" fmla="*/ 1172 w 10000"/>
                <a:gd name="connsiteY829" fmla="*/ 9787 h 10000"/>
                <a:gd name="connsiteX830" fmla="*/ 1182 w 10000"/>
                <a:gd name="connsiteY830" fmla="*/ 9804 h 10000"/>
                <a:gd name="connsiteX831" fmla="*/ 1194 w 10000"/>
                <a:gd name="connsiteY831" fmla="*/ 9818 h 10000"/>
                <a:gd name="connsiteX832" fmla="*/ 1202 w 10000"/>
                <a:gd name="connsiteY832" fmla="*/ 9834 h 10000"/>
                <a:gd name="connsiteX833" fmla="*/ 1212 w 10000"/>
                <a:gd name="connsiteY833" fmla="*/ 9869 h 10000"/>
                <a:gd name="connsiteX834" fmla="*/ 1220 w 10000"/>
                <a:gd name="connsiteY834" fmla="*/ 9906 h 10000"/>
                <a:gd name="connsiteX835" fmla="*/ 1230 w 10000"/>
                <a:gd name="connsiteY835" fmla="*/ 9951 h 10000"/>
                <a:gd name="connsiteX836" fmla="*/ 1237 w 10000"/>
                <a:gd name="connsiteY836" fmla="*/ 10000 h 10000"/>
                <a:gd name="connsiteX837" fmla="*/ 1237 w 10000"/>
                <a:gd name="connsiteY83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2470 w 10000"/>
                <a:gd name="connsiteY716" fmla="*/ 7473 h 10000"/>
                <a:gd name="connsiteX717" fmla="*/ 1990 w 10000"/>
                <a:gd name="connsiteY717" fmla="*/ 8422 h 10000"/>
                <a:gd name="connsiteX718" fmla="*/ 1904 w 10000"/>
                <a:gd name="connsiteY718" fmla="*/ 8481 h 10000"/>
                <a:gd name="connsiteX719" fmla="*/ 1856 w 10000"/>
                <a:gd name="connsiteY719" fmla="*/ 8506 h 10000"/>
                <a:gd name="connsiteX720" fmla="*/ 1816 w 10000"/>
                <a:gd name="connsiteY720" fmla="*/ 8527 h 10000"/>
                <a:gd name="connsiteX721" fmla="*/ 1793 w 10000"/>
                <a:gd name="connsiteY721" fmla="*/ 8539 h 10000"/>
                <a:gd name="connsiteX722" fmla="*/ 1775 w 10000"/>
                <a:gd name="connsiteY722" fmla="*/ 8546 h 10000"/>
                <a:gd name="connsiteX723" fmla="*/ 1758 w 10000"/>
                <a:gd name="connsiteY723" fmla="*/ 8548 h 10000"/>
                <a:gd name="connsiteX724" fmla="*/ 1742 w 10000"/>
                <a:gd name="connsiteY724" fmla="*/ 8551 h 10000"/>
                <a:gd name="connsiteX725" fmla="*/ 1727 w 10000"/>
                <a:gd name="connsiteY725" fmla="*/ 8537 h 10000"/>
                <a:gd name="connsiteX726" fmla="*/ 1717 w 10000"/>
                <a:gd name="connsiteY726" fmla="*/ 8518 h 10000"/>
                <a:gd name="connsiteX727" fmla="*/ 1684 w 10000"/>
                <a:gd name="connsiteY727" fmla="*/ 8429 h 10000"/>
                <a:gd name="connsiteX728" fmla="*/ 1525 w 10000"/>
                <a:gd name="connsiteY728" fmla="*/ 8186 h 10000"/>
                <a:gd name="connsiteX729" fmla="*/ 1500 w 10000"/>
                <a:gd name="connsiteY729" fmla="*/ 8191 h 10000"/>
                <a:gd name="connsiteX730" fmla="*/ 1472 w 10000"/>
                <a:gd name="connsiteY730" fmla="*/ 8198 h 10000"/>
                <a:gd name="connsiteX731" fmla="*/ 1434 w 10000"/>
                <a:gd name="connsiteY731" fmla="*/ 8223 h 10000"/>
                <a:gd name="connsiteX732" fmla="*/ 1149 w 10000"/>
                <a:gd name="connsiteY732" fmla="*/ 8256 h 10000"/>
                <a:gd name="connsiteX733" fmla="*/ 1139 w 10000"/>
                <a:gd name="connsiteY733" fmla="*/ 8249 h 10000"/>
                <a:gd name="connsiteX734" fmla="*/ 1126 w 10000"/>
                <a:gd name="connsiteY734" fmla="*/ 8240 h 10000"/>
                <a:gd name="connsiteX735" fmla="*/ 1114 w 10000"/>
                <a:gd name="connsiteY735" fmla="*/ 8240 h 10000"/>
                <a:gd name="connsiteX736" fmla="*/ 1091 w 10000"/>
                <a:gd name="connsiteY736" fmla="*/ 8242 h 10000"/>
                <a:gd name="connsiteX737" fmla="*/ 1071 w 10000"/>
                <a:gd name="connsiteY737" fmla="*/ 8252 h 10000"/>
                <a:gd name="connsiteX738" fmla="*/ 1048 w 10000"/>
                <a:gd name="connsiteY738" fmla="*/ 8261 h 10000"/>
                <a:gd name="connsiteX739" fmla="*/ 1030 w 10000"/>
                <a:gd name="connsiteY739" fmla="*/ 8273 h 10000"/>
                <a:gd name="connsiteX740" fmla="*/ 1010 w 10000"/>
                <a:gd name="connsiteY740" fmla="*/ 8287 h 10000"/>
                <a:gd name="connsiteX741" fmla="*/ 995 w 10000"/>
                <a:gd name="connsiteY741" fmla="*/ 8303 h 10000"/>
                <a:gd name="connsiteX742" fmla="*/ 975 w 10000"/>
                <a:gd name="connsiteY742" fmla="*/ 8322 h 10000"/>
                <a:gd name="connsiteX743" fmla="*/ 960 w 10000"/>
                <a:gd name="connsiteY743" fmla="*/ 8343 h 10000"/>
                <a:gd name="connsiteX744" fmla="*/ 927 w 10000"/>
                <a:gd name="connsiteY744" fmla="*/ 8380 h 10000"/>
                <a:gd name="connsiteX745" fmla="*/ 891 w 10000"/>
                <a:gd name="connsiteY745" fmla="*/ 8417 h 10000"/>
                <a:gd name="connsiteX746" fmla="*/ 874 w 10000"/>
                <a:gd name="connsiteY746" fmla="*/ 8436 h 10000"/>
                <a:gd name="connsiteX747" fmla="*/ 859 w 10000"/>
                <a:gd name="connsiteY747" fmla="*/ 8450 h 10000"/>
                <a:gd name="connsiteX748" fmla="*/ 838 w 10000"/>
                <a:gd name="connsiteY748" fmla="*/ 8462 h 10000"/>
                <a:gd name="connsiteX749" fmla="*/ 821 w 10000"/>
                <a:gd name="connsiteY749" fmla="*/ 8476 h 10000"/>
                <a:gd name="connsiteX750" fmla="*/ 742 w 10000"/>
                <a:gd name="connsiteY750" fmla="*/ 8562 h 10000"/>
                <a:gd name="connsiteX751" fmla="*/ 672 w 10000"/>
                <a:gd name="connsiteY751" fmla="*/ 8644 h 10000"/>
                <a:gd name="connsiteX752" fmla="*/ 639 w 10000"/>
                <a:gd name="connsiteY752" fmla="*/ 8684 h 10000"/>
                <a:gd name="connsiteX753" fmla="*/ 609 w 10000"/>
                <a:gd name="connsiteY753" fmla="*/ 8731 h 10000"/>
                <a:gd name="connsiteX754" fmla="*/ 583 w 10000"/>
                <a:gd name="connsiteY754" fmla="*/ 8777 h 10000"/>
                <a:gd name="connsiteX755" fmla="*/ 556 w 10000"/>
                <a:gd name="connsiteY755" fmla="*/ 8831 h 10000"/>
                <a:gd name="connsiteX756" fmla="*/ 545 w 10000"/>
                <a:gd name="connsiteY756" fmla="*/ 8852 h 10000"/>
                <a:gd name="connsiteX757" fmla="*/ 525 w 10000"/>
                <a:gd name="connsiteY757" fmla="*/ 8885 h 10000"/>
                <a:gd name="connsiteX758" fmla="*/ 503 w 10000"/>
                <a:gd name="connsiteY758" fmla="*/ 8925 h 10000"/>
                <a:gd name="connsiteX759" fmla="*/ 480 w 10000"/>
                <a:gd name="connsiteY759" fmla="*/ 8962 h 10000"/>
                <a:gd name="connsiteX760" fmla="*/ 465 w 10000"/>
                <a:gd name="connsiteY760" fmla="*/ 8981 h 10000"/>
                <a:gd name="connsiteX761" fmla="*/ 455 w 10000"/>
                <a:gd name="connsiteY761" fmla="*/ 8993 h 10000"/>
                <a:gd name="connsiteX762" fmla="*/ 444 w 10000"/>
                <a:gd name="connsiteY762" fmla="*/ 9000 h 10000"/>
                <a:gd name="connsiteX763" fmla="*/ 434 w 10000"/>
                <a:gd name="connsiteY763" fmla="*/ 9007 h 10000"/>
                <a:gd name="connsiteX764" fmla="*/ 432 w 10000"/>
                <a:gd name="connsiteY764" fmla="*/ 9007 h 10000"/>
                <a:gd name="connsiteX765" fmla="*/ 429 w 10000"/>
                <a:gd name="connsiteY765" fmla="*/ 9004 h 10000"/>
                <a:gd name="connsiteX766" fmla="*/ 427 w 10000"/>
                <a:gd name="connsiteY766" fmla="*/ 8997 h 10000"/>
                <a:gd name="connsiteX767" fmla="*/ 427 w 10000"/>
                <a:gd name="connsiteY767" fmla="*/ 8993 h 10000"/>
                <a:gd name="connsiteX768" fmla="*/ 424 w 10000"/>
                <a:gd name="connsiteY768" fmla="*/ 8976 h 10000"/>
                <a:gd name="connsiteX769" fmla="*/ 427 w 10000"/>
                <a:gd name="connsiteY769" fmla="*/ 8948 h 10000"/>
                <a:gd name="connsiteX770" fmla="*/ 437 w 10000"/>
                <a:gd name="connsiteY770" fmla="*/ 8913 h 10000"/>
                <a:gd name="connsiteX771" fmla="*/ 455 w 10000"/>
                <a:gd name="connsiteY771" fmla="*/ 8859 h 10000"/>
                <a:gd name="connsiteX772" fmla="*/ 462 w 10000"/>
                <a:gd name="connsiteY772" fmla="*/ 8834 h 10000"/>
                <a:gd name="connsiteX773" fmla="*/ 470 w 10000"/>
                <a:gd name="connsiteY773" fmla="*/ 8810 h 10000"/>
                <a:gd name="connsiteX774" fmla="*/ 472 w 10000"/>
                <a:gd name="connsiteY774" fmla="*/ 8794 h 10000"/>
                <a:gd name="connsiteX775" fmla="*/ 472 w 10000"/>
                <a:gd name="connsiteY775" fmla="*/ 8780 h 10000"/>
                <a:gd name="connsiteX776" fmla="*/ 462 w 10000"/>
                <a:gd name="connsiteY776" fmla="*/ 8784 h 10000"/>
                <a:gd name="connsiteX777" fmla="*/ 452 w 10000"/>
                <a:gd name="connsiteY777" fmla="*/ 8787 h 10000"/>
                <a:gd name="connsiteX778" fmla="*/ 437 w 10000"/>
                <a:gd name="connsiteY778" fmla="*/ 8794 h 10000"/>
                <a:gd name="connsiteX779" fmla="*/ 424 w 10000"/>
                <a:gd name="connsiteY779" fmla="*/ 8803 h 10000"/>
                <a:gd name="connsiteX780" fmla="*/ 394 w 10000"/>
                <a:gd name="connsiteY780" fmla="*/ 8829 h 10000"/>
                <a:gd name="connsiteX781" fmla="*/ 364 w 10000"/>
                <a:gd name="connsiteY781" fmla="*/ 8859 h 10000"/>
                <a:gd name="connsiteX782" fmla="*/ 311 w 10000"/>
                <a:gd name="connsiteY782" fmla="*/ 8922 h 10000"/>
                <a:gd name="connsiteX783" fmla="*/ 268 w 10000"/>
                <a:gd name="connsiteY783" fmla="*/ 8964 h 10000"/>
                <a:gd name="connsiteX784" fmla="*/ 205 w 10000"/>
                <a:gd name="connsiteY784" fmla="*/ 9016 h 10000"/>
                <a:gd name="connsiteX785" fmla="*/ 146 w 10000"/>
                <a:gd name="connsiteY785" fmla="*/ 9053 h 10000"/>
                <a:gd name="connsiteX786" fmla="*/ 139 w 10000"/>
                <a:gd name="connsiteY786" fmla="*/ 9063 h 10000"/>
                <a:gd name="connsiteX787" fmla="*/ 129 w 10000"/>
                <a:gd name="connsiteY787" fmla="*/ 9077 h 10000"/>
                <a:gd name="connsiteX788" fmla="*/ 126 w 10000"/>
                <a:gd name="connsiteY788" fmla="*/ 9086 h 10000"/>
                <a:gd name="connsiteX789" fmla="*/ 126 w 10000"/>
                <a:gd name="connsiteY789" fmla="*/ 9102 h 10000"/>
                <a:gd name="connsiteX790" fmla="*/ 129 w 10000"/>
                <a:gd name="connsiteY790" fmla="*/ 9116 h 10000"/>
                <a:gd name="connsiteX791" fmla="*/ 139 w 10000"/>
                <a:gd name="connsiteY791" fmla="*/ 9135 h 10000"/>
                <a:gd name="connsiteX792" fmla="*/ 149 w 10000"/>
                <a:gd name="connsiteY792" fmla="*/ 9151 h 10000"/>
                <a:gd name="connsiteX793" fmla="*/ 164 w 10000"/>
                <a:gd name="connsiteY793" fmla="*/ 9175 h 10000"/>
                <a:gd name="connsiteX794" fmla="*/ 184 w 10000"/>
                <a:gd name="connsiteY794" fmla="*/ 9196 h 10000"/>
                <a:gd name="connsiteX795" fmla="*/ 207 w 10000"/>
                <a:gd name="connsiteY795" fmla="*/ 9215 h 10000"/>
                <a:gd name="connsiteX796" fmla="*/ 227 w 10000"/>
                <a:gd name="connsiteY796" fmla="*/ 9233 h 10000"/>
                <a:gd name="connsiteX797" fmla="*/ 253 w 10000"/>
                <a:gd name="connsiteY797" fmla="*/ 9250 h 10000"/>
                <a:gd name="connsiteX798" fmla="*/ 303 w 10000"/>
                <a:gd name="connsiteY798" fmla="*/ 9282 h 10000"/>
                <a:gd name="connsiteX799" fmla="*/ 351 w 10000"/>
                <a:gd name="connsiteY799" fmla="*/ 9315 h 10000"/>
                <a:gd name="connsiteX800" fmla="*/ 414 w 10000"/>
                <a:gd name="connsiteY800" fmla="*/ 9364 h 10000"/>
                <a:gd name="connsiteX801" fmla="*/ 480 w 10000"/>
                <a:gd name="connsiteY801" fmla="*/ 9416 h 10000"/>
                <a:gd name="connsiteX802" fmla="*/ 513 w 10000"/>
                <a:gd name="connsiteY802" fmla="*/ 9437 h 10000"/>
                <a:gd name="connsiteX803" fmla="*/ 548 w 10000"/>
                <a:gd name="connsiteY803" fmla="*/ 9462 h 10000"/>
                <a:gd name="connsiteX804" fmla="*/ 581 w 10000"/>
                <a:gd name="connsiteY804" fmla="*/ 9483 h 10000"/>
                <a:gd name="connsiteX805" fmla="*/ 614 w 10000"/>
                <a:gd name="connsiteY805" fmla="*/ 9502 h 10000"/>
                <a:gd name="connsiteX806" fmla="*/ 641 w 10000"/>
                <a:gd name="connsiteY806" fmla="*/ 9525 h 10000"/>
                <a:gd name="connsiteX807" fmla="*/ 672 w 10000"/>
                <a:gd name="connsiteY807" fmla="*/ 9549 h 10000"/>
                <a:gd name="connsiteX808" fmla="*/ 702 w 10000"/>
                <a:gd name="connsiteY808" fmla="*/ 9568 h 10000"/>
                <a:gd name="connsiteX809" fmla="*/ 737 w 10000"/>
                <a:gd name="connsiteY809" fmla="*/ 9589 h 10000"/>
                <a:gd name="connsiteX810" fmla="*/ 770 w 10000"/>
                <a:gd name="connsiteY810" fmla="*/ 9605 h 10000"/>
                <a:gd name="connsiteX811" fmla="*/ 808 w 10000"/>
                <a:gd name="connsiteY811" fmla="*/ 9617 h 10000"/>
                <a:gd name="connsiteX812" fmla="*/ 843 w 10000"/>
                <a:gd name="connsiteY812" fmla="*/ 9624 h 10000"/>
                <a:gd name="connsiteX813" fmla="*/ 884 w 10000"/>
                <a:gd name="connsiteY813" fmla="*/ 9628 h 10000"/>
                <a:gd name="connsiteX814" fmla="*/ 902 w 10000"/>
                <a:gd name="connsiteY814" fmla="*/ 9628 h 10000"/>
                <a:gd name="connsiteX815" fmla="*/ 914 w 10000"/>
                <a:gd name="connsiteY815" fmla="*/ 9631 h 10000"/>
                <a:gd name="connsiteX816" fmla="*/ 932 w 10000"/>
                <a:gd name="connsiteY816" fmla="*/ 9638 h 10000"/>
                <a:gd name="connsiteX817" fmla="*/ 942 w 10000"/>
                <a:gd name="connsiteY817" fmla="*/ 9642 h 10000"/>
                <a:gd name="connsiteX818" fmla="*/ 967 w 10000"/>
                <a:gd name="connsiteY818" fmla="*/ 9652 h 10000"/>
                <a:gd name="connsiteX819" fmla="*/ 987 w 10000"/>
                <a:gd name="connsiteY819" fmla="*/ 9668 h 10000"/>
                <a:gd name="connsiteX820" fmla="*/ 1005 w 10000"/>
                <a:gd name="connsiteY820" fmla="*/ 9682 h 10000"/>
                <a:gd name="connsiteX821" fmla="*/ 1025 w 10000"/>
                <a:gd name="connsiteY821" fmla="*/ 9698 h 10000"/>
                <a:gd name="connsiteX822" fmla="*/ 1045 w 10000"/>
                <a:gd name="connsiteY822" fmla="*/ 9712 h 10000"/>
                <a:gd name="connsiteX823" fmla="*/ 1073 w 10000"/>
                <a:gd name="connsiteY823" fmla="*/ 9724 h 10000"/>
                <a:gd name="connsiteX824" fmla="*/ 1098 w 10000"/>
                <a:gd name="connsiteY824" fmla="*/ 9738 h 10000"/>
                <a:gd name="connsiteX825" fmla="*/ 1121 w 10000"/>
                <a:gd name="connsiteY825" fmla="*/ 9750 h 10000"/>
                <a:gd name="connsiteX826" fmla="*/ 1141 w 10000"/>
                <a:gd name="connsiteY826" fmla="*/ 9762 h 10000"/>
                <a:gd name="connsiteX827" fmla="*/ 1159 w 10000"/>
                <a:gd name="connsiteY827" fmla="*/ 9776 h 10000"/>
                <a:gd name="connsiteX828" fmla="*/ 1172 w 10000"/>
                <a:gd name="connsiteY828" fmla="*/ 9787 h 10000"/>
                <a:gd name="connsiteX829" fmla="*/ 1182 w 10000"/>
                <a:gd name="connsiteY829" fmla="*/ 9804 h 10000"/>
                <a:gd name="connsiteX830" fmla="*/ 1194 w 10000"/>
                <a:gd name="connsiteY830" fmla="*/ 9818 h 10000"/>
                <a:gd name="connsiteX831" fmla="*/ 1202 w 10000"/>
                <a:gd name="connsiteY831" fmla="*/ 9834 h 10000"/>
                <a:gd name="connsiteX832" fmla="*/ 1212 w 10000"/>
                <a:gd name="connsiteY832" fmla="*/ 9869 h 10000"/>
                <a:gd name="connsiteX833" fmla="*/ 1220 w 10000"/>
                <a:gd name="connsiteY833" fmla="*/ 9906 h 10000"/>
                <a:gd name="connsiteX834" fmla="*/ 1230 w 10000"/>
                <a:gd name="connsiteY834" fmla="*/ 9951 h 10000"/>
                <a:gd name="connsiteX835" fmla="*/ 1237 w 10000"/>
                <a:gd name="connsiteY835" fmla="*/ 10000 h 10000"/>
                <a:gd name="connsiteX836" fmla="*/ 1237 w 10000"/>
                <a:gd name="connsiteY83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2460 w 10000"/>
                <a:gd name="connsiteY715" fmla="*/ 7466 h 10000"/>
                <a:gd name="connsiteX716" fmla="*/ 1990 w 10000"/>
                <a:gd name="connsiteY716" fmla="*/ 8422 h 10000"/>
                <a:gd name="connsiteX717" fmla="*/ 1904 w 10000"/>
                <a:gd name="connsiteY717" fmla="*/ 8481 h 10000"/>
                <a:gd name="connsiteX718" fmla="*/ 1856 w 10000"/>
                <a:gd name="connsiteY718" fmla="*/ 8506 h 10000"/>
                <a:gd name="connsiteX719" fmla="*/ 1816 w 10000"/>
                <a:gd name="connsiteY719" fmla="*/ 8527 h 10000"/>
                <a:gd name="connsiteX720" fmla="*/ 1793 w 10000"/>
                <a:gd name="connsiteY720" fmla="*/ 8539 h 10000"/>
                <a:gd name="connsiteX721" fmla="*/ 1775 w 10000"/>
                <a:gd name="connsiteY721" fmla="*/ 8546 h 10000"/>
                <a:gd name="connsiteX722" fmla="*/ 1758 w 10000"/>
                <a:gd name="connsiteY722" fmla="*/ 8548 h 10000"/>
                <a:gd name="connsiteX723" fmla="*/ 1742 w 10000"/>
                <a:gd name="connsiteY723" fmla="*/ 8551 h 10000"/>
                <a:gd name="connsiteX724" fmla="*/ 1727 w 10000"/>
                <a:gd name="connsiteY724" fmla="*/ 8537 h 10000"/>
                <a:gd name="connsiteX725" fmla="*/ 1717 w 10000"/>
                <a:gd name="connsiteY725" fmla="*/ 8518 h 10000"/>
                <a:gd name="connsiteX726" fmla="*/ 1684 w 10000"/>
                <a:gd name="connsiteY726" fmla="*/ 8429 h 10000"/>
                <a:gd name="connsiteX727" fmla="*/ 1525 w 10000"/>
                <a:gd name="connsiteY727" fmla="*/ 8186 h 10000"/>
                <a:gd name="connsiteX728" fmla="*/ 1500 w 10000"/>
                <a:gd name="connsiteY728" fmla="*/ 8191 h 10000"/>
                <a:gd name="connsiteX729" fmla="*/ 1472 w 10000"/>
                <a:gd name="connsiteY729" fmla="*/ 8198 h 10000"/>
                <a:gd name="connsiteX730" fmla="*/ 1434 w 10000"/>
                <a:gd name="connsiteY730" fmla="*/ 8223 h 10000"/>
                <a:gd name="connsiteX731" fmla="*/ 1149 w 10000"/>
                <a:gd name="connsiteY731" fmla="*/ 8256 h 10000"/>
                <a:gd name="connsiteX732" fmla="*/ 1139 w 10000"/>
                <a:gd name="connsiteY732" fmla="*/ 8249 h 10000"/>
                <a:gd name="connsiteX733" fmla="*/ 1126 w 10000"/>
                <a:gd name="connsiteY733" fmla="*/ 8240 h 10000"/>
                <a:gd name="connsiteX734" fmla="*/ 1114 w 10000"/>
                <a:gd name="connsiteY734" fmla="*/ 8240 h 10000"/>
                <a:gd name="connsiteX735" fmla="*/ 1091 w 10000"/>
                <a:gd name="connsiteY735" fmla="*/ 8242 h 10000"/>
                <a:gd name="connsiteX736" fmla="*/ 1071 w 10000"/>
                <a:gd name="connsiteY736" fmla="*/ 8252 h 10000"/>
                <a:gd name="connsiteX737" fmla="*/ 1048 w 10000"/>
                <a:gd name="connsiteY737" fmla="*/ 8261 h 10000"/>
                <a:gd name="connsiteX738" fmla="*/ 1030 w 10000"/>
                <a:gd name="connsiteY738" fmla="*/ 8273 h 10000"/>
                <a:gd name="connsiteX739" fmla="*/ 1010 w 10000"/>
                <a:gd name="connsiteY739" fmla="*/ 8287 h 10000"/>
                <a:gd name="connsiteX740" fmla="*/ 995 w 10000"/>
                <a:gd name="connsiteY740" fmla="*/ 8303 h 10000"/>
                <a:gd name="connsiteX741" fmla="*/ 975 w 10000"/>
                <a:gd name="connsiteY741" fmla="*/ 8322 h 10000"/>
                <a:gd name="connsiteX742" fmla="*/ 960 w 10000"/>
                <a:gd name="connsiteY742" fmla="*/ 8343 h 10000"/>
                <a:gd name="connsiteX743" fmla="*/ 927 w 10000"/>
                <a:gd name="connsiteY743" fmla="*/ 8380 h 10000"/>
                <a:gd name="connsiteX744" fmla="*/ 891 w 10000"/>
                <a:gd name="connsiteY744" fmla="*/ 8417 h 10000"/>
                <a:gd name="connsiteX745" fmla="*/ 874 w 10000"/>
                <a:gd name="connsiteY745" fmla="*/ 8436 h 10000"/>
                <a:gd name="connsiteX746" fmla="*/ 859 w 10000"/>
                <a:gd name="connsiteY746" fmla="*/ 8450 h 10000"/>
                <a:gd name="connsiteX747" fmla="*/ 838 w 10000"/>
                <a:gd name="connsiteY747" fmla="*/ 8462 h 10000"/>
                <a:gd name="connsiteX748" fmla="*/ 821 w 10000"/>
                <a:gd name="connsiteY748" fmla="*/ 8476 h 10000"/>
                <a:gd name="connsiteX749" fmla="*/ 742 w 10000"/>
                <a:gd name="connsiteY749" fmla="*/ 8562 h 10000"/>
                <a:gd name="connsiteX750" fmla="*/ 672 w 10000"/>
                <a:gd name="connsiteY750" fmla="*/ 8644 h 10000"/>
                <a:gd name="connsiteX751" fmla="*/ 639 w 10000"/>
                <a:gd name="connsiteY751" fmla="*/ 8684 h 10000"/>
                <a:gd name="connsiteX752" fmla="*/ 609 w 10000"/>
                <a:gd name="connsiteY752" fmla="*/ 8731 h 10000"/>
                <a:gd name="connsiteX753" fmla="*/ 583 w 10000"/>
                <a:gd name="connsiteY753" fmla="*/ 8777 h 10000"/>
                <a:gd name="connsiteX754" fmla="*/ 556 w 10000"/>
                <a:gd name="connsiteY754" fmla="*/ 8831 h 10000"/>
                <a:gd name="connsiteX755" fmla="*/ 545 w 10000"/>
                <a:gd name="connsiteY755" fmla="*/ 8852 h 10000"/>
                <a:gd name="connsiteX756" fmla="*/ 525 w 10000"/>
                <a:gd name="connsiteY756" fmla="*/ 8885 h 10000"/>
                <a:gd name="connsiteX757" fmla="*/ 503 w 10000"/>
                <a:gd name="connsiteY757" fmla="*/ 8925 h 10000"/>
                <a:gd name="connsiteX758" fmla="*/ 480 w 10000"/>
                <a:gd name="connsiteY758" fmla="*/ 8962 h 10000"/>
                <a:gd name="connsiteX759" fmla="*/ 465 w 10000"/>
                <a:gd name="connsiteY759" fmla="*/ 8981 h 10000"/>
                <a:gd name="connsiteX760" fmla="*/ 455 w 10000"/>
                <a:gd name="connsiteY760" fmla="*/ 8993 h 10000"/>
                <a:gd name="connsiteX761" fmla="*/ 444 w 10000"/>
                <a:gd name="connsiteY761" fmla="*/ 9000 h 10000"/>
                <a:gd name="connsiteX762" fmla="*/ 434 w 10000"/>
                <a:gd name="connsiteY762" fmla="*/ 9007 h 10000"/>
                <a:gd name="connsiteX763" fmla="*/ 432 w 10000"/>
                <a:gd name="connsiteY763" fmla="*/ 9007 h 10000"/>
                <a:gd name="connsiteX764" fmla="*/ 429 w 10000"/>
                <a:gd name="connsiteY764" fmla="*/ 9004 h 10000"/>
                <a:gd name="connsiteX765" fmla="*/ 427 w 10000"/>
                <a:gd name="connsiteY765" fmla="*/ 8997 h 10000"/>
                <a:gd name="connsiteX766" fmla="*/ 427 w 10000"/>
                <a:gd name="connsiteY766" fmla="*/ 8993 h 10000"/>
                <a:gd name="connsiteX767" fmla="*/ 424 w 10000"/>
                <a:gd name="connsiteY767" fmla="*/ 8976 h 10000"/>
                <a:gd name="connsiteX768" fmla="*/ 427 w 10000"/>
                <a:gd name="connsiteY768" fmla="*/ 8948 h 10000"/>
                <a:gd name="connsiteX769" fmla="*/ 437 w 10000"/>
                <a:gd name="connsiteY769" fmla="*/ 8913 h 10000"/>
                <a:gd name="connsiteX770" fmla="*/ 455 w 10000"/>
                <a:gd name="connsiteY770" fmla="*/ 8859 h 10000"/>
                <a:gd name="connsiteX771" fmla="*/ 462 w 10000"/>
                <a:gd name="connsiteY771" fmla="*/ 8834 h 10000"/>
                <a:gd name="connsiteX772" fmla="*/ 470 w 10000"/>
                <a:gd name="connsiteY772" fmla="*/ 8810 h 10000"/>
                <a:gd name="connsiteX773" fmla="*/ 472 w 10000"/>
                <a:gd name="connsiteY773" fmla="*/ 8794 h 10000"/>
                <a:gd name="connsiteX774" fmla="*/ 472 w 10000"/>
                <a:gd name="connsiteY774" fmla="*/ 8780 h 10000"/>
                <a:gd name="connsiteX775" fmla="*/ 462 w 10000"/>
                <a:gd name="connsiteY775" fmla="*/ 8784 h 10000"/>
                <a:gd name="connsiteX776" fmla="*/ 452 w 10000"/>
                <a:gd name="connsiteY776" fmla="*/ 8787 h 10000"/>
                <a:gd name="connsiteX777" fmla="*/ 437 w 10000"/>
                <a:gd name="connsiteY777" fmla="*/ 8794 h 10000"/>
                <a:gd name="connsiteX778" fmla="*/ 424 w 10000"/>
                <a:gd name="connsiteY778" fmla="*/ 8803 h 10000"/>
                <a:gd name="connsiteX779" fmla="*/ 394 w 10000"/>
                <a:gd name="connsiteY779" fmla="*/ 8829 h 10000"/>
                <a:gd name="connsiteX780" fmla="*/ 364 w 10000"/>
                <a:gd name="connsiteY780" fmla="*/ 8859 h 10000"/>
                <a:gd name="connsiteX781" fmla="*/ 311 w 10000"/>
                <a:gd name="connsiteY781" fmla="*/ 8922 h 10000"/>
                <a:gd name="connsiteX782" fmla="*/ 268 w 10000"/>
                <a:gd name="connsiteY782" fmla="*/ 8964 h 10000"/>
                <a:gd name="connsiteX783" fmla="*/ 205 w 10000"/>
                <a:gd name="connsiteY783" fmla="*/ 9016 h 10000"/>
                <a:gd name="connsiteX784" fmla="*/ 146 w 10000"/>
                <a:gd name="connsiteY784" fmla="*/ 9053 h 10000"/>
                <a:gd name="connsiteX785" fmla="*/ 139 w 10000"/>
                <a:gd name="connsiteY785" fmla="*/ 9063 h 10000"/>
                <a:gd name="connsiteX786" fmla="*/ 129 w 10000"/>
                <a:gd name="connsiteY786" fmla="*/ 9077 h 10000"/>
                <a:gd name="connsiteX787" fmla="*/ 126 w 10000"/>
                <a:gd name="connsiteY787" fmla="*/ 9086 h 10000"/>
                <a:gd name="connsiteX788" fmla="*/ 126 w 10000"/>
                <a:gd name="connsiteY788" fmla="*/ 9102 h 10000"/>
                <a:gd name="connsiteX789" fmla="*/ 129 w 10000"/>
                <a:gd name="connsiteY789" fmla="*/ 9116 h 10000"/>
                <a:gd name="connsiteX790" fmla="*/ 139 w 10000"/>
                <a:gd name="connsiteY790" fmla="*/ 9135 h 10000"/>
                <a:gd name="connsiteX791" fmla="*/ 149 w 10000"/>
                <a:gd name="connsiteY791" fmla="*/ 9151 h 10000"/>
                <a:gd name="connsiteX792" fmla="*/ 164 w 10000"/>
                <a:gd name="connsiteY792" fmla="*/ 9175 h 10000"/>
                <a:gd name="connsiteX793" fmla="*/ 184 w 10000"/>
                <a:gd name="connsiteY793" fmla="*/ 9196 h 10000"/>
                <a:gd name="connsiteX794" fmla="*/ 207 w 10000"/>
                <a:gd name="connsiteY794" fmla="*/ 9215 h 10000"/>
                <a:gd name="connsiteX795" fmla="*/ 227 w 10000"/>
                <a:gd name="connsiteY795" fmla="*/ 9233 h 10000"/>
                <a:gd name="connsiteX796" fmla="*/ 253 w 10000"/>
                <a:gd name="connsiteY796" fmla="*/ 9250 h 10000"/>
                <a:gd name="connsiteX797" fmla="*/ 303 w 10000"/>
                <a:gd name="connsiteY797" fmla="*/ 9282 h 10000"/>
                <a:gd name="connsiteX798" fmla="*/ 351 w 10000"/>
                <a:gd name="connsiteY798" fmla="*/ 9315 h 10000"/>
                <a:gd name="connsiteX799" fmla="*/ 414 w 10000"/>
                <a:gd name="connsiteY799" fmla="*/ 9364 h 10000"/>
                <a:gd name="connsiteX800" fmla="*/ 480 w 10000"/>
                <a:gd name="connsiteY800" fmla="*/ 9416 h 10000"/>
                <a:gd name="connsiteX801" fmla="*/ 513 w 10000"/>
                <a:gd name="connsiteY801" fmla="*/ 9437 h 10000"/>
                <a:gd name="connsiteX802" fmla="*/ 548 w 10000"/>
                <a:gd name="connsiteY802" fmla="*/ 9462 h 10000"/>
                <a:gd name="connsiteX803" fmla="*/ 581 w 10000"/>
                <a:gd name="connsiteY803" fmla="*/ 9483 h 10000"/>
                <a:gd name="connsiteX804" fmla="*/ 614 w 10000"/>
                <a:gd name="connsiteY804" fmla="*/ 9502 h 10000"/>
                <a:gd name="connsiteX805" fmla="*/ 641 w 10000"/>
                <a:gd name="connsiteY805" fmla="*/ 9525 h 10000"/>
                <a:gd name="connsiteX806" fmla="*/ 672 w 10000"/>
                <a:gd name="connsiteY806" fmla="*/ 9549 h 10000"/>
                <a:gd name="connsiteX807" fmla="*/ 702 w 10000"/>
                <a:gd name="connsiteY807" fmla="*/ 9568 h 10000"/>
                <a:gd name="connsiteX808" fmla="*/ 737 w 10000"/>
                <a:gd name="connsiteY808" fmla="*/ 9589 h 10000"/>
                <a:gd name="connsiteX809" fmla="*/ 770 w 10000"/>
                <a:gd name="connsiteY809" fmla="*/ 9605 h 10000"/>
                <a:gd name="connsiteX810" fmla="*/ 808 w 10000"/>
                <a:gd name="connsiteY810" fmla="*/ 9617 h 10000"/>
                <a:gd name="connsiteX811" fmla="*/ 843 w 10000"/>
                <a:gd name="connsiteY811" fmla="*/ 9624 h 10000"/>
                <a:gd name="connsiteX812" fmla="*/ 884 w 10000"/>
                <a:gd name="connsiteY812" fmla="*/ 9628 h 10000"/>
                <a:gd name="connsiteX813" fmla="*/ 902 w 10000"/>
                <a:gd name="connsiteY813" fmla="*/ 9628 h 10000"/>
                <a:gd name="connsiteX814" fmla="*/ 914 w 10000"/>
                <a:gd name="connsiteY814" fmla="*/ 9631 h 10000"/>
                <a:gd name="connsiteX815" fmla="*/ 932 w 10000"/>
                <a:gd name="connsiteY815" fmla="*/ 9638 h 10000"/>
                <a:gd name="connsiteX816" fmla="*/ 942 w 10000"/>
                <a:gd name="connsiteY816" fmla="*/ 9642 h 10000"/>
                <a:gd name="connsiteX817" fmla="*/ 967 w 10000"/>
                <a:gd name="connsiteY817" fmla="*/ 9652 h 10000"/>
                <a:gd name="connsiteX818" fmla="*/ 987 w 10000"/>
                <a:gd name="connsiteY818" fmla="*/ 9668 h 10000"/>
                <a:gd name="connsiteX819" fmla="*/ 1005 w 10000"/>
                <a:gd name="connsiteY819" fmla="*/ 9682 h 10000"/>
                <a:gd name="connsiteX820" fmla="*/ 1025 w 10000"/>
                <a:gd name="connsiteY820" fmla="*/ 9698 h 10000"/>
                <a:gd name="connsiteX821" fmla="*/ 1045 w 10000"/>
                <a:gd name="connsiteY821" fmla="*/ 9712 h 10000"/>
                <a:gd name="connsiteX822" fmla="*/ 1073 w 10000"/>
                <a:gd name="connsiteY822" fmla="*/ 9724 h 10000"/>
                <a:gd name="connsiteX823" fmla="*/ 1098 w 10000"/>
                <a:gd name="connsiteY823" fmla="*/ 9738 h 10000"/>
                <a:gd name="connsiteX824" fmla="*/ 1121 w 10000"/>
                <a:gd name="connsiteY824" fmla="*/ 9750 h 10000"/>
                <a:gd name="connsiteX825" fmla="*/ 1141 w 10000"/>
                <a:gd name="connsiteY825" fmla="*/ 9762 h 10000"/>
                <a:gd name="connsiteX826" fmla="*/ 1159 w 10000"/>
                <a:gd name="connsiteY826" fmla="*/ 9776 h 10000"/>
                <a:gd name="connsiteX827" fmla="*/ 1172 w 10000"/>
                <a:gd name="connsiteY827" fmla="*/ 9787 h 10000"/>
                <a:gd name="connsiteX828" fmla="*/ 1182 w 10000"/>
                <a:gd name="connsiteY828" fmla="*/ 9804 h 10000"/>
                <a:gd name="connsiteX829" fmla="*/ 1194 w 10000"/>
                <a:gd name="connsiteY829" fmla="*/ 9818 h 10000"/>
                <a:gd name="connsiteX830" fmla="*/ 1202 w 10000"/>
                <a:gd name="connsiteY830" fmla="*/ 9834 h 10000"/>
                <a:gd name="connsiteX831" fmla="*/ 1212 w 10000"/>
                <a:gd name="connsiteY831" fmla="*/ 9869 h 10000"/>
                <a:gd name="connsiteX832" fmla="*/ 1220 w 10000"/>
                <a:gd name="connsiteY832" fmla="*/ 9906 h 10000"/>
                <a:gd name="connsiteX833" fmla="*/ 1230 w 10000"/>
                <a:gd name="connsiteY833" fmla="*/ 9951 h 10000"/>
                <a:gd name="connsiteX834" fmla="*/ 1237 w 10000"/>
                <a:gd name="connsiteY834" fmla="*/ 10000 h 10000"/>
                <a:gd name="connsiteX835" fmla="*/ 1237 w 10000"/>
                <a:gd name="connsiteY83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2452 w 10000"/>
                <a:gd name="connsiteY714" fmla="*/ 7459 h 10000"/>
                <a:gd name="connsiteX715" fmla="*/ 1990 w 10000"/>
                <a:gd name="connsiteY715" fmla="*/ 8422 h 10000"/>
                <a:gd name="connsiteX716" fmla="*/ 1904 w 10000"/>
                <a:gd name="connsiteY716" fmla="*/ 8481 h 10000"/>
                <a:gd name="connsiteX717" fmla="*/ 1856 w 10000"/>
                <a:gd name="connsiteY717" fmla="*/ 8506 h 10000"/>
                <a:gd name="connsiteX718" fmla="*/ 1816 w 10000"/>
                <a:gd name="connsiteY718" fmla="*/ 8527 h 10000"/>
                <a:gd name="connsiteX719" fmla="*/ 1793 w 10000"/>
                <a:gd name="connsiteY719" fmla="*/ 8539 h 10000"/>
                <a:gd name="connsiteX720" fmla="*/ 1775 w 10000"/>
                <a:gd name="connsiteY720" fmla="*/ 8546 h 10000"/>
                <a:gd name="connsiteX721" fmla="*/ 1758 w 10000"/>
                <a:gd name="connsiteY721" fmla="*/ 8548 h 10000"/>
                <a:gd name="connsiteX722" fmla="*/ 1742 w 10000"/>
                <a:gd name="connsiteY722" fmla="*/ 8551 h 10000"/>
                <a:gd name="connsiteX723" fmla="*/ 1727 w 10000"/>
                <a:gd name="connsiteY723" fmla="*/ 8537 h 10000"/>
                <a:gd name="connsiteX724" fmla="*/ 1717 w 10000"/>
                <a:gd name="connsiteY724" fmla="*/ 8518 h 10000"/>
                <a:gd name="connsiteX725" fmla="*/ 1684 w 10000"/>
                <a:gd name="connsiteY725" fmla="*/ 8429 h 10000"/>
                <a:gd name="connsiteX726" fmla="*/ 1525 w 10000"/>
                <a:gd name="connsiteY726" fmla="*/ 8186 h 10000"/>
                <a:gd name="connsiteX727" fmla="*/ 1500 w 10000"/>
                <a:gd name="connsiteY727" fmla="*/ 8191 h 10000"/>
                <a:gd name="connsiteX728" fmla="*/ 1472 w 10000"/>
                <a:gd name="connsiteY728" fmla="*/ 8198 h 10000"/>
                <a:gd name="connsiteX729" fmla="*/ 1434 w 10000"/>
                <a:gd name="connsiteY729" fmla="*/ 8223 h 10000"/>
                <a:gd name="connsiteX730" fmla="*/ 1149 w 10000"/>
                <a:gd name="connsiteY730" fmla="*/ 8256 h 10000"/>
                <a:gd name="connsiteX731" fmla="*/ 1139 w 10000"/>
                <a:gd name="connsiteY731" fmla="*/ 8249 h 10000"/>
                <a:gd name="connsiteX732" fmla="*/ 1126 w 10000"/>
                <a:gd name="connsiteY732" fmla="*/ 8240 h 10000"/>
                <a:gd name="connsiteX733" fmla="*/ 1114 w 10000"/>
                <a:gd name="connsiteY733" fmla="*/ 8240 h 10000"/>
                <a:gd name="connsiteX734" fmla="*/ 1091 w 10000"/>
                <a:gd name="connsiteY734" fmla="*/ 8242 h 10000"/>
                <a:gd name="connsiteX735" fmla="*/ 1071 w 10000"/>
                <a:gd name="connsiteY735" fmla="*/ 8252 h 10000"/>
                <a:gd name="connsiteX736" fmla="*/ 1048 w 10000"/>
                <a:gd name="connsiteY736" fmla="*/ 8261 h 10000"/>
                <a:gd name="connsiteX737" fmla="*/ 1030 w 10000"/>
                <a:gd name="connsiteY737" fmla="*/ 8273 h 10000"/>
                <a:gd name="connsiteX738" fmla="*/ 1010 w 10000"/>
                <a:gd name="connsiteY738" fmla="*/ 8287 h 10000"/>
                <a:gd name="connsiteX739" fmla="*/ 995 w 10000"/>
                <a:gd name="connsiteY739" fmla="*/ 8303 h 10000"/>
                <a:gd name="connsiteX740" fmla="*/ 975 w 10000"/>
                <a:gd name="connsiteY740" fmla="*/ 8322 h 10000"/>
                <a:gd name="connsiteX741" fmla="*/ 960 w 10000"/>
                <a:gd name="connsiteY741" fmla="*/ 8343 h 10000"/>
                <a:gd name="connsiteX742" fmla="*/ 927 w 10000"/>
                <a:gd name="connsiteY742" fmla="*/ 8380 h 10000"/>
                <a:gd name="connsiteX743" fmla="*/ 891 w 10000"/>
                <a:gd name="connsiteY743" fmla="*/ 8417 h 10000"/>
                <a:gd name="connsiteX744" fmla="*/ 874 w 10000"/>
                <a:gd name="connsiteY744" fmla="*/ 8436 h 10000"/>
                <a:gd name="connsiteX745" fmla="*/ 859 w 10000"/>
                <a:gd name="connsiteY745" fmla="*/ 8450 h 10000"/>
                <a:gd name="connsiteX746" fmla="*/ 838 w 10000"/>
                <a:gd name="connsiteY746" fmla="*/ 8462 h 10000"/>
                <a:gd name="connsiteX747" fmla="*/ 821 w 10000"/>
                <a:gd name="connsiteY747" fmla="*/ 8476 h 10000"/>
                <a:gd name="connsiteX748" fmla="*/ 742 w 10000"/>
                <a:gd name="connsiteY748" fmla="*/ 8562 h 10000"/>
                <a:gd name="connsiteX749" fmla="*/ 672 w 10000"/>
                <a:gd name="connsiteY749" fmla="*/ 8644 h 10000"/>
                <a:gd name="connsiteX750" fmla="*/ 639 w 10000"/>
                <a:gd name="connsiteY750" fmla="*/ 8684 h 10000"/>
                <a:gd name="connsiteX751" fmla="*/ 609 w 10000"/>
                <a:gd name="connsiteY751" fmla="*/ 8731 h 10000"/>
                <a:gd name="connsiteX752" fmla="*/ 583 w 10000"/>
                <a:gd name="connsiteY752" fmla="*/ 8777 h 10000"/>
                <a:gd name="connsiteX753" fmla="*/ 556 w 10000"/>
                <a:gd name="connsiteY753" fmla="*/ 8831 h 10000"/>
                <a:gd name="connsiteX754" fmla="*/ 545 w 10000"/>
                <a:gd name="connsiteY754" fmla="*/ 8852 h 10000"/>
                <a:gd name="connsiteX755" fmla="*/ 525 w 10000"/>
                <a:gd name="connsiteY755" fmla="*/ 8885 h 10000"/>
                <a:gd name="connsiteX756" fmla="*/ 503 w 10000"/>
                <a:gd name="connsiteY756" fmla="*/ 8925 h 10000"/>
                <a:gd name="connsiteX757" fmla="*/ 480 w 10000"/>
                <a:gd name="connsiteY757" fmla="*/ 8962 h 10000"/>
                <a:gd name="connsiteX758" fmla="*/ 465 w 10000"/>
                <a:gd name="connsiteY758" fmla="*/ 8981 h 10000"/>
                <a:gd name="connsiteX759" fmla="*/ 455 w 10000"/>
                <a:gd name="connsiteY759" fmla="*/ 8993 h 10000"/>
                <a:gd name="connsiteX760" fmla="*/ 444 w 10000"/>
                <a:gd name="connsiteY760" fmla="*/ 9000 h 10000"/>
                <a:gd name="connsiteX761" fmla="*/ 434 w 10000"/>
                <a:gd name="connsiteY761" fmla="*/ 9007 h 10000"/>
                <a:gd name="connsiteX762" fmla="*/ 432 w 10000"/>
                <a:gd name="connsiteY762" fmla="*/ 9007 h 10000"/>
                <a:gd name="connsiteX763" fmla="*/ 429 w 10000"/>
                <a:gd name="connsiteY763" fmla="*/ 9004 h 10000"/>
                <a:gd name="connsiteX764" fmla="*/ 427 w 10000"/>
                <a:gd name="connsiteY764" fmla="*/ 8997 h 10000"/>
                <a:gd name="connsiteX765" fmla="*/ 427 w 10000"/>
                <a:gd name="connsiteY765" fmla="*/ 8993 h 10000"/>
                <a:gd name="connsiteX766" fmla="*/ 424 w 10000"/>
                <a:gd name="connsiteY766" fmla="*/ 8976 h 10000"/>
                <a:gd name="connsiteX767" fmla="*/ 427 w 10000"/>
                <a:gd name="connsiteY767" fmla="*/ 8948 h 10000"/>
                <a:gd name="connsiteX768" fmla="*/ 437 w 10000"/>
                <a:gd name="connsiteY768" fmla="*/ 8913 h 10000"/>
                <a:gd name="connsiteX769" fmla="*/ 455 w 10000"/>
                <a:gd name="connsiteY769" fmla="*/ 8859 h 10000"/>
                <a:gd name="connsiteX770" fmla="*/ 462 w 10000"/>
                <a:gd name="connsiteY770" fmla="*/ 8834 h 10000"/>
                <a:gd name="connsiteX771" fmla="*/ 470 w 10000"/>
                <a:gd name="connsiteY771" fmla="*/ 8810 h 10000"/>
                <a:gd name="connsiteX772" fmla="*/ 472 w 10000"/>
                <a:gd name="connsiteY772" fmla="*/ 8794 h 10000"/>
                <a:gd name="connsiteX773" fmla="*/ 472 w 10000"/>
                <a:gd name="connsiteY773" fmla="*/ 8780 h 10000"/>
                <a:gd name="connsiteX774" fmla="*/ 462 w 10000"/>
                <a:gd name="connsiteY774" fmla="*/ 8784 h 10000"/>
                <a:gd name="connsiteX775" fmla="*/ 452 w 10000"/>
                <a:gd name="connsiteY775" fmla="*/ 8787 h 10000"/>
                <a:gd name="connsiteX776" fmla="*/ 437 w 10000"/>
                <a:gd name="connsiteY776" fmla="*/ 8794 h 10000"/>
                <a:gd name="connsiteX777" fmla="*/ 424 w 10000"/>
                <a:gd name="connsiteY777" fmla="*/ 8803 h 10000"/>
                <a:gd name="connsiteX778" fmla="*/ 394 w 10000"/>
                <a:gd name="connsiteY778" fmla="*/ 8829 h 10000"/>
                <a:gd name="connsiteX779" fmla="*/ 364 w 10000"/>
                <a:gd name="connsiteY779" fmla="*/ 8859 h 10000"/>
                <a:gd name="connsiteX780" fmla="*/ 311 w 10000"/>
                <a:gd name="connsiteY780" fmla="*/ 8922 h 10000"/>
                <a:gd name="connsiteX781" fmla="*/ 268 w 10000"/>
                <a:gd name="connsiteY781" fmla="*/ 8964 h 10000"/>
                <a:gd name="connsiteX782" fmla="*/ 205 w 10000"/>
                <a:gd name="connsiteY782" fmla="*/ 9016 h 10000"/>
                <a:gd name="connsiteX783" fmla="*/ 146 w 10000"/>
                <a:gd name="connsiteY783" fmla="*/ 9053 h 10000"/>
                <a:gd name="connsiteX784" fmla="*/ 139 w 10000"/>
                <a:gd name="connsiteY784" fmla="*/ 9063 h 10000"/>
                <a:gd name="connsiteX785" fmla="*/ 129 w 10000"/>
                <a:gd name="connsiteY785" fmla="*/ 9077 h 10000"/>
                <a:gd name="connsiteX786" fmla="*/ 126 w 10000"/>
                <a:gd name="connsiteY786" fmla="*/ 9086 h 10000"/>
                <a:gd name="connsiteX787" fmla="*/ 126 w 10000"/>
                <a:gd name="connsiteY787" fmla="*/ 9102 h 10000"/>
                <a:gd name="connsiteX788" fmla="*/ 129 w 10000"/>
                <a:gd name="connsiteY788" fmla="*/ 9116 h 10000"/>
                <a:gd name="connsiteX789" fmla="*/ 139 w 10000"/>
                <a:gd name="connsiteY789" fmla="*/ 9135 h 10000"/>
                <a:gd name="connsiteX790" fmla="*/ 149 w 10000"/>
                <a:gd name="connsiteY790" fmla="*/ 9151 h 10000"/>
                <a:gd name="connsiteX791" fmla="*/ 164 w 10000"/>
                <a:gd name="connsiteY791" fmla="*/ 9175 h 10000"/>
                <a:gd name="connsiteX792" fmla="*/ 184 w 10000"/>
                <a:gd name="connsiteY792" fmla="*/ 9196 h 10000"/>
                <a:gd name="connsiteX793" fmla="*/ 207 w 10000"/>
                <a:gd name="connsiteY793" fmla="*/ 9215 h 10000"/>
                <a:gd name="connsiteX794" fmla="*/ 227 w 10000"/>
                <a:gd name="connsiteY794" fmla="*/ 9233 h 10000"/>
                <a:gd name="connsiteX795" fmla="*/ 253 w 10000"/>
                <a:gd name="connsiteY795" fmla="*/ 9250 h 10000"/>
                <a:gd name="connsiteX796" fmla="*/ 303 w 10000"/>
                <a:gd name="connsiteY796" fmla="*/ 9282 h 10000"/>
                <a:gd name="connsiteX797" fmla="*/ 351 w 10000"/>
                <a:gd name="connsiteY797" fmla="*/ 9315 h 10000"/>
                <a:gd name="connsiteX798" fmla="*/ 414 w 10000"/>
                <a:gd name="connsiteY798" fmla="*/ 9364 h 10000"/>
                <a:gd name="connsiteX799" fmla="*/ 480 w 10000"/>
                <a:gd name="connsiteY799" fmla="*/ 9416 h 10000"/>
                <a:gd name="connsiteX800" fmla="*/ 513 w 10000"/>
                <a:gd name="connsiteY800" fmla="*/ 9437 h 10000"/>
                <a:gd name="connsiteX801" fmla="*/ 548 w 10000"/>
                <a:gd name="connsiteY801" fmla="*/ 9462 h 10000"/>
                <a:gd name="connsiteX802" fmla="*/ 581 w 10000"/>
                <a:gd name="connsiteY802" fmla="*/ 9483 h 10000"/>
                <a:gd name="connsiteX803" fmla="*/ 614 w 10000"/>
                <a:gd name="connsiteY803" fmla="*/ 9502 h 10000"/>
                <a:gd name="connsiteX804" fmla="*/ 641 w 10000"/>
                <a:gd name="connsiteY804" fmla="*/ 9525 h 10000"/>
                <a:gd name="connsiteX805" fmla="*/ 672 w 10000"/>
                <a:gd name="connsiteY805" fmla="*/ 9549 h 10000"/>
                <a:gd name="connsiteX806" fmla="*/ 702 w 10000"/>
                <a:gd name="connsiteY806" fmla="*/ 9568 h 10000"/>
                <a:gd name="connsiteX807" fmla="*/ 737 w 10000"/>
                <a:gd name="connsiteY807" fmla="*/ 9589 h 10000"/>
                <a:gd name="connsiteX808" fmla="*/ 770 w 10000"/>
                <a:gd name="connsiteY808" fmla="*/ 9605 h 10000"/>
                <a:gd name="connsiteX809" fmla="*/ 808 w 10000"/>
                <a:gd name="connsiteY809" fmla="*/ 9617 h 10000"/>
                <a:gd name="connsiteX810" fmla="*/ 843 w 10000"/>
                <a:gd name="connsiteY810" fmla="*/ 9624 h 10000"/>
                <a:gd name="connsiteX811" fmla="*/ 884 w 10000"/>
                <a:gd name="connsiteY811" fmla="*/ 9628 h 10000"/>
                <a:gd name="connsiteX812" fmla="*/ 902 w 10000"/>
                <a:gd name="connsiteY812" fmla="*/ 9628 h 10000"/>
                <a:gd name="connsiteX813" fmla="*/ 914 w 10000"/>
                <a:gd name="connsiteY813" fmla="*/ 9631 h 10000"/>
                <a:gd name="connsiteX814" fmla="*/ 932 w 10000"/>
                <a:gd name="connsiteY814" fmla="*/ 9638 h 10000"/>
                <a:gd name="connsiteX815" fmla="*/ 942 w 10000"/>
                <a:gd name="connsiteY815" fmla="*/ 9642 h 10000"/>
                <a:gd name="connsiteX816" fmla="*/ 967 w 10000"/>
                <a:gd name="connsiteY816" fmla="*/ 9652 h 10000"/>
                <a:gd name="connsiteX817" fmla="*/ 987 w 10000"/>
                <a:gd name="connsiteY817" fmla="*/ 9668 h 10000"/>
                <a:gd name="connsiteX818" fmla="*/ 1005 w 10000"/>
                <a:gd name="connsiteY818" fmla="*/ 9682 h 10000"/>
                <a:gd name="connsiteX819" fmla="*/ 1025 w 10000"/>
                <a:gd name="connsiteY819" fmla="*/ 9698 h 10000"/>
                <a:gd name="connsiteX820" fmla="*/ 1045 w 10000"/>
                <a:gd name="connsiteY820" fmla="*/ 9712 h 10000"/>
                <a:gd name="connsiteX821" fmla="*/ 1073 w 10000"/>
                <a:gd name="connsiteY821" fmla="*/ 9724 h 10000"/>
                <a:gd name="connsiteX822" fmla="*/ 1098 w 10000"/>
                <a:gd name="connsiteY822" fmla="*/ 9738 h 10000"/>
                <a:gd name="connsiteX823" fmla="*/ 1121 w 10000"/>
                <a:gd name="connsiteY823" fmla="*/ 9750 h 10000"/>
                <a:gd name="connsiteX824" fmla="*/ 1141 w 10000"/>
                <a:gd name="connsiteY824" fmla="*/ 9762 h 10000"/>
                <a:gd name="connsiteX825" fmla="*/ 1159 w 10000"/>
                <a:gd name="connsiteY825" fmla="*/ 9776 h 10000"/>
                <a:gd name="connsiteX826" fmla="*/ 1172 w 10000"/>
                <a:gd name="connsiteY826" fmla="*/ 9787 h 10000"/>
                <a:gd name="connsiteX827" fmla="*/ 1182 w 10000"/>
                <a:gd name="connsiteY827" fmla="*/ 9804 h 10000"/>
                <a:gd name="connsiteX828" fmla="*/ 1194 w 10000"/>
                <a:gd name="connsiteY828" fmla="*/ 9818 h 10000"/>
                <a:gd name="connsiteX829" fmla="*/ 1202 w 10000"/>
                <a:gd name="connsiteY829" fmla="*/ 9834 h 10000"/>
                <a:gd name="connsiteX830" fmla="*/ 1212 w 10000"/>
                <a:gd name="connsiteY830" fmla="*/ 9869 h 10000"/>
                <a:gd name="connsiteX831" fmla="*/ 1220 w 10000"/>
                <a:gd name="connsiteY831" fmla="*/ 9906 h 10000"/>
                <a:gd name="connsiteX832" fmla="*/ 1230 w 10000"/>
                <a:gd name="connsiteY832" fmla="*/ 9951 h 10000"/>
                <a:gd name="connsiteX833" fmla="*/ 1237 w 10000"/>
                <a:gd name="connsiteY833" fmla="*/ 10000 h 10000"/>
                <a:gd name="connsiteX834" fmla="*/ 1237 w 10000"/>
                <a:gd name="connsiteY83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2439 w 10000"/>
                <a:gd name="connsiteY713" fmla="*/ 7445 h 10000"/>
                <a:gd name="connsiteX714" fmla="*/ 1990 w 10000"/>
                <a:gd name="connsiteY714" fmla="*/ 8422 h 10000"/>
                <a:gd name="connsiteX715" fmla="*/ 1904 w 10000"/>
                <a:gd name="connsiteY715" fmla="*/ 8481 h 10000"/>
                <a:gd name="connsiteX716" fmla="*/ 1856 w 10000"/>
                <a:gd name="connsiteY716" fmla="*/ 8506 h 10000"/>
                <a:gd name="connsiteX717" fmla="*/ 1816 w 10000"/>
                <a:gd name="connsiteY717" fmla="*/ 8527 h 10000"/>
                <a:gd name="connsiteX718" fmla="*/ 1793 w 10000"/>
                <a:gd name="connsiteY718" fmla="*/ 8539 h 10000"/>
                <a:gd name="connsiteX719" fmla="*/ 1775 w 10000"/>
                <a:gd name="connsiteY719" fmla="*/ 8546 h 10000"/>
                <a:gd name="connsiteX720" fmla="*/ 1758 w 10000"/>
                <a:gd name="connsiteY720" fmla="*/ 8548 h 10000"/>
                <a:gd name="connsiteX721" fmla="*/ 1742 w 10000"/>
                <a:gd name="connsiteY721" fmla="*/ 8551 h 10000"/>
                <a:gd name="connsiteX722" fmla="*/ 1727 w 10000"/>
                <a:gd name="connsiteY722" fmla="*/ 8537 h 10000"/>
                <a:gd name="connsiteX723" fmla="*/ 1717 w 10000"/>
                <a:gd name="connsiteY723" fmla="*/ 8518 h 10000"/>
                <a:gd name="connsiteX724" fmla="*/ 1684 w 10000"/>
                <a:gd name="connsiteY724" fmla="*/ 8429 h 10000"/>
                <a:gd name="connsiteX725" fmla="*/ 1525 w 10000"/>
                <a:gd name="connsiteY725" fmla="*/ 8186 h 10000"/>
                <a:gd name="connsiteX726" fmla="*/ 1500 w 10000"/>
                <a:gd name="connsiteY726" fmla="*/ 8191 h 10000"/>
                <a:gd name="connsiteX727" fmla="*/ 1472 w 10000"/>
                <a:gd name="connsiteY727" fmla="*/ 8198 h 10000"/>
                <a:gd name="connsiteX728" fmla="*/ 1434 w 10000"/>
                <a:gd name="connsiteY728" fmla="*/ 8223 h 10000"/>
                <a:gd name="connsiteX729" fmla="*/ 1149 w 10000"/>
                <a:gd name="connsiteY729" fmla="*/ 8256 h 10000"/>
                <a:gd name="connsiteX730" fmla="*/ 1139 w 10000"/>
                <a:gd name="connsiteY730" fmla="*/ 8249 h 10000"/>
                <a:gd name="connsiteX731" fmla="*/ 1126 w 10000"/>
                <a:gd name="connsiteY731" fmla="*/ 8240 h 10000"/>
                <a:gd name="connsiteX732" fmla="*/ 1114 w 10000"/>
                <a:gd name="connsiteY732" fmla="*/ 8240 h 10000"/>
                <a:gd name="connsiteX733" fmla="*/ 1091 w 10000"/>
                <a:gd name="connsiteY733" fmla="*/ 8242 h 10000"/>
                <a:gd name="connsiteX734" fmla="*/ 1071 w 10000"/>
                <a:gd name="connsiteY734" fmla="*/ 8252 h 10000"/>
                <a:gd name="connsiteX735" fmla="*/ 1048 w 10000"/>
                <a:gd name="connsiteY735" fmla="*/ 8261 h 10000"/>
                <a:gd name="connsiteX736" fmla="*/ 1030 w 10000"/>
                <a:gd name="connsiteY736" fmla="*/ 8273 h 10000"/>
                <a:gd name="connsiteX737" fmla="*/ 1010 w 10000"/>
                <a:gd name="connsiteY737" fmla="*/ 8287 h 10000"/>
                <a:gd name="connsiteX738" fmla="*/ 995 w 10000"/>
                <a:gd name="connsiteY738" fmla="*/ 8303 h 10000"/>
                <a:gd name="connsiteX739" fmla="*/ 975 w 10000"/>
                <a:gd name="connsiteY739" fmla="*/ 8322 h 10000"/>
                <a:gd name="connsiteX740" fmla="*/ 960 w 10000"/>
                <a:gd name="connsiteY740" fmla="*/ 8343 h 10000"/>
                <a:gd name="connsiteX741" fmla="*/ 927 w 10000"/>
                <a:gd name="connsiteY741" fmla="*/ 8380 h 10000"/>
                <a:gd name="connsiteX742" fmla="*/ 891 w 10000"/>
                <a:gd name="connsiteY742" fmla="*/ 8417 h 10000"/>
                <a:gd name="connsiteX743" fmla="*/ 874 w 10000"/>
                <a:gd name="connsiteY743" fmla="*/ 8436 h 10000"/>
                <a:gd name="connsiteX744" fmla="*/ 859 w 10000"/>
                <a:gd name="connsiteY744" fmla="*/ 8450 h 10000"/>
                <a:gd name="connsiteX745" fmla="*/ 838 w 10000"/>
                <a:gd name="connsiteY745" fmla="*/ 8462 h 10000"/>
                <a:gd name="connsiteX746" fmla="*/ 821 w 10000"/>
                <a:gd name="connsiteY746" fmla="*/ 8476 h 10000"/>
                <a:gd name="connsiteX747" fmla="*/ 742 w 10000"/>
                <a:gd name="connsiteY747" fmla="*/ 8562 h 10000"/>
                <a:gd name="connsiteX748" fmla="*/ 672 w 10000"/>
                <a:gd name="connsiteY748" fmla="*/ 8644 h 10000"/>
                <a:gd name="connsiteX749" fmla="*/ 639 w 10000"/>
                <a:gd name="connsiteY749" fmla="*/ 8684 h 10000"/>
                <a:gd name="connsiteX750" fmla="*/ 609 w 10000"/>
                <a:gd name="connsiteY750" fmla="*/ 8731 h 10000"/>
                <a:gd name="connsiteX751" fmla="*/ 583 w 10000"/>
                <a:gd name="connsiteY751" fmla="*/ 8777 h 10000"/>
                <a:gd name="connsiteX752" fmla="*/ 556 w 10000"/>
                <a:gd name="connsiteY752" fmla="*/ 8831 h 10000"/>
                <a:gd name="connsiteX753" fmla="*/ 545 w 10000"/>
                <a:gd name="connsiteY753" fmla="*/ 8852 h 10000"/>
                <a:gd name="connsiteX754" fmla="*/ 525 w 10000"/>
                <a:gd name="connsiteY754" fmla="*/ 8885 h 10000"/>
                <a:gd name="connsiteX755" fmla="*/ 503 w 10000"/>
                <a:gd name="connsiteY755" fmla="*/ 8925 h 10000"/>
                <a:gd name="connsiteX756" fmla="*/ 480 w 10000"/>
                <a:gd name="connsiteY756" fmla="*/ 8962 h 10000"/>
                <a:gd name="connsiteX757" fmla="*/ 465 w 10000"/>
                <a:gd name="connsiteY757" fmla="*/ 8981 h 10000"/>
                <a:gd name="connsiteX758" fmla="*/ 455 w 10000"/>
                <a:gd name="connsiteY758" fmla="*/ 8993 h 10000"/>
                <a:gd name="connsiteX759" fmla="*/ 444 w 10000"/>
                <a:gd name="connsiteY759" fmla="*/ 9000 h 10000"/>
                <a:gd name="connsiteX760" fmla="*/ 434 w 10000"/>
                <a:gd name="connsiteY760" fmla="*/ 9007 h 10000"/>
                <a:gd name="connsiteX761" fmla="*/ 432 w 10000"/>
                <a:gd name="connsiteY761" fmla="*/ 9007 h 10000"/>
                <a:gd name="connsiteX762" fmla="*/ 429 w 10000"/>
                <a:gd name="connsiteY762" fmla="*/ 9004 h 10000"/>
                <a:gd name="connsiteX763" fmla="*/ 427 w 10000"/>
                <a:gd name="connsiteY763" fmla="*/ 8997 h 10000"/>
                <a:gd name="connsiteX764" fmla="*/ 427 w 10000"/>
                <a:gd name="connsiteY764" fmla="*/ 8993 h 10000"/>
                <a:gd name="connsiteX765" fmla="*/ 424 w 10000"/>
                <a:gd name="connsiteY765" fmla="*/ 8976 h 10000"/>
                <a:gd name="connsiteX766" fmla="*/ 427 w 10000"/>
                <a:gd name="connsiteY766" fmla="*/ 8948 h 10000"/>
                <a:gd name="connsiteX767" fmla="*/ 437 w 10000"/>
                <a:gd name="connsiteY767" fmla="*/ 8913 h 10000"/>
                <a:gd name="connsiteX768" fmla="*/ 455 w 10000"/>
                <a:gd name="connsiteY768" fmla="*/ 8859 h 10000"/>
                <a:gd name="connsiteX769" fmla="*/ 462 w 10000"/>
                <a:gd name="connsiteY769" fmla="*/ 8834 h 10000"/>
                <a:gd name="connsiteX770" fmla="*/ 470 w 10000"/>
                <a:gd name="connsiteY770" fmla="*/ 8810 h 10000"/>
                <a:gd name="connsiteX771" fmla="*/ 472 w 10000"/>
                <a:gd name="connsiteY771" fmla="*/ 8794 h 10000"/>
                <a:gd name="connsiteX772" fmla="*/ 472 w 10000"/>
                <a:gd name="connsiteY772" fmla="*/ 8780 h 10000"/>
                <a:gd name="connsiteX773" fmla="*/ 462 w 10000"/>
                <a:gd name="connsiteY773" fmla="*/ 8784 h 10000"/>
                <a:gd name="connsiteX774" fmla="*/ 452 w 10000"/>
                <a:gd name="connsiteY774" fmla="*/ 8787 h 10000"/>
                <a:gd name="connsiteX775" fmla="*/ 437 w 10000"/>
                <a:gd name="connsiteY775" fmla="*/ 8794 h 10000"/>
                <a:gd name="connsiteX776" fmla="*/ 424 w 10000"/>
                <a:gd name="connsiteY776" fmla="*/ 8803 h 10000"/>
                <a:gd name="connsiteX777" fmla="*/ 394 w 10000"/>
                <a:gd name="connsiteY777" fmla="*/ 8829 h 10000"/>
                <a:gd name="connsiteX778" fmla="*/ 364 w 10000"/>
                <a:gd name="connsiteY778" fmla="*/ 8859 h 10000"/>
                <a:gd name="connsiteX779" fmla="*/ 311 w 10000"/>
                <a:gd name="connsiteY779" fmla="*/ 8922 h 10000"/>
                <a:gd name="connsiteX780" fmla="*/ 268 w 10000"/>
                <a:gd name="connsiteY780" fmla="*/ 8964 h 10000"/>
                <a:gd name="connsiteX781" fmla="*/ 205 w 10000"/>
                <a:gd name="connsiteY781" fmla="*/ 9016 h 10000"/>
                <a:gd name="connsiteX782" fmla="*/ 146 w 10000"/>
                <a:gd name="connsiteY782" fmla="*/ 9053 h 10000"/>
                <a:gd name="connsiteX783" fmla="*/ 139 w 10000"/>
                <a:gd name="connsiteY783" fmla="*/ 9063 h 10000"/>
                <a:gd name="connsiteX784" fmla="*/ 129 w 10000"/>
                <a:gd name="connsiteY784" fmla="*/ 9077 h 10000"/>
                <a:gd name="connsiteX785" fmla="*/ 126 w 10000"/>
                <a:gd name="connsiteY785" fmla="*/ 9086 h 10000"/>
                <a:gd name="connsiteX786" fmla="*/ 126 w 10000"/>
                <a:gd name="connsiteY786" fmla="*/ 9102 h 10000"/>
                <a:gd name="connsiteX787" fmla="*/ 129 w 10000"/>
                <a:gd name="connsiteY787" fmla="*/ 9116 h 10000"/>
                <a:gd name="connsiteX788" fmla="*/ 139 w 10000"/>
                <a:gd name="connsiteY788" fmla="*/ 9135 h 10000"/>
                <a:gd name="connsiteX789" fmla="*/ 149 w 10000"/>
                <a:gd name="connsiteY789" fmla="*/ 9151 h 10000"/>
                <a:gd name="connsiteX790" fmla="*/ 164 w 10000"/>
                <a:gd name="connsiteY790" fmla="*/ 9175 h 10000"/>
                <a:gd name="connsiteX791" fmla="*/ 184 w 10000"/>
                <a:gd name="connsiteY791" fmla="*/ 9196 h 10000"/>
                <a:gd name="connsiteX792" fmla="*/ 207 w 10000"/>
                <a:gd name="connsiteY792" fmla="*/ 9215 h 10000"/>
                <a:gd name="connsiteX793" fmla="*/ 227 w 10000"/>
                <a:gd name="connsiteY793" fmla="*/ 9233 h 10000"/>
                <a:gd name="connsiteX794" fmla="*/ 253 w 10000"/>
                <a:gd name="connsiteY794" fmla="*/ 9250 h 10000"/>
                <a:gd name="connsiteX795" fmla="*/ 303 w 10000"/>
                <a:gd name="connsiteY795" fmla="*/ 9282 h 10000"/>
                <a:gd name="connsiteX796" fmla="*/ 351 w 10000"/>
                <a:gd name="connsiteY796" fmla="*/ 9315 h 10000"/>
                <a:gd name="connsiteX797" fmla="*/ 414 w 10000"/>
                <a:gd name="connsiteY797" fmla="*/ 9364 h 10000"/>
                <a:gd name="connsiteX798" fmla="*/ 480 w 10000"/>
                <a:gd name="connsiteY798" fmla="*/ 9416 h 10000"/>
                <a:gd name="connsiteX799" fmla="*/ 513 w 10000"/>
                <a:gd name="connsiteY799" fmla="*/ 9437 h 10000"/>
                <a:gd name="connsiteX800" fmla="*/ 548 w 10000"/>
                <a:gd name="connsiteY800" fmla="*/ 9462 h 10000"/>
                <a:gd name="connsiteX801" fmla="*/ 581 w 10000"/>
                <a:gd name="connsiteY801" fmla="*/ 9483 h 10000"/>
                <a:gd name="connsiteX802" fmla="*/ 614 w 10000"/>
                <a:gd name="connsiteY802" fmla="*/ 9502 h 10000"/>
                <a:gd name="connsiteX803" fmla="*/ 641 w 10000"/>
                <a:gd name="connsiteY803" fmla="*/ 9525 h 10000"/>
                <a:gd name="connsiteX804" fmla="*/ 672 w 10000"/>
                <a:gd name="connsiteY804" fmla="*/ 9549 h 10000"/>
                <a:gd name="connsiteX805" fmla="*/ 702 w 10000"/>
                <a:gd name="connsiteY805" fmla="*/ 9568 h 10000"/>
                <a:gd name="connsiteX806" fmla="*/ 737 w 10000"/>
                <a:gd name="connsiteY806" fmla="*/ 9589 h 10000"/>
                <a:gd name="connsiteX807" fmla="*/ 770 w 10000"/>
                <a:gd name="connsiteY807" fmla="*/ 9605 h 10000"/>
                <a:gd name="connsiteX808" fmla="*/ 808 w 10000"/>
                <a:gd name="connsiteY808" fmla="*/ 9617 h 10000"/>
                <a:gd name="connsiteX809" fmla="*/ 843 w 10000"/>
                <a:gd name="connsiteY809" fmla="*/ 9624 h 10000"/>
                <a:gd name="connsiteX810" fmla="*/ 884 w 10000"/>
                <a:gd name="connsiteY810" fmla="*/ 9628 h 10000"/>
                <a:gd name="connsiteX811" fmla="*/ 902 w 10000"/>
                <a:gd name="connsiteY811" fmla="*/ 9628 h 10000"/>
                <a:gd name="connsiteX812" fmla="*/ 914 w 10000"/>
                <a:gd name="connsiteY812" fmla="*/ 9631 h 10000"/>
                <a:gd name="connsiteX813" fmla="*/ 932 w 10000"/>
                <a:gd name="connsiteY813" fmla="*/ 9638 h 10000"/>
                <a:gd name="connsiteX814" fmla="*/ 942 w 10000"/>
                <a:gd name="connsiteY814" fmla="*/ 9642 h 10000"/>
                <a:gd name="connsiteX815" fmla="*/ 967 w 10000"/>
                <a:gd name="connsiteY815" fmla="*/ 9652 h 10000"/>
                <a:gd name="connsiteX816" fmla="*/ 987 w 10000"/>
                <a:gd name="connsiteY816" fmla="*/ 9668 h 10000"/>
                <a:gd name="connsiteX817" fmla="*/ 1005 w 10000"/>
                <a:gd name="connsiteY817" fmla="*/ 9682 h 10000"/>
                <a:gd name="connsiteX818" fmla="*/ 1025 w 10000"/>
                <a:gd name="connsiteY818" fmla="*/ 9698 h 10000"/>
                <a:gd name="connsiteX819" fmla="*/ 1045 w 10000"/>
                <a:gd name="connsiteY819" fmla="*/ 9712 h 10000"/>
                <a:gd name="connsiteX820" fmla="*/ 1073 w 10000"/>
                <a:gd name="connsiteY820" fmla="*/ 9724 h 10000"/>
                <a:gd name="connsiteX821" fmla="*/ 1098 w 10000"/>
                <a:gd name="connsiteY821" fmla="*/ 9738 h 10000"/>
                <a:gd name="connsiteX822" fmla="*/ 1121 w 10000"/>
                <a:gd name="connsiteY822" fmla="*/ 9750 h 10000"/>
                <a:gd name="connsiteX823" fmla="*/ 1141 w 10000"/>
                <a:gd name="connsiteY823" fmla="*/ 9762 h 10000"/>
                <a:gd name="connsiteX824" fmla="*/ 1159 w 10000"/>
                <a:gd name="connsiteY824" fmla="*/ 9776 h 10000"/>
                <a:gd name="connsiteX825" fmla="*/ 1172 w 10000"/>
                <a:gd name="connsiteY825" fmla="*/ 9787 h 10000"/>
                <a:gd name="connsiteX826" fmla="*/ 1182 w 10000"/>
                <a:gd name="connsiteY826" fmla="*/ 9804 h 10000"/>
                <a:gd name="connsiteX827" fmla="*/ 1194 w 10000"/>
                <a:gd name="connsiteY827" fmla="*/ 9818 h 10000"/>
                <a:gd name="connsiteX828" fmla="*/ 1202 w 10000"/>
                <a:gd name="connsiteY828" fmla="*/ 9834 h 10000"/>
                <a:gd name="connsiteX829" fmla="*/ 1212 w 10000"/>
                <a:gd name="connsiteY829" fmla="*/ 9869 h 10000"/>
                <a:gd name="connsiteX830" fmla="*/ 1220 w 10000"/>
                <a:gd name="connsiteY830" fmla="*/ 9906 h 10000"/>
                <a:gd name="connsiteX831" fmla="*/ 1230 w 10000"/>
                <a:gd name="connsiteY831" fmla="*/ 9951 h 10000"/>
                <a:gd name="connsiteX832" fmla="*/ 1237 w 10000"/>
                <a:gd name="connsiteY832" fmla="*/ 10000 h 10000"/>
                <a:gd name="connsiteX833" fmla="*/ 1237 w 10000"/>
                <a:gd name="connsiteY83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2414 w 10000"/>
                <a:gd name="connsiteY712" fmla="*/ 7403 h 10000"/>
                <a:gd name="connsiteX713" fmla="*/ 1990 w 10000"/>
                <a:gd name="connsiteY713" fmla="*/ 8422 h 10000"/>
                <a:gd name="connsiteX714" fmla="*/ 1904 w 10000"/>
                <a:gd name="connsiteY714" fmla="*/ 8481 h 10000"/>
                <a:gd name="connsiteX715" fmla="*/ 1856 w 10000"/>
                <a:gd name="connsiteY715" fmla="*/ 8506 h 10000"/>
                <a:gd name="connsiteX716" fmla="*/ 1816 w 10000"/>
                <a:gd name="connsiteY716" fmla="*/ 8527 h 10000"/>
                <a:gd name="connsiteX717" fmla="*/ 1793 w 10000"/>
                <a:gd name="connsiteY717" fmla="*/ 8539 h 10000"/>
                <a:gd name="connsiteX718" fmla="*/ 1775 w 10000"/>
                <a:gd name="connsiteY718" fmla="*/ 8546 h 10000"/>
                <a:gd name="connsiteX719" fmla="*/ 1758 w 10000"/>
                <a:gd name="connsiteY719" fmla="*/ 8548 h 10000"/>
                <a:gd name="connsiteX720" fmla="*/ 1742 w 10000"/>
                <a:gd name="connsiteY720" fmla="*/ 8551 h 10000"/>
                <a:gd name="connsiteX721" fmla="*/ 1727 w 10000"/>
                <a:gd name="connsiteY721" fmla="*/ 8537 h 10000"/>
                <a:gd name="connsiteX722" fmla="*/ 1717 w 10000"/>
                <a:gd name="connsiteY722" fmla="*/ 8518 h 10000"/>
                <a:gd name="connsiteX723" fmla="*/ 1684 w 10000"/>
                <a:gd name="connsiteY723" fmla="*/ 8429 h 10000"/>
                <a:gd name="connsiteX724" fmla="*/ 1525 w 10000"/>
                <a:gd name="connsiteY724" fmla="*/ 8186 h 10000"/>
                <a:gd name="connsiteX725" fmla="*/ 1500 w 10000"/>
                <a:gd name="connsiteY725" fmla="*/ 8191 h 10000"/>
                <a:gd name="connsiteX726" fmla="*/ 1472 w 10000"/>
                <a:gd name="connsiteY726" fmla="*/ 8198 h 10000"/>
                <a:gd name="connsiteX727" fmla="*/ 1434 w 10000"/>
                <a:gd name="connsiteY727" fmla="*/ 8223 h 10000"/>
                <a:gd name="connsiteX728" fmla="*/ 1149 w 10000"/>
                <a:gd name="connsiteY728" fmla="*/ 8256 h 10000"/>
                <a:gd name="connsiteX729" fmla="*/ 1139 w 10000"/>
                <a:gd name="connsiteY729" fmla="*/ 8249 h 10000"/>
                <a:gd name="connsiteX730" fmla="*/ 1126 w 10000"/>
                <a:gd name="connsiteY730" fmla="*/ 8240 h 10000"/>
                <a:gd name="connsiteX731" fmla="*/ 1114 w 10000"/>
                <a:gd name="connsiteY731" fmla="*/ 8240 h 10000"/>
                <a:gd name="connsiteX732" fmla="*/ 1091 w 10000"/>
                <a:gd name="connsiteY732" fmla="*/ 8242 h 10000"/>
                <a:gd name="connsiteX733" fmla="*/ 1071 w 10000"/>
                <a:gd name="connsiteY733" fmla="*/ 8252 h 10000"/>
                <a:gd name="connsiteX734" fmla="*/ 1048 w 10000"/>
                <a:gd name="connsiteY734" fmla="*/ 8261 h 10000"/>
                <a:gd name="connsiteX735" fmla="*/ 1030 w 10000"/>
                <a:gd name="connsiteY735" fmla="*/ 8273 h 10000"/>
                <a:gd name="connsiteX736" fmla="*/ 1010 w 10000"/>
                <a:gd name="connsiteY736" fmla="*/ 8287 h 10000"/>
                <a:gd name="connsiteX737" fmla="*/ 995 w 10000"/>
                <a:gd name="connsiteY737" fmla="*/ 8303 h 10000"/>
                <a:gd name="connsiteX738" fmla="*/ 975 w 10000"/>
                <a:gd name="connsiteY738" fmla="*/ 8322 h 10000"/>
                <a:gd name="connsiteX739" fmla="*/ 960 w 10000"/>
                <a:gd name="connsiteY739" fmla="*/ 8343 h 10000"/>
                <a:gd name="connsiteX740" fmla="*/ 927 w 10000"/>
                <a:gd name="connsiteY740" fmla="*/ 8380 h 10000"/>
                <a:gd name="connsiteX741" fmla="*/ 891 w 10000"/>
                <a:gd name="connsiteY741" fmla="*/ 8417 h 10000"/>
                <a:gd name="connsiteX742" fmla="*/ 874 w 10000"/>
                <a:gd name="connsiteY742" fmla="*/ 8436 h 10000"/>
                <a:gd name="connsiteX743" fmla="*/ 859 w 10000"/>
                <a:gd name="connsiteY743" fmla="*/ 8450 h 10000"/>
                <a:gd name="connsiteX744" fmla="*/ 838 w 10000"/>
                <a:gd name="connsiteY744" fmla="*/ 8462 h 10000"/>
                <a:gd name="connsiteX745" fmla="*/ 821 w 10000"/>
                <a:gd name="connsiteY745" fmla="*/ 8476 h 10000"/>
                <a:gd name="connsiteX746" fmla="*/ 742 w 10000"/>
                <a:gd name="connsiteY746" fmla="*/ 8562 h 10000"/>
                <a:gd name="connsiteX747" fmla="*/ 672 w 10000"/>
                <a:gd name="connsiteY747" fmla="*/ 8644 h 10000"/>
                <a:gd name="connsiteX748" fmla="*/ 639 w 10000"/>
                <a:gd name="connsiteY748" fmla="*/ 8684 h 10000"/>
                <a:gd name="connsiteX749" fmla="*/ 609 w 10000"/>
                <a:gd name="connsiteY749" fmla="*/ 8731 h 10000"/>
                <a:gd name="connsiteX750" fmla="*/ 583 w 10000"/>
                <a:gd name="connsiteY750" fmla="*/ 8777 h 10000"/>
                <a:gd name="connsiteX751" fmla="*/ 556 w 10000"/>
                <a:gd name="connsiteY751" fmla="*/ 8831 h 10000"/>
                <a:gd name="connsiteX752" fmla="*/ 545 w 10000"/>
                <a:gd name="connsiteY752" fmla="*/ 8852 h 10000"/>
                <a:gd name="connsiteX753" fmla="*/ 525 w 10000"/>
                <a:gd name="connsiteY753" fmla="*/ 8885 h 10000"/>
                <a:gd name="connsiteX754" fmla="*/ 503 w 10000"/>
                <a:gd name="connsiteY754" fmla="*/ 8925 h 10000"/>
                <a:gd name="connsiteX755" fmla="*/ 480 w 10000"/>
                <a:gd name="connsiteY755" fmla="*/ 8962 h 10000"/>
                <a:gd name="connsiteX756" fmla="*/ 465 w 10000"/>
                <a:gd name="connsiteY756" fmla="*/ 8981 h 10000"/>
                <a:gd name="connsiteX757" fmla="*/ 455 w 10000"/>
                <a:gd name="connsiteY757" fmla="*/ 8993 h 10000"/>
                <a:gd name="connsiteX758" fmla="*/ 444 w 10000"/>
                <a:gd name="connsiteY758" fmla="*/ 9000 h 10000"/>
                <a:gd name="connsiteX759" fmla="*/ 434 w 10000"/>
                <a:gd name="connsiteY759" fmla="*/ 9007 h 10000"/>
                <a:gd name="connsiteX760" fmla="*/ 432 w 10000"/>
                <a:gd name="connsiteY760" fmla="*/ 9007 h 10000"/>
                <a:gd name="connsiteX761" fmla="*/ 429 w 10000"/>
                <a:gd name="connsiteY761" fmla="*/ 9004 h 10000"/>
                <a:gd name="connsiteX762" fmla="*/ 427 w 10000"/>
                <a:gd name="connsiteY762" fmla="*/ 8997 h 10000"/>
                <a:gd name="connsiteX763" fmla="*/ 427 w 10000"/>
                <a:gd name="connsiteY763" fmla="*/ 8993 h 10000"/>
                <a:gd name="connsiteX764" fmla="*/ 424 w 10000"/>
                <a:gd name="connsiteY764" fmla="*/ 8976 h 10000"/>
                <a:gd name="connsiteX765" fmla="*/ 427 w 10000"/>
                <a:gd name="connsiteY765" fmla="*/ 8948 h 10000"/>
                <a:gd name="connsiteX766" fmla="*/ 437 w 10000"/>
                <a:gd name="connsiteY766" fmla="*/ 8913 h 10000"/>
                <a:gd name="connsiteX767" fmla="*/ 455 w 10000"/>
                <a:gd name="connsiteY767" fmla="*/ 8859 h 10000"/>
                <a:gd name="connsiteX768" fmla="*/ 462 w 10000"/>
                <a:gd name="connsiteY768" fmla="*/ 8834 h 10000"/>
                <a:gd name="connsiteX769" fmla="*/ 470 w 10000"/>
                <a:gd name="connsiteY769" fmla="*/ 8810 h 10000"/>
                <a:gd name="connsiteX770" fmla="*/ 472 w 10000"/>
                <a:gd name="connsiteY770" fmla="*/ 8794 h 10000"/>
                <a:gd name="connsiteX771" fmla="*/ 472 w 10000"/>
                <a:gd name="connsiteY771" fmla="*/ 8780 h 10000"/>
                <a:gd name="connsiteX772" fmla="*/ 462 w 10000"/>
                <a:gd name="connsiteY772" fmla="*/ 8784 h 10000"/>
                <a:gd name="connsiteX773" fmla="*/ 452 w 10000"/>
                <a:gd name="connsiteY773" fmla="*/ 8787 h 10000"/>
                <a:gd name="connsiteX774" fmla="*/ 437 w 10000"/>
                <a:gd name="connsiteY774" fmla="*/ 8794 h 10000"/>
                <a:gd name="connsiteX775" fmla="*/ 424 w 10000"/>
                <a:gd name="connsiteY775" fmla="*/ 8803 h 10000"/>
                <a:gd name="connsiteX776" fmla="*/ 394 w 10000"/>
                <a:gd name="connsiteY776" fmla="*/ 8829 h 10000"/>
                <a:gd name="connsiteX777" fmla="*/ 364 w 10000"/>
                <a:gd name="connsiteY777" fmla="*/ 8859 h 10000"/>
                <a:gd name="connsiteX778" fmla="*/ 311 w 10000"/>
                <a:gd name="connsiteY778" fmla="*/ 8922 h 10000"/>
                <a:gd name="connsiteX779" fmla="*/ 268 w 10000"/>
                <a:gd name="connsiteY779" fmla="*/ 8964 h 10000"/>
                <a:gd name="connsiteX780" fmla="*/ 205 w 10000"/>
                <a:gd name="connsiteY780" fmla="*/ 9016 h 10000"/>
                <a:gd name="connsiteX781" fmla="*/ 146 w 10000"/>
                <a:gd name="connsiteY781" fmla="*/ 9053 h 10000"/>
                <a:gd name="connsiteX782" fmla="*/ 139 w 10000"/>
                <a:gd name="connsiteY782" fmla="*/ 9063 h 10000"/>
                <a:gd name="connsiteX783" fmla="*/ 129 w 10000"/>
                <a:gd name="connsiteY783" fmla="*/ 9077 h 10000"/>
                <a:gd name="connsiteX784" fmla="*/ 126 w 10000"/>
                <a:gd name="connsiteY784" fmla="*/ 9086 h 10000"/>
                <a:gd name="connsiteX785" fmla="*/ 126 w 10000"/>
                <a:gd name="connsiteY785" fmla="*/ 9102 h 10000"/>
                <a:gd name="connsiteX786" fmla="*/ 129 w 10000"/>
                <a:gd name="connsiteY786" fmla="*/ 9116 h 10000"/>
                <a:gd name="connsiteX787" fmla="*/ 139 w 10000"/>
                <a:gd name="connsiteY787" fmla="*/ 9135 h 10000"/>
                <a:gd name="connsiteX788" fmla="*/ 149 w 10000"/>
                <a:gd name="connsiteY788" fmla="*/ 9151 h 10000"/>
                <a:gd name="connsiteX789" fmla="*/ 164 w 10000"/>
                <a:gd name="connsiteY789" fmla="*/ 9175 h 10000"/>
                <a:gd name="connsiteX790" fmla="*/ 184 w 10000"/>
                <a:gd name="connsiteY790" fmla="*/ 9196 h 10000"/>
                <a:gd name="connsiteX791" fmla="*/ 207 w 10000"/>
                <a:gd name="connsiteY791" fmla="*/ 9215 h 10000"/>
                <a:gd name="connsiteX792" fmla="*/ 227 w 10000"/>
                <a:gd name="connsiteY792" fmla="*/ 9233 h 10000"/>
                <a:gd name="connsiteX793" fmla="*/ 253 w 10000"/>
                <a:gd name="connsiteY793" fmla="*/ 9250 h 10000"/>
                <a:gd name="connsiteX794" fmla="*/ 303 w 10000"/>
                <a:gd name="connsiteY794" fmla="*/ 9282 h 10000"/>
                <a:gd name="connsiteX795" fmla="*/ 351 w 10000"/>
                <a:gd name="connsiteY795" fmla="*/ 9315 h 10000"/>
                <a:gd name="connsiteX796" fmla="*/ 414 w 10000"/>
                <a:gd name="connsiteY796" fmla="*/ 9364 h 10000"/>
                <a:gd name="connsiteX797" fmla="*/ 480 w 10000"/>
                <a:gd name="connsiteY797" fmla="*/ 9416 h 10000"/>
                <a:gd name="connsiteX798" fmla="*/ 513 w 10000"/>
                <a:gd name="connsiteY798" fmla="*/ 9437 h 10000"/>
                <a:gd name="connsiteX799" fmla="*/ 548 w 10000"/>
                <a:gd name="connsiteY799" fmla="*/ 9462 h 10000"/>
                <a:gd name="connsiteX800" fmla="*/ 581 w 10000"/>
                <a:gd name="connsiteY800" fmla="*/ 9483 h 10000"/>
                <a:gd name="connsiteX801" fmla="*/ 614 w 10000"/>
                <a:gd name="connsiteY801" fmla="*/ 9502 h 10000"/>
                <a:gd name="connsiteX802" fmla="*/ 641 w 10000"/>
                <a:gd name="connsiteY802" fmla="*/ 9525 h 10000"/>
                <a:gd name="connsiteX803" fmla="*/ 672 w 10000"/>
                <a:gd name="connsiteY803" fmla="*/ 9549 h 10000"/>
                <a:gd name="connsiteX804" fmla="*/ 702 w 10000"/>
                <a:gd name="connsiteY804" fmla="*/ 9568 h 10000"/>
                <a:gd name="connsiteX805" fmla="*/ 737 w 10000"/>
                <a:gd name="connsiteY805" fmla="*/ 9589 h 10000"/>
                <a:gd name="connsiteX806" fmla="*/ 770 w 10000"/>
                <a:gd name="connsiteY806" fmla="*/ 9605 h 10000"/>
                <a:gd name="connsiteX807" fmla="*/ 808 w 10000"/>
                <a:gd name="connsiteY807" fmla="*/ 9617 h 10000"/>
                <a:gd name="connsiteX808" fmla="*/ 843 w 10000"/>
                <a:gd name="connsiteY808" fmla="*/ 9624 h 10000"/>
                <a:gd name="connsiteX809" fmla="*/ 884 w 10000"/>
                <a:gd name="connsiteY809" fmla="*/ 9628 h 10000"/>
                <a:gd name="connsiteX810" fmla="*/ 902 w 10000"/>
                <a:gd name="connsiteY810" fmla="*/ 9628 h 10000"/>
                <a:gd name="connsiteX811" fmla="*/ 914 w 10000"/>
                <a:gd name="connsiteY811" fmla="*/ 9631 h 10000"/>
                <a:gd name="connsiteX812" fmla="*/ 932 w 10000"/>
                <a:gd name="connsiteY812" fmla="*/ 9638 h 10000"/>
                <a:gd name="connsiteX813" fmla="*/ 942 w 10000"/>
                <a:gd name="connsiteY813" fmla="*/ 9642 h 10000"/>
                <a:gd name="connsiteX814" fmla="*/ 967 w 10000"/>
                <a:gd name="connsiteY814" fmla="*/ 9652 h 10000"/>
                <a:gd name="connsiteX815" fmla="*/ 987 w 10000"/>
                <a:gd name="connsiteY815" fmla="*/ 9668 h 10000"/>
                <a:gd name="connsiteX816" fmla="*/ 1005 w 10000"/>
                <a:gd name="connsiteY816" fmla="*/ 9682 h 10000"/>
                <a:gd name="connsiteX817" fmla="*/ 1025 w 10000"/>
                <a:gd name="connsiteY817" fmla="*/ 9698 h 10000"/>
                <a:gd name="connsiteX818" fmla="*/ 1045 w 10000"/>
                <a:gd name="connsiteY818" fmla="*/ 9712 h 10000"/>
                <a:gd name="connsiteX819" fmla="*/ 1073 w 10000"/>
                <a:gd name="connsiteY819" fmla="*/ 9724 h 10000"/>
                <a:gd name="connsiteX820" fmla="*/ 1098 w 10000"/>
                <a:gd name="connsiteY820" fmla="*/ 9738 h 10000"/>
                <a:gd name="connsiteX821" fmla="*/ 1121 w 10000"/>
                <a:gd name="connsiteY821" fmla="*/ 9750 h 10000"/>
                <a:gd name="connsiteX822" fmla="*/ 1141 w 10000"/>
                <a:gd name="connsiteY822" fmla="*/ 9762 h 10000"/>
                <a:gd name="connsiteX823" fmla="*/ 1159 w 10000"/>
                <a:gd name="connsiteY823" fmla="*/ 9776 h 10000"/>
                <a:gd name="connsiteX824" fmla="*/ 1172 w 10000"/>
                <a:gd name="connsiteY824" fmla="*/ 9787 h 10000"/>
                <a:gd name="connsiteX825" fmla="*/ 1182 w 10000"/>
                <a:gd name="connsiteY825" fmla="*/ 9804 h 10000"/>
                <a:gd name="connsiteX826" fmla="*/ 1194 w 10000"/>
                <a:gd name="connsiteY826" fmla="*/ 9818 h 10000"/>
                <a:gd name="connsiteX827" fmla="*/ 1202 w 10000"/>
                <a:gd name="connsiteY827" fmla="*/ 9834 h 10000"/>
                <a:gd name="connsiteX828" fmla="*/ 1212 w 10000"/>
                <a:gd name="connsiteY828" fmla="*/ 9869 h 10000"/>
                <a:gd name="connsiteX829" fmla="*/ 1220 w 10000"/>
                <a:gd name="connsiteY829" fmla="*/ 9906 h 10000"/>
                <a:gd name="connsiteX830" fmla="*/ 1230 w 10000"/>
                <a:gd name="connsiteY830" fmla="*/ 9951 h 10000"/>
                <a:gd name="connsiteX831" fmla="*/ 1237 w 10000"/>
                <a:gd name="connsiteY831" fmla="*/ 10000 h 10000"/>
                <a:gd name="connsiteX832" fmla="*/ 1237 w 10000"/>
                <a:gd name="connsiteY83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48 w 10000"/>
                <a:gd name="connsiteY710" fmla="*/ 7312 h 10000"/>
                <a:gd name="connsiteX711" fmla="*/ 2364 w 10000"/>
                <a:gd name="connsiteY711" fmla="*/ 7335 h 10000"/>
                <a:gd name="connsiteX712" fmla="*/ 1990 w 10000"/>
                <a:gd name="connsiteY712" fmla="*/ 8422 h 10000"/>
                <a:gd name="connsiteX713" fmla="*/ 1904 w 10000"/>
                <a:gd name="connsiteY713" fmla="*/ 8481 h 10000"/>
                <a:gd name="connsiteX714" fmla="*/ 1856 w 10000"/>
                <a:gd name="connsiteY714" fmla="*/ 8506 h 10000"/>
                <a:gd name="connsiteX715" fmla="*/ 1816 w 10000"/>
                <a:gd name="connsiteY715" fmla="*/ 8527 h 10000"/>
                <a:gd name="connsiteX716" fmla="*/ 1793 w 10000"/>
                <a:gd name="connsiteY716" fmla="*/ 8539 h 10000"/>
                <a:gd name="connsiteX717" fmla="*/ 1775 w 10000"/>
                <a:gd name="connsiteY717" fmla="*/ 8546 h 10000"/>
                <a:gd name="connsiteX718" fmla="*/ 1758 w 10000"/>
                <a:gd name="connsiteY718" fmla="*/ 8548 h 10000"/>
                <a:gd name="connsiteX719" fmla="*/ 1742 w 10000"/>
                <a:gd name="connsiteY719" fmla="*/ 8551 h 10000"/>
                <a:gd name="connsiteX720" fmla="*/ 1727 w 10000"/>
                <a:gd name="connsiteY720" fmla="*/ 8537 h 10000"/>
                <a:gd name="connsiteX721" fmla="*/ 1717 w 10000"/>
                <a:gd name="connsiteY721" fmla="*/ 8518 h 10000"/>
                <a:gd name="connsiteX722" fmla="*/ 1684 w 10000"/>
                <a:gd name="connsiteY722" fmla="*/ 8429 h 10000"/>
                <a:gd name="connsiteX723" fmla="*/ 1525 w 10000"/>
                <a:gd name="connsiteY723" fmla="*/ 8186 h 10000"/>
                <a:gd name="connsiteX724" fmla="*/ 1500 w 10000"/>
                <a:gd name="connsiteY724" fmla="*/ 8191 h 10000"/>
                <a:gd name="connsiteX725" fmla="*/ 1472 w 10000"/>
                <a:gd name="connsiteY725" fmla="*/ 8198 h 10000"/>
                <a:gd name="connsiteX726" fmla="*/ 1434 w 10000"/>
                <a:gd name="connsiteY726" fmla="*/ 8223 h 10000"/>
                <a:gd name="connsiteX727" fmla="*/ 1149 w 10000"/>
                <a:gd name="connsiteY727" fmla="*/ 8256 h 10000"/>
                <a:gd name="connsiteX728" fmla="*/ 1139 w 10000"/>
                <a:gd name="connsiteY728" fmla="*/ 8249 h 10000"/>
                <a:gd name="connsiteX729" fmla="*/ 1126 w 10000"/>
                <a:gd name="connsiteY729" fmla="*/ 8240 h 10000"/>
                <a:gd name="connsiteX730" fmla="*/ 1114 w 10000"/>
                <a:gd name="connsiteY730" fmla="*/ 8240 h 10000"/>
                <a:gd name="connsiteX731" fmla="*/ 1091 w 10000"/>
                <a:gd name="connsiteY731" fmla="*/ 8242 h 10000"/>
                <a:gd name="connsiteX732" fmla="*/ 1071 w 10000"/>
                <a:gd name="connsiteY732" fmla="*/ 8252 h 10000"/>
                <a:gd name="connsiteX733" fmla="*/ 1048 w 10000"/>
                <a:gd name="connsiteY733" fmla="*/ 8261 h 10000"/>
                <a:gd name="connsiteX734" fmla="*/ 1030 w 10000"/>
                <a:gd name="connsiteY734" fmla="*/ 8273 h 10000"/>
                <a:gd name="connsiteX735" fmla="*/ 1010 w 10000"/>
                <a:gd name="connsiteY735" fmla="*/ 8287 h 10000"/>
                <a:gd name="connsiteX736" fmla="*/ 995 w 10000"/>
                <a:gd name="connsiteY736" fmla="*/ 8303 h 10000"/>
                <a:gd name="connsiteX737" fmla="*/ 975 w 10000"/>
                <a:gd name="connsiteY737" fmla="*/ 8322 h 10000"/>
                <a:gd name="connsiteX738" fmla="*/ 960 w 10000"/>
                <a:gd name="connsiteY738" fmla="*/ 8343 h 10000"/>
                <a:gd name="connsiteX739" fmla="*/ 927 w 10000"/>
                <a:gd name="connsiteY739" fmla="*/ 8380 h 10000"/>
                <a:gd name="connsiteX740" fmla="*/ 891 w 10000"/>
                <a:gd name="connsiteY740" fmla="*/ 8417 h 10000"/>
                <a:gd name="connsiteX741" fmla="*/ 874 w 10000"/>
                <a:gd name="connsiteY741" fmla="*/ 8436 h 10000"/>
                <a:gd name="connsiteX742" fmla="*/ 859 w 10000"/>
                <a:gd name="connsiteY742" fmla="*/ 8450 h 10000"/>
                <a:gd name="connsiteX743" fmla="*/ 838 w 10000"/>
                <a:gd name="connsiteY743" fmla="*/ 8462 h 10000"/>
                <a:gd name="connsiteX744" fmla="*/ 821 w 10000"/>
                <a:gd name="connsiteY744" fmla="*/ 8476 h 10000"/>
                <a:gd name="connsiteX745" fmla="*/ 742 w 10000"/>
                <a:gd name="connsiteY745" fmla="*/ 8562 h 10000"/>
                <a:gd name="connsiteX746" fmla="*/ 672 w 10000"/>
                <a:gd name="connsiteY746" fmla="*/ 8644 h 10000"/>
                <a:gd name="connsiteX747" fmla="*/ 639 w 10000"/>
                <a:gd name="connsiteY747" fmla="*/ 8684 h 10000"/>
                <a:gd name="connsiteX748" fmla="*/ 609 w 10000"/>
                <a:gd name="connsiteY748" fmla="*/ 8731 h 10000"/>
                <a:gd name="connsiteX749" fmla="*/ 583 w 10000"/>
                <a:gd name="connsiteY749" fmla="*/ 8777 h 10000"/>
                <a:gd name="connsiteX750" fmla="*/ 556 w 10000"/>
                <a:gd name="connsiteY750" fmla="*/ 8831 h 10000"/>
                <a:gd name="connsiteX751" fmla="*/ 545 w 10000"/>
                <a:gd name="connsiteY751" fmla="*/ 8852 h 10000"/>
                <a:gd name="connsiteX752" fmla="*/ 525 w 10000"/>
                <a:gd name="connsiteY752" fmla="*/ 8885 h 10000"/>
                <a:gd name="connsiteX753" fmla="*/ 503 w 10000"/>
                <a:gd name="connsiteY753" fmla="*/ 8925 h 10000"/>
                <a:gd name="connsiteX754" fmla="*/ 480 w 10000"/>
                <a:gd name="connsiteY754" fmla="*/ 8962 h 10000"/>
                <a:gd name="connsiteX755" fmla="*/ 465 w 10000"/>
                <a:gd name="connsiteY755" fmla="*/ 8981 h 10000"/>
                <a:gd name="connsiteX756" fmla="*/ 455 w 10000"/>
                <a:gd name="connsiteY756" fmla="*/ 8993 h 10000"/>
                <a:gd name="connsiteX757" fmla="*/ 444 w 10000"/>
                <a:gd name="connsiteY757" fmla="*/ 9000 h 10000"/>
                <a:gd name="connsiteX758" fmla="*/ 434 w 10000"/>
                <a:gd name="connsiteY758" fmla="*/ 9007 h 10000"/>
                <a:gd name="connsiteX759" fmla="*/ 432 w 10000"/>
                <a:gd name="connsiteY759" fmla="*/ 9007 h 10000"/>
                <a:gd name="connsiteX760" fmla="*/ 429 w 10000"/>
                <a:gd name="connsiteY760" fmla="*/ 9004 h 10000"/>
                <a:gd name="connsiteX761" fmla="*/ 427 w 10000"/>
                <a:gd name="connsiteY761" fmla="*/ 8997 h 10000"/>
                <a:gd name="connsiteX762" fmla="*/ 427 w 10000"/>
                <a:gd name="connsiteY762" fmla="*/ 8993 h 10000"/>
                <a:gd name="connsiteX763" fmla="*/ 424 w 10000"/>
                <a:gd name="connsiteY763" fmla="*/ 8976 h 10000"/>
                <a:gd name="connsiteX764" fmla="*/ 427 w 10000"/>
                <a:gd name="connsiteY764" fmla="*/ 8948 h 10000"/>
                <a:gd name="connsiteX765" fmla="*/ 437 w 10000"/>
                <a:gd name="connsiteY765" fmla="*/ 8913 h 10000"/>
                <a:gd name="connsiteX766" fmla="*/ 455 w 10000"/>
                <a:gd name="connsiteY766" fmla="*/ 8859 h 10000"/>
                <a:gd name="connsiteX767" fmla="*/ 462 w 10000"/>
                <a:gd name="connsiteY767" fmla="*/ 8834 h 10000"/>
                <a:gd name="connsiteX768" fmla="*/ 470 w 10000"/>
                <a:gd name="connsiteY768" fmla="*/ 8810 h 10000"/>
                <a:gd name="connsiteX769" fmla="*/ 472 w 10000"/>
                <a:gd name="connsiteY769" fmla="*/ 8794 h 10000"/>
                <a:gd name="connsiteX770" fmla="*/ 472 w 10000"/>
                <a:gd name="connsiteY770" fmla="*/ 8780 h 10000"/>
                <a:gd name="connsiteX771" fmla="*/ 462 w 10000"/>
                <a:gd name="connsiteY771" fmla="*/ 8784 h 10000"/>
                <a:gd name="connsiteX772" fmla="*/ 452 w 10000"/>
                <a:gd name="connsiteY772" fmla="*/ 8787 h 10000"/>
                <a:gd name="connsiteX773" fmla="*/ 437 w 10000"/>
                <a:gd name="connsiteY773" fmla="*/ 8794 h 10000"/>
                <a:gd name="connsiteX774" fmla="*/ 424 w 10000"/>
                <a:gd name="connsiteY774" fmla="*/ 8803 h 10000"/>
                <a:gd name="connsiteX775" fmla="*/ 394 w 10000"/>
                <a:gd name="connsiteY775" fmla="*/ 8829 h 10000"/>
                <a:gd name="connsiteX776" fmla="*/ 364 w 10000"/>
                <a:gd name="connsiteY776" fmla="*/ 8859 h 10000"/>
                <a:gd name="connsiteX777" fmla="*/ 311 w 10000"/>
                <a:gd name="connsiteY777" fmla="*/ 8922 h 10000"/>
                <a:gd name="connsiteX778" fmla="*/ 268 w 10000"/>
                <a:gd name="connsiteY778" fmla="*/ 8964 h 10000"/>
                <a:gd name="connsiteX779" fmla="*/ 205 w 10000"/>
                <a:gd name="connsiteY779" fmla="*/ 9016 h 10000"/>
                <a:gd name="connsiteX780" fmla="*/ 146 w 10000"/>
                <a:gd name="connsiteY780" fmla="*/ 9053 h 10000"/>
                <a:gd name="connsiteX781" fmla="*/ 139 w 10000"/>
                <a:gd name="connsiteY781" fmla="*/ 9063 h 10000"/>
                <a:gd name="connsiteX782" fmla="*/ 129 w 10000"/>
                <a:gd name="connsiteY782" fmla="*/ 9077 h 10000"/>
                <a:gd name="connsiteX783" fmla="*/ 126 w 10000"/>
                <a:gd name="connsiteY783" fmla="*/ 9086 h 10000"/>
                <a:gd name="connsiteX784" fmla="*/ 126 w 10000"/>
                <a:gd name="connsiteY784" fmla="*/ 9102 h 10000"/>
                <a:gd name="connsiteX785" fmla="*/ 129 w 10000"/>
                <a:gd name="connsiteY785" fmla="*/ 9116 h 10000"/>
                <a:gd name="connsiteX786" fmla="*/ 139 w 10000"/>
                <a:gd name="connsiteY786" fmla="*/ 9135 h 10000"/>
                <a:gd name="connsiteX787" fmla="*/ 149 w 10000"/>
                <a:gd name="connsiteY787" fmla="*/ 9151 h 10000"/>
                <a:gd name="connsiteX788" fmla="*/ 164 w 10000"/>
                <a:gd name="connsiteY788" fmla="*/ 9175 h 10000"/>
                <a:gd name="connsiteX789" fmla="*/ 184 w 10000"/>
                <a:gd name="connsiteY789" fmla="*/ 9196 h 10000"/>
                <a:gd name="connsiteX790" fmla="*/ 207 w 10000"/>
                <a:gd name="connsiteY790" fmla="*/ 9215 h 10000"/>
                <a:gd name="connsiteX791" fmla="*/ 227 w 10000"/>
                <a:gd name="connsiteY791" fmla="*/ 9233 h 10000"/>
                <a:gd name="connsiteX792" fmla="*/ 253 w 10000"/>
                <a:gd name="connsiteY792" fmla="*/ 9250 h 10000"/>
                <a:gd name="connsiteX793" fmla="*/ 303 w 10000"/>
                <a:gd name="connsiteY793" fmla="*/ 9282 h 10000"/>
                <a:gd name="connsiteX794" fmla="*/ 351 w 10000"/>
                <a:gd name="connsiteY794" fmla="*/ 9315 h 10000"/>
                <a:gd name="connsiteX795" fmla="*/ 414 w 10000"/>
                <a:gd name="connsiteY795" fmla="*/ 9364 h 10000"/>
                <a:gd name="connsiteX796" fmla="*/ 480 w 10000"/>
                <a:gd name="connsiteY796" fmla="*/ 9416 h 10000"/>
                <a:gd name="connsiteX797" fmla="*/ 513 w 10000"/>
                <a:gd name="connsiteY797" fmla="*/ 9437 h 10000"/>
                <a:gd name="connsiteX798" fmla="*/ 548 w 10000"/>
                <a:gd name="connsiteY798" fmla="*/ 9462 h 10000"/>
                <a:gd name="connsiteX799" fmla="*/ 581 w 10000"/>
                <a:gd name="connsiteY799" fmla="*/ 9483 h 10000"/>
                <a:gd name="connsiteX800" fmla="*/ 614 w 10000"/>
                <a:gd name="connsiteY800" fmla="*/ 9502 h 10000"/>
                <a:gd name="connsiteX801" fmla="*/ 641 w 10000"/>
                <a:gd name="connsiteY801" fmla="*/ 9525 h 10000"/>
                <a:gd name="connsiteX802" fmla="*/ 672 w 10000"/>
                <a:gd name="connsiteY802" fmla="*/ 9549 h 10000"/>
                <a:gd name="connsiteX803" fmla="*/ 702 w 10000"/>
                <a:gd name="connsiteY803" fmla="*/ 9568 h 10000"/>
                <a:gd name="connsiteX804" fmla="*/ 737 w 10000"/>
                <a:gd name="connsiteY804" fmla="*/ 9589 h 10000"/>
                <a:gd name="connsiteX805" fmla="*/ 770 w 10000"/>
                <a:gd name="connsiteY805" fmla="*/ 9605 h 10000"/>
                <a:gd name="connsiteX806" fmla="*/ 808 w 10000"/>
                <a:gd name="connsiteY806" fmla="*/ 9617 h 10000"/>
                <a:gd name="connsiteX807" fmla="*/ 843 w 10000"/>
                <a:gd name="connsiteY807" fmla="*/ 9624 h 10000"/>
                <a:gd name="connsiteX808" fmla="*/ 884 w 10000"/>
                <a:gd name="connsiteY808" fmla="*/ 9628 h 10000"/>
                <a:gd name="connsiteX809" fmla="*/ 902 w 10000"/>
                <a:gd name="connsiteY809" fmla="*/ 9628 h 10000"/>
                <a:gd name="connsiteX810" fmla="*/ 914 w 10000"/>
                <a:gd name="connsiteY810" fmla="*/ 9631 h 10000"/>
                <a:gd name="connsiteX811" fmla="*/ 932 w 10000"/>
                <a:gd name="connsiteY811" fmla="*/ 9638 h 10000"/>
                <a:gd name="connsiteX812" fmla="*/ 942 w 10000"/>
                <a:gd name="connsiteY812" fmla="*/ 9642 h 10000"/>
                <a:gd name="connsiteX813" fmla="*/ 967 w 10000"/>
                <a:gd name="connsiteY813" fmla="*/ 9652 h 10000"/>
                <a:gd name="connsiteX814" fmla="*/ 987 w 10000"/>
                <a:gd name="connsiteY814" fmla="*/ 9668 h 10000"/>
                <a:gd name="connsiteX815" fmla="*/ 1005 w 10000"/>
                <a:gd name="connsiteY815" fmla="*/ 9682 h 10000"/>
                <a:gd name="connsiteX816" fmla="*/ 1025 w 10000"/>
                <a:gd name="connsiteY816" fmla="*/ 9698 h 10000"/>
                <a:gd name="connsiteX817" fmla="*/ 1045 w 10000"/>
                <a:gd name="connsiteY817" fmla="*/ 9712 h 10000"/>
                <a:gd name="connsiteX818" fmla="*/ 1073 w 10000"/>
                <a:gd name="connsiteY818" fmla="*/ 9724 h 10000"/>
                <a:gd name="connsiteX819" fmla="*/ 1098 w 10000"/>
                <a:gd name="connsiteY819" fmla="*/ 9738 h 10000"/>
                <a:gd name="connsiteX820" fmla="*/ 1121 w 10000"/>
                <a:gd name="connsiteY820" fmla="*/ 9750 h 10000"/>
                <a:gd name="connsiteX821" fmla="*/ 1141 w 10000"/>
                <a:gd name="connsiteY821" fmla="*/ 9762 h 10000"/>
                <a:gd name="connsiteX822" fmla="*/ 1159 w 10000"/>
                <a:gd name="connsiteY822" fmla="*/ 9776 h 10000"/>
                <a:gd name="connsiteX823" fmla="*/ 1172 w 10000"/>
                <a:gd name="connsiteY823" fmla="*/ 9787 h 10000"/>
                <a:gd name="connsiteX824" fmla="*/ 1182 w 10000"/>
                <a:gd name="connsiteY824" fmla="*/ 9804 h 10000"/>
                <a:gd name="connsiteX825" fmla="*/ 1194 w 10000"/>
                <a:gd name="connsiteY825" fmla="*/ 9818 h 10000"/>
                <a:gd name="connsiteX826" fmla="*/ 1202 w 10000"/>
                <a:gd name="connsiteY826" fmla="*/ 9834 h 10000"/>
                <a:gd name="connsiteX827" fmla="*/ 1212 w 10000"/>
                <a:gd name="connsiteY827" fmla="*/ 9869 h 10000"/>
                <a:gd name="connsiteX828" fmla="*/ 1220 w 10000"/>
                <a:gd name="connsiteY828" fmla="*/ 9906 h 10000"/>
                <a:gd name="connsiteX829" fmla="*/ 1230 w 10000"/>
                <a:gd name="connsiteY829" fmla="*/ 9951 h 10000"/>
                <a:gd name="connsiteX830" fmla="*/ 1237 w 10000"/>
                <a:gd name="connsiteY830" fmla="*/ 10000 h 10000"/>
                <a:gd name="connsiteX831" fmla="*/ 1237 w 10000"/>
                <a:gd name="connsiteY83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68 w 10000"/>
                <a:gd name="connsiteY705" fmla="*/ 7265 h 10000"/>
                <a:gd name="connsiteX706" fmla="*/ 2285 w 10000"/>
                <a:gd name="connsiteY706" fmla="*/ 7265 h 10000"/>
                <a:gd name="connsiteX707" fmla="*/ 2298 w 10000"/>
                <a:gd name="connsiteY707" fmla="*/ 7270 h 10000"/>
                <a:gd name="connsiteX708" fmla="*/ 2311 w 10000"/>
                <a:gd name="connsiteY708" fmla="*/ 7277 h 10000"/>
                <a:gd name="connsiteX709" fmla="*/ 2328 w 10000"/>
                <a:gd name="connsiteY709" fmla="*/ 7293 h 10000"/>
                <a:gd name="connsiteX710" fmla="*/ 2364 w 10000"/>
                <a:gd name="connsiteY710" fmla="*/ 7335 h 10000"/>
                <a:gd name="connsiteX711" fmla="*/ 1990 w 10000"/>
                <a:gd name="connsiteY711" fmla="*/ 8422 h 10000"/>
                <a:gd name="connsiteX712" fmla="*/ 1904 w 10000"/>
                <a:gd name="connsiteY712" fmla="*/ 8481 h 10000"/>
                <a:gd name="connsiteX713" fmla="*/ 1856 w 10000"/>
                <a:gd name="connsiteY713" fmla="*/ 8506 h 10000"/>
                <a:gd name="connsiteX714" fmla="*/ 1816 w 10000"/>
                <a:gd name="connsiteY714" fmla="*/ 8527 h 10000"/>
                <a:gd name="connsiteX715" fmla="*/ 1793 w 10000"/>
                <a:gd name="connsiteY715" fmla="*/ 8539 h 10000"/>
                <a:gd name="connsiteX716" fmla="*/ 1775 w 10000"/>
                <a:gd name="connsiteY716" fmla="*/ 8546 h 10000"/>
                <a:gd name="connsiteX717" fmla="*/ 1758 w 10000"/>
                <a:gd name="connsiteY717" fmla="*/ 8548 h 10000"/>
                <a:gd name="connsiteX718" fmla="*/ 1742 w 10000"/>
                <a:gd name="connsiteY718" fmla="*/ 8551 h 10000"/>
                <a:gd name="connsiteX719" fmla="*/ 1727 w 10000"/>
                <a:gd name="connsiteY719" fmla="*/ 8537 h 10000"/>
                <a:gd name="connsiteX720" fmla="*/ 1717 w 10000"/>
                <a:gd name="connsiteY720" fmla="*/ 8518 h 10000"/>
                <a:gd name="connsiteX721" fmla="*/ 1684 w 10000"/>
                <a:gd name="connsiteY721" fmla="*/ 8429 h 10000"/>
                <a:gd name="connsiteX722" fmla="*/ 1525 w 10000"/>
                <a:gd name="connsiteY722" fmla="*/ 8186 h 10000"/>
                <a:gd name="connsiteX723" fmla="*/ 1500 w 10000"/>
                <a:gd name="connsiteY723" fmla="*/ 8191 h 10000"/>
                <a:gd name="connsiteX724" fmla="*/ 1472 w 10000"/>
                <a:gd name="connsiteY724" fmla="*/ 8198 h 10000"/>
                <a:gd name="connsiteX725" fmla="*/ 1434 w 10000"/>
                <a:gd name="connsiteY725" fmla="*/ 8223 h 10000"/>
                <a:gd name="connsiteX726" fmla="*/ 1149 w 10000"/>
                <a:gd name="connsiteY726" fmla="*/ 8256 h 10000"/>
                <a:gd name="connsiteX727" fmla="*/ 1139 w 10000"/>
                <a:gd name="connsiteY727" fmla="*/ 8249 h 10000"/>
                <a:gd name="connsiteX728" fmla="*/ 1126 w 10000"/>
                <a:gd name="connsiteY728" fmla="*/ 8240 h 10000"/>
                <a:gd name="connsiteX729" fmla="*/ 1114 w 10000"/>
                <a:gd name="connsiteY729" fmla="*/ 8240 h 10000"/>
                <a:gd name="connsiteX730" fmla="*/ 1091 w 10000"/>
                <a:gd name="connsiteY730" fmla="*/ 8242 h 10000"/>
                <a:gd name="connsiteX731" fmla="*/ 1071 w 10000"/>
                <a:gd name="connsiteY731" fmla="*/ 8252 h 10000"/>
                <a:gd name="connsiteX732" fmla="*/ 1048 w 10000"/>
                <a:gd name="connsiteY732" fmla="*/ 8261 h 10000"/>
                <a:gd name="connsiteX733" fmla="*/ 1030 w 10000"/>
                <a:gd name="connsiteY733" fmla="*/ 8273 h 10000"/>
                <a:gd name="connsiteX734" fmla="*/ 1010 w 10000"/>
                <a:gd name="connsiteY734" fmla="*/ 8287 h 10000"/>
                <a:gd name="connsiteX735" fmla="*/ 995 w 10000"/>
                <a:gd name="connsiteY735" fmla="*/ 8303 h 10000"/>
                <a:gd name="connsiteX736" fmla="*/ 975 w 10000"/>
                <a:gd name="connsiteY736" fmla="*/ 8322 h 10000"/>
                <a:gd name="connsiteX737" fmla="*/ 960 w 10000"/>
                <a:gd name="connsiteY737" fmla="*/ 8343 h 10000"/>
                <a:gd name="connsiteX738" fmla="*/ 927 w 10000"/>
                <a:gd name="connsiteY738" fmla="*/ 8380 h 10000"/>
                <a:gd name="connsiteX739" fmla="*/ 891 w 10000"/>
                <a:gd name="connsiteY739" fmla="*/ 8417 h 10000"/>
                <a:gd name="connsiteX740" fmla="*/ 874 w 10000"/>
                <a:gd name="connsiteY740" fmla="*/ 8436 h 10000"/>
                <a:gd name="connsiteX741" fmla="*/ 859 w 10000"/>
                <a:gd name="connsiteY741" fmla="*/ 8450 h 10000"/>
                <a:gd name="connsiteX742" fmla="*/ 838 w 10000"/>
                <a:gd name="connsiteY742" fmla="*/ 8462 h 10000"/>
                <a:gd name="connsiteX743" fmla="*/ 821 w 10000"/>
                <a:gd name="connsiteY743" fmla="*/ 8476 h 10000"/>
                <a:gd name="connsiteX744" fmla="*/ 742 w 10000"/>
                <a:gd name="connsiteY744" fmla="*/ 8562 h 10000"/>
                <a:gd name="connsiteX745" fmla="*/ 672 w 10000"/>
                <a:gd name="connsiteY745" fmla="*/ 8644 h 10000"/>
                <a:gd name="connsiteX746" fmla="*/ 639 w 10000"/>
                <a:gd name="connsiteY746" fmla="*/ 8684 h 10000"/>
                <a:gd name="connsiteX747" fmla="*/ 609 w 10000"/>
                <a:gd name="connsiteY747" fmla="*/ 8731 h 10000"/>
                <a:gd name="connsiteX748" fmla="*/ 583 w 10000"/>
                <a:gd name="connsiteY748" fmla="*/ 8777 h 10000"/>
                <a:gd name="connsiteX749" fmla="*/ 556 w 10000"/>
                <a:gd name="connsiteY749" fmla="*/ 8831 h 10000"/>
                <a:gd name="connsiteX750" fmla="*/ 545 w 10000"/>
                <a:gd name="connsiteY750" fmla="*/ 8852 h 10000"/>
                <a:gd name="connsiteX751" fmla="*/ 525 w 10000"/>
                <a:gd name="connsiteY751" fmla="*/ 8885 h 10000"/>
                <a:gd name="connsiteX752" fmla="*/ 503 w 10000"/>
                <a:gd name="connsiteY752" fmla="*/ 8925 h 10000"/>
                <a:gd name="connsiteX753" fmla="*/ 480 w 10000"/>
                <a:gd name="connsiteY753" fmla="*/ 8962 h 10000"/>
                <a:gd name="connsiteX754" fmla="*/ 465 w 10000"/>
                <a:gd name="connsiteY754" fmla="*/ 8981 h 10000"/>
                <a:gd name="connsiteX755" fmla="*/ 455 w 10000"/>
                <a:gd name="connsiteY755" fmla="*/ 8993 h 10000"/>
                <a:gd name="connsiteX756" fmla="*/ 444 w 10000"/>
                <a:gd name="connsiteY756" fmla="*/ 9000 h 10000"/>
                <a:gd name="connsiteX757" fmla="*/ 434 w 10000"/>
                <a:gd name="connsiteY757" fmla="*/ 9007 h 10000"/>
                <a:gd name="connsiteX758" fmla="*/ 432 w 10000"/>
                <a:gd name="connsiteY758" fmla="*/ 9007 h 10000"/>
                <a:gd name="connsiteX759" fmla="*/ 429 w 10000"/>
                <a:gd name="connsiteY759" fmla="*/ 9004 h 10000"/>
                <a:gd name="connsiteX760" fmla="*/ 427 w 10000"/>
                <a:gd name="connsiteY760" fmla="*/ 8997 h 10000"/>
                <a:gd name="connsiteX761" fmla="*/ 427 w 10000"/>
                <a:gd name="connsiteY761" fmla="*/ 8993 h 10000"/>
                <a:gd name="connsiteX762" fmla="*/ 424 w 10000"/>
                <a:gd name="connsiteY762" fmla="*/ 8976 h 10000"/>
                <a:gd name="connsiteX763" fmla="*/ 427 w 10000"/>
                <a:gd name="connsiteY763" fmla="*/ 8948 h 10000"/>
                <a:gd name="connsiteX764" fmla="*/ 437 w 10000"/>
                <a:gd name="connsiteY764" fmla="*/ 8913 h 10000"/>
                <a:gd name="connsiteX765" fmla="*/ 455 w 10000"/>
                <a:gd name="connsiteY765" fmla="*/ 8859 h 10000"/>
                <a:gd name="connsiteX766" fmla="*/ 462 w 10000"/>
                <a:gd name="connsiteY766" fmla="*/ 8834 h 10000"/>
                <a:gd name="connsiteX767" fmla="*/ 470 w 10000"/>
                <a:gd name="connsiteY767" fmla="*/ 8810 h 10000"/>
                <a:gd name="connsiteX768" fmla="*/ 472 w 10000"/>
                <a:gd name="connsiteY768" fmla="*/ 8794 h 10000"/>
                <a:gd name="connsiteX769" fmla="*/ 472 w 10000"/>
                <a:gd name="connsiteY769" fmla="*/ 8780 h 10000"/>
                <a:gd name="connsiteX770" fmla="*/ 462 w 10000"/>
                <a:gd name="connsiteY770" fmla="*/ 8784 h 10000"/>
                <a:gd name="connsiteX771" fmla="*/ 452 w 10000"/>
                <a:gd name="connsiteY771" fmla="*/ 8787 h 10000"/>
                <a:gd name="connsiteX772" fmla="*/ 437 w 10000"/>
                <a:gd name="connsiteY772" fmla="*/ 8794 h 10000"/>
                <a:gd name="connsiteX773" fmla="*/ 424 w 10000"/>
                <a:gd name="connsiteY773" fmla="*/ 8803 h 10000"/>
                <a:gd name="connsiteX774" fmla="*/ 394 w 10000"/>
                <a:gd name="connsiteY774" fmla="*/ 8829 h 10000"/>
                <a:gd name="connsiteX775" fmla="*/ 364 w 10000"/>
                <a:gd name="connsiteY775" fmla="*/ 8859 h 10000"/>
                <a:gd name="connsiteX776" fmla="*/ 311 w 10000"/>
                <a:gd name="connsiteY776" fmla="*/ 8922 h 10000"/>
                <a:gd name="connsiteX777" fmla="*/ 268 w 10000"/>
                <a:gd name="connsiteY777" fmla="*/ 8964 h 10000"/>
                <a:gd name="connsiteX778" fmla="*/ 205 w 10000"/>
                <a:gd name="connsiteY778" fmla="*/ 9016 h 10000"/>
                <a:gd name="connsiteX779" fmla="*/ 146 w 10000"/>
                <a:gd name="connsiteY779" fmla="*/ 9053 h 10000"/>
                <a:gd name="connsiteX780" fmla="*/ 139 w 10000"/>
                <a:gd name="connsiteY780" fmla="*/ 9063 h 10000"/>
                <a:gd name="connsiteX781" fmla="*/ 129 w 10000"/>
                <a:gd name="connsiteY781" fmla="*/ 9077 h 10000"/>
                <a:gd name="connsiteX782" fmla="*/ 126 w 10000"/>
                <a:gd name="connsiteY782" fmla="*/ 9086 h 10000"/>
                <a:gd name="connsiteX783" fmla="*/ 126 w 10000"/>
                <a:gd name="connsiteY783" fmla="*/ 9102 h 10000"/>
                <a:gd name="connsiteX784" fmla="*/ 129 w 10000"/>
                <a:gd name="connsiteY784" fmla="*/ 9116 h 10000"/>
                <a:gd name="connsiteX785" fmla="*/ 139 w 10000"/>
                <a:gd name="connsiteY785" fmla="*/ 9135 h 10000"/>
                <a:gd name="connsiteX786" fmla="*/ 149 w 10000"/>
                <a:gd name="connsiteY786" fmla="*/ 9151 h 10000"/>
                <a:gd name="connsiteX787" fmla="*/ 164 w 10000"/>
                <a:gd name="connsiteY787" fmla="*/ 9175 h 10000"/>
                <a:gd name="connsiteX788" fmla="*/ 184 w 10000"/>
                <a:gd name="connsiteY788" fmla="*/ 9196 h 10000"/>
                <a:gd name="connsiteX789" fmla="*/ 207 w 10000"/>
                <a:gd name="connsiteY789" fmla="*/ 9215 h 10000"/>
                <a:gd name="connsiteX790" fmla="*/ 227 w 10000"/>
                <a:gd name="connsiteY790" fmla="*/ 9233 h 10000"/>
                <a:gd name="connsiteX791" fmla="*/ 253 w 10000"/>
                <a:gd name="connsiteY791" fmla="*/ 9250 h 10000"/>
                <a:gd name="connsiteX792" fmla="*/ 303 w 10000"/>
                <a:gd name="connsiteY792" fmla="*/ 9282 h 10000"/>
                <a:gd name="connsiteX793" fmla="*/ 351 w 10000"/>
                <a:gd name="connsiteY793" fmla="*/ 9315 h 10000"/>
                <a:gd name="connsiteX794" fmla="*/ 414 w 10000"/>
                <a:gd name="connsiteY794" fmla="*/ 9364 h 10000"/>
                <a:gd name="connsiteX795" fmla="*/ 480 w 10000"/>
                <a:gd name="connsiteY795" fmla="*/ 9416 h 10000"/>
                <a:gd name="connsiteX796" fmla="*/ 513 w 10000"/>
                <a:gd name="connsiteY796" fmla="*/ 9437 h 10000"/>
                <a:gd name="connsiteX797" fmla="*/ 548 w 10000"/>
                <a:gd name="connsiteY797" fmla="*/ 9462 h 10000"/>
                <a:gd name="connsiteX798" fmla="*/ 581 w 10000"/>
                <a:gd name="connsiteY798" fmla="*/ 9483 h 10000"/>
                <a:gd name="connsiteX799" fmla="*/ 614 w 10000"/>
                <a:gd name="connsiteY799" fmla="*/ 9502 h 10000"/>
                <a:gd name="connsiteX800" fmla="*/ 641 w 10000"/>
                <a:gd name="connsiteY800" fmla="*/ 9525 h 10000"/>
                <a:gd name="connsiteX801" fmla="*/ 672 w 10000"/>
                <a:gd name="connsiteY801" fmla="*/ 9549 h 10000"/>
                <a:gd name="connsiteX802" fmla="*/ 702 w 10000"/>
                <a:gd name="connsiteY802" fmla="*/ 9568 h 10000"/>
                <a:gd name="connsiteX803" fmla="*/ 737 w 10000"/>
                <a:gd name="connsiteY803" fmla="*/ 9589 h 10000"/>
                <a:gd name="connsiteX804" fmla="*/ 770 w 10000"/>
                <a:gd name="connsiteY804" fmla="*/ 9605 h 10000"/>
                <a:gd name="connsiteX805" fmla="*/ 808 w 10000"/>
                <a:gd name="connsiteY805" fmla="*/ 9617 h 10000"/>
                <a:gd name="connsiteX806" fmla="*/ 843 w 10000"/>
                <a:gd name="connsiteY806" fmla="*/ 9624 h 10000"/>
                <a:gd name="connsiteX807" fmla="*/ 884 w 10000"/>
                <a:gd name="connsiteY807" fmla="*/ 9628 h 10000"/>
                <a:gd name="connsiteX808" fmla="*/ 902 w 10000"/>
                <a:gd name="connsiteY808" fmla="*/ 9628 h 10000"/>
                <a:gd name="connsiteX809" fmla="*/ 914 w 10000"/>
                <a:gd name="connsiteY809" fmla="*/ 9631 h 10000"/>
                <a:gd name="connsiteX810" fmla="*/ 932 w 10000"/>
                <a:gd name="connsiteY810" fmla="*/ 9638 h 10000"/>
                <a:gd name="connsiteX811" fmla="*/ 942 w 10000"/>
                <a:gd name="connsiteY811" fmla="*/ 9642 h 10000"/>
                <a:gd name="connsiteX812" fmla="*/ 967 w 10000"/>
                <a:gd name="connsiteY812" fmla="*/ 9652 h 10000"/>
                <a:gd name="connsiteX813" fmla="*/ 987 w 10000"/>
                <a:gd name="connsiteY813" fmla="*/ 9668 h 10000"/>
                <a:gd name="connsiteX814" fmla="*/ 1005 w 10000"/>
                <a:gd name="connsiteY814" fmla="*/ 9682 h 10000"/>
                <a:gd name="connsiteX815" fmla="*/ 1025 w 10000"/>
                <a:gd name="connsiteY815" fmla="*/ 9698 h 10000"/>
                <a:gd name="connsiteX816" fmla="*/ 1045 w 10000"/>
                <a:gd name="connsiteY816" fmla="*/ 9712 h 10000"/>
                <a:gd name="connsiteX817" fmla="*/ 1073 w 10000"/>
                <a:gd name="connsiteY817" fmla="*/ 9724 h 10000"/>
                <a:gd name="connsiteX818" fmla="*/ 1098 w 10000"/>
                <a:gd name="connsiteY818" fmla="*/ 9738 h 10000"/>
                <a:gd name="connsiteX819" fmla="*/ 1121 w 10000"/>
                <a:gd name="connsiteY819" fmla="*/ 9750 h 10000"/>
                <a:gd name="connsiteX820" fmla="*/ 1141 w 10000"/>
                <a:gd name="connsiteY820" fmla="*/ 9762 h 10000"/>
                <a:gd name="connsiteX821" fmla="*/ 1159 w 10000"/>
                <a:gd name="connsiteY821" fmla="*/ 9776 h 10000"/>
                <a:gd name="connsiteX822" fmla="*/ 1172 w 10000"/>
                <a:gd name="connsiteY822" fmla="*/ 9787 h 10000"/>
                <a:gd name="connsiteX823" fmla="*/ 1182 w 10000"/>
                <a:gd name="connsiteY823" fmla="*/ 9804 h 10000"/>
                <a:gd name="connsiteX824" fmla="*/ 1194 w 10000"/>
                <a:gd name="connsiteY824" fmla="*/ 9818 h 10000"/>
                <a:gd name="connsiteX825" fmla="*/ 1202 w 10000"/>
                <a:gd name="connsiteY825" fmla="*/ 9834 h 10000"/>
                <a:gd name="connsiteX826" fmla="*/ 1212 w 10000"/>
                <a:gd name="connsiteY826" fmla="*/ 9869 h 10000"/>
                <a:gd name="connsiteX827" fmla="*/ 1220 w 10000"/>
                <a:gd name="connsiteY827" fmla="*/ 9906 h 10000"/>
                <a:gd name="connsiteX828" fmla="*/ 1230 w 10000"/>
                <a:gd name="connsiteY828" fmla="*/ 9951 h 10000"/>
                <a:gd name="connsiteX829" fmla="*/ 1237 w 10000"/>
                <a:gd name="connsiteY829" fmla="*/ 10000 h 10000"/>
                <a:gd name="connsiteX830" fmla="*/ 1237 w 10000"/>
                <a:gd name="connsiteY83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298 w 10000"/>
                <a:gd name="connsiteY706" fmla="*/ 7270 h 10000"/>
                <a:gd name="connsiteX707" fmla="*/ 2311 w 10000"/>
                <a:gd name="connsiteY707" fmla="*/ 7277 h 10000"/>
                <a:gd name="connsiteX708" fmla="*/ 2328 w 10000"/>
                <a:gd name="connsiteY708" fmla="*/ 7293 h 10000"/>
                <a:gd name="connsiteX709" fmla="*/ 2364 w 10000"/>
                <a:gd name="connsiteY709" fmla="*/ 7335 h 10000"/>
                <a:gd name="connsiteX710" fmla="*/ 1990 w 10000"/>
                <a:gd name="connsiteY710" fmla="*/ 8422 h 10000"/>
                <a:gd name="connsiteX711" fmla="*/ 1904 w 10000"/>
                <a:gd name="connsiteY711" fmla="*/ 8481 h 10000"/>
                <a:gd name="connsiteX712" fmla="*/ 1856 w 10000"/>
                <a:gd name="connsiteY712" fmla="*/ 8506 h 10000"/>
                <a:gd name="connsiteX713" fmla="*/ 1816 w 10000"/>
                <a:gd name="connsiteY713" fmla="*/ 8527 h 10000"/>
                <a:gd name="connsiteX714" fmla="*/ 1793 w 10000"/>
                <a:gd name="connsiteY714" fmla="*/ 8539 h 10000"/>
                <a:gd name="connsiteX715" fmla="*/ 1775 w 10000"/>
                <a:gd name="connsiteY715" fmla="*/ 8546 h 10000"/>
                <a:gd name="connsiteX716" fmla="*/ 1758 w 10000"/>
                <a:gd name="connsiteY716" fmla="*/ 8548 h 10000"/>
                <a:gd name="connsiteX717" fmla="*/ 1742 w 10000"/>
                <a:gd name="connsiteY717" fmla="*/ 8551 h 10000"/>
                <a:gd name="connsiteX718" fmla="*/ 1727 w 10000"/>
                <a:gd name="connsiteY718" fmla="*/ 8537 h 10000"/>
                <a:gd name="connsiteX719" fmla="*/ 1717 w 10000"/>
                <a:gd name="connsiteY719" fmla="*/ 8518 h 10000"/>
                <a:gd name="connsiteX720" fmla="*/ 1684 w 10000"/>
                <a:gd name="connsiteY720" fmla="*/ 8429 h 10000"/>
                <a:gd name="connsiteX721" fmla="*/ 1525 w 10000"/>
                <a:gd name="connsiteY721" fmla="*/ 8186 h 10000"/>
                <a:gd name="connsiteX722" fmla="*/ 1500 w 10000"/>
                <a:gd name="connsiteY722" fmla="*/ 8191 h 10000"/>
                <a:gd name="connsiteX723" fmla="*/ 1472 w 10000"/>
                <a:gd name="connsiteY723" fmla="*/ 8198 h 10000"/>
                <a:gd name="connsiteX724" fmla="*/ 1434 w 10000"/>
                <a:gd name="connsiteY724" fmla="*/ 8223 h 10000"/>
                <a:gd name="connsiteX725" fmla="*/ 1149 w 10000"/>
                <a:gd name="connsiteY725" fmla="*/ 8256 h 10000"/>
                <a:gd name="connsiteX726" fmla="*/ 1139 w 10000"/>
                <a:gd name="connsiteY726" fmla="*/ 8249 h 10000"/>
                <a:gd name="connsiteX727" fmla="*/ 1126 w 10000"/>
                <a:gd name="connsiteY727" fmla="*/ 8240 h 10000"/>
                <a:gd name="connsiteX728" fmla="*/ 1114 w 10000"/>
                <a:gd name="connsiteY728" fmla="*/ 8240 h 10000"/>
                <a:gd name="connsiteX729" fmla="*/ 1091 w 10000"/>
                <a:gd name="connsiteY729" fmla="*/ 8242 h 10000"/>
                <a:gd name="connsiteX730" fmla="*/ 1071 w 10000"/>
                <a:gd name="connsiteY730" fmla="*/ 8252 h 10000"/>
                <a:gd name="connsiteX731" fmla="*/ 1048 w 10000"/>
                <a:gd name="connsiteY731" fmla="*/ 8261 h 10000"/>
                <a:gd name="connsiteX732" fmla="*/ 1030 w 10000"/>
                <a:gd name="connsiteY732" fmla="*/ 8273 h 10000"/>
                <a:gd name="connsiteX733" fmla="*/ 1010 w 10000"/>
                <a:gd name="connsiteY733" fmla="*/ 8287 h 10000"/>
                <a:gd name="connsiteX734" fmla="*/ 995 w 10000"/>
                <a:gd name="connsiteY734" fmla="*/ 8303 h 10000"/>
                <a:gd name="connsiteX735" fmla="*/ 975 w 10000"/>
                <a:gd name="connsiteY735" fmla="*/ 8322 h 10000"/>
                <a:gd name="connsiteX736" fmla="*/ 960 w 10000"/>
                <a:gd name="connsiteY736" fmla="*/ 8343 h 10000"/>
                <a:gd name="connsiteX737" fmla="*/ 927 w 10000"/>
                <a:gd name="connsiteY737" fmla="*/ 8380 h 10000"/>
                <a:gd name="connsiteX738" fmla="*/ 891 w 10000"/>
                <a:gd name="connsiteY738" fmla="*/ 8417 h 10000"/>
                <a:gd name="connsiteX739" fmla="*/ 874 w 10000"/>
                <a:gd name="connsiteY739" fmla="*/ 8436 h 10000"/>
                <a:gd name="connsiteX740" fmla="*/ 859 w 10000"/>
                <a:gd name="connsiteY740" fmla="*/ 8450 h 10000"/>
                <a:gd name="connsiteX741" fmla="*/ 838 w 10000"/>
                <a:gd name="connsiteY741" fmla="*/ 8462 h 10000"/>
                <a:gd name="connsiteX742" fmla="*/ 821 w 10000"/>
                <a:gd name="connsiteY742" fmla="*/ 8476 h 10000"/>
                <a:gd name="connsiteX743" fmla="*/ 742 w 10000"/>
                <a:gd name="connsiteY743" fmla="*/ 8562 h 10000"/>
                <a:gd name="connsiteX744" fmla="*/ 672 w 10000"/>
                <a:gd name="connsiteY744" fmla="*/ 8644 h 10000"/>
                <a:gd name="connsiteX745" fmla="*/ 639 w 10000"/>
                <a:gd name="connsiteY745" fmla="*/ 8684 h 10000"/>
                <a:gd name="connsiteX746" fmla="*/ 609 w 10000"/>
                <a:gd name="connsiteY746" fmla="*/ 8731 h 10000"/>
                <a:gd name="connsiteX747" fmla="*/ 583 w 10000"/>
                <a:gd name="connsiteY747" fmla="*/ 8777 h 10000"/>
                <a:gd name="connsiteX748" fmla="*/ 556 w 10000"/>
                <a:gd name="connsiteY748" fmla="*/ 8831 h 10000"/>
                <a:gd name="connsiteX749" fmla="*/ 545 w 10000"/>
                <a:gd name="connsiteY749" fmla="*/ 8852 h 10000"/>
                <a:gd name="connsiteX750" fmla="*/ 525 w 10000"/>
                <a:gd name="connsiteY750" fmla="*/ 8885 h 10000"/>
                <a:gd name="connsiteX751" fmla="*/ 503 w 10000"/>
                <a:gd name="connsiteY751" fmla="*/ 8925 h 10000"/>
                <a:gd name="connsiteX752" fmla="*/ 480 w 10000"/>
                <a:gd name="connsiteY752" fmla="*/ 8962 h 10000"/>
                <a:gd name="connsiteX753" fmla="*/ 465 w 10000"/>
                <a:gd name="connsiteY753" fmla="*/ 8981 h 10000"/>
                <a:gd name="connsiteX754" fmla="*/ 455 w 10000"/>
                <a:gd name="connsiteY754" fmla="*/ 8993 h 10000"/>
                <a:gd name="connsiteX755" fmla="*/ 444 w 10000"/>
                <a:gd name="connsiteY755" fmla="*/ 9000 h 10000"/>
                <a:gd name="connsiteX756" fmla="*/ 434 w 10000"/>
                <a:gd name="connsiteY756" fmla="*/ 9007 h 10000"/>
                <a:gd name="connsiteX757" fmla="*/ 432 w 10000"/>
                <a:gd name="connsiteY757" fmla="*/ 9007 h 10000"/>
                <a:gd name="connsiteX758" fmla="*/ 429 w 10000"/>
                <a:gd name="connsiteY758" fmla="*/ 9004 h 10000"/>
                <a:gd name="connsiteX759" fmla="*/ 427 w 10000"/>
                <a:gd name="connsiteY759" fmla="*/ 8997 h 10000"/>
                <a:gd name="connsiteX760" fmla="*/ 427 w 10000"/>
                <a:gd name="connsiteY760" fmla="*/ 8993 h 10000"/>
                <a:gd name="connsiteX761" fmla="*/ 424 w 10000"/>
                <a:gd name="connsiteY761" fmla="*/ 8976 h 10000"/>
                <a:gd name="connsiteX762" fmla="*/ 427 w 10000"/>
                <a:gd name="connsiteY762" fmla="*/ 8948 h 10000"/>
                <a:gd name="connsiteX763" fmla="*/ 437 w 10000"/>
                <a:gd name="connsiteY763" fmla="*/ 8913 h 10000"/>
                <a:gd name="connsiteX764" fmla="*/ 455 w 10000"/>
                <a:gd name="connsiteY764" fmla="*/ 8859 h 10000"/>
                <a:gd name="connsiteX765" fmla="*/ 462 w 10000"/>
                <a:gd name="connsiteY765" fmla="*/ 8834 h 10000"/>
                <a:gd name="connsiteX766" fmla="*/ 470 w 10000"/>
                <a:gd name="connsiteY766" fmla="*/ 8810 h 10000"/>
                <a:gd name="connsiteX767" fmla="*/ 472 w 10000"/>
                <a:gd name="connsiteY767" fmla="*/ 8794 h 10000"/>
                <a:gd name="connsiteX768" fmla="*/ 472 w 10000"/>
                <a:gd name="connsiteY768" fmla="*/ 8780 h 10000"/>
                <a:gd name="connsiteX769" fmla="*/ 462 w 10000"/>
                <a:gd name="connsiteY769" fmla="*/ 8784 h 10000"/>
                <a:gd name="connsiteX770" fmla="*/ 452 w 10000"/>
                <a:gd name="connsiteY770" fmla="*/ 8787 h 10000"/>
                <a:gd name="connsiteX771" fmla="*/ 437 w 10000"/>
                <a:gd name="connsiteY771" fmla="*/ 8794 h 10000"/>
                <a:gd name="connsiteX772" fmla="*/ 424 w 10000"/>
                <a:gd name="connsiteY772" fmla="*/ 8803 h 10000"/>
                <a:gd name="connsiteX773" fmla="*/ 394 w 10000"/>
                <a:gd name="connsiteY773" fmla="*/ 8829 h 10000"/>
                <a:gd name="connsiteX774" fmla="*/ 364 w 10000"/>
                <a:gd name="connsiteY774" fmla="*/ 8859 h 10000"/>
                <a:gd name="connsiteX775" fmla="*/ 311 w 10000"/>
                <a:gd name="connsiteY775" fmla="*/ 8922 h 10000"/>
                <a:gd name="connsiteX776" fmla="*/ 268 w 10000"/>
                <a:gd name="connsiteY776" fmla="*/ 8964 h 10000"/>
                <a:gd name="connsiteX777" fmla="*/ 205 w 10000"/>
                <a:gd name="connsiteY777" fmla="*/ 9016 h 10000"/>
                <a:gd name="connsiteX778" fmla="*/ 146 w 10000"/>
                <a:gd name="connsiteY778" fmla="*/ 9053 h 10000"/>
                <a:gd name="connsiteX779" fmla="*/ 139 w 10000"/>
                <a:gd name="connsiteY779" fmla="*/ 9063 h 10000"/>
                <a:gd name="connsiteX780" fmla="*/ 129 w 10000"/>
                <a:gd name="connsiteY780" fmla="*/ 9077 h 10000"/>
                <a:gd name="connsiteX781" fmla="*/ 126 w 10000"/>
                <a:gd name="connsiteY781" fmla="*/ 9086 h 10000"/>
                <a:gd name="connsiteX782" fmla="*/ 126 w 10000"/>
                <a:gd name="connsiteY782" fmla="*/ 9102 h 10000"/>
                <a:gd name="connsiteX783" fmla="*/ 129 w 10000"/>
                <a:gd name="connsiteY783" fmla="*/ 9116 h 10000"/>
                <a:gd name="connsiteX784" fmla="*/ 139 w 10000"/>
                <a:gd name="connsiteY784" fmla="*/ 9135 h 10000"/>
                <a:gd name="connsiteX785" fmla="*/ 149 w 10000"/>
                <a:gd name="connsiteY785" fmla="*/ 9151 h 10000"/>
                <a:gd name="connsiteX786" fmla="*/ 164 w 10000"/>
                <a:gd name="connsiteY786" fmla="*/ 9175 h 10000"/>
                <a:gd name="connsiteX787" fmla="*/ 184 w 10000"/>
                <a:gd name="connsiteY787" fmla="*/ 9196 h 10000"/>
                <a:gd name="connsiteX788" fmla="*/ 207 w 10000"/>
                <a:gd name="connsiteY788" fmla="*/ 9215 h 10000"/>
                <a:gd name="connsiteX789" fmla="*/ 227 w 10000"/>
                <a:gd name="connsiteY789" fmla="*/ 9233 h 10000"/>
                <a:gd name="connsiteX790" fmla="*/ 253 w 10000"/>
                <a:gd name="connsiteY790" fmla="*/ 9250 h 10000"/>
                <a:gd name="connsiteX791" fmla="*/ 303 w 10000"/>
                <a:gd name="connsiteY791" fmla="*/ 9282 h 10000"/>
                <a:gd name="connsiteX792" fmla="*/ 351 w 10000"/>
                <a:gd name="connsiteY792" fmla="*/ 9315 h 10000"/>
                <a:gd name="connsiteX793" fmla="*/ 414 w 10000"/>
                <a:gd name="connsiteY793" fmla="*/ 9364 h 10000"/>
                <a:gd name="connsiteX794" fmla="*/ 480 w 10000"/>
                <a:gd name="connsiteY794" fmla="*/ 9416 h 10000"/>
                <a:gd name="connsiteX795" fmla="*/ 513 w 10000"/>
                <a:gd name="connsiteY795" fmla="*/ 9437 h 10000"/>
                <a:gd name="connsiteX796" fmla="*/ 548 w 10000"/>
                <a:gd name="connsiteY796" fmla="*/ 9462 h 10000"/>
                <a:gd name="connsiteX797" fmla="*/ 581 w 10000"/>
                <a:gd name="connsiteY797" fmla="*/ 9483 h 10000"/>
                <a:gd name="connsiteX798" fmla="*/ 614 w 10000"/>
                <a:gd name="connsiteY798" fmla="*/ 9502 h 10000"/>
                <a:gd name="connsiteX799" fmla="*/ 641 w 10000"/>
                <a:gd name="connsiteY799" fmla="*/ 9525 h 10000"/>
                <a:gd name="connsiteX800" fmla="*/ 672 w 10000"/>
                <a:gd name="connsiteY800" fmla="*/ 9549 h 10000"/>
                <a:gd name="connsiteX801" fmla="*/ 702 w 10000"/>
                <a:gd name="connsiteY801" fmla="*/ 9568 h 10000"/>
                <a:gd name="connsiteX802" fmla="*/ 737 w 10000"/>
                <a:gd name="connsiteY802" fmla="*/ 9589 h 10000"/>
                <a:gd name="connsiteX803" fmla="*/ 770 w 10000"/>
                <a:gd name="connsiteY803" fmla="*/ 9605 h 10000"/>
                <a:gd name="connsiteX804" fmla="*/ 808 w 10000"/>
                <a:gd name="connsiteY804" fmla="*/ 9617 h 10000"/>
                <a:gd name="connsiteX805" fmla="*/ 843 w 10000"/>
                <a:gd name="connsiteY805" fmla="*/ 9624 h 10000"/>
                <a:gd name="connsiteX806" fmla="*/ 884 w 10000"/>
                <a:gd name="connsiteY806" fmla="*/ 9628 h 10000"/>
                <a:gd name="connsiteX807" fmla="*/ 902 w 10000"/>
                <a:gd name="connsiteY807" fmla="*/ 9628 h 10000"/>
                <a:gd name="connsiteX808" fmla="*/ 914 w 10000"/>
                <a:gd name="connsiteY808" fmla="*/ 9631 h 10000"/>
                <a:gd name="connsiteX809" fmla="*/ 932 w 10000"/>
                <a:gd name="connsiteY809" fmla="*/ 9638 h 10000"/>
                <a:gd name="connsiteX810" fmla="*/ 942 w 10000"/>
                <a:gd name="connsiteY810" fmla="*/ 9642 h 10000"/>
                <a:gd name="connsiteX811" fmla="*/ 967 w 10000"/>
                <a:gd name="connsiteY811" fmla="*/ 9652 h 10000"/>
                <a:gd name="connsiteX812" fmla="*/ 987 w 10000"/>
                <a:gd name="connsiteY812" fmla="*/ 9668 h 10000"/>
                <a:gd name="connsiteX813" fmla="*/ 1005 w 10000"/>
                <a:gd name="connsiteY813" fmla="*/ 9682 h 10000"/>
                <a:gd name="connsiteX814" fmla="*/ 1025 w 10000"/>
                <a:gd name="connsiteY814" fmla="*/ 9698 h 10000"/>
                <a:gd name="connsiteX815" fmla="*/ 1045 w 10000"/>
                <a:gd name="connsiteY815" fmla="*/ 9712 h 10000"/>
                <a:gd name="connsiteX816" fmla="*/ 1073 w 10000"/>
                <a:gd name="connsiteY816" fmla="*/ 9724 h 10000"/>
                <a:gd name="connsiteX817" fmla="*/ 1098 w 10000"/>
                <a:gd name="connsiteY817" fmla="*/ 9738 h 10000"/>
                <a:gd name="connsiteX818" fmla="*/ 1121 w 10000"/>
                <a:gd name="connsiteY818" fmla="*/ 9750 h 10000"/>
                <a:gd name="connsiteX819" fmla="*/ 1141 w 10000"/>
                <a:gd name="connsiteY819" fmla="*/ 9762 h 10000"/>
                <a:gd name="connsiteX820" fmla="*/ 1159 w 10000"/>
                <a:gd name="connsiteY820" fmla="*/ 9776 h 10000"/>
                <a:gd name="connsiteX821" fmla="*/ 1172 w 10000"/>
                <a:gd name="connsiteY821" fmla="*/ 9787 h 10000"/>
                <a:gd name="connsiteX822" fmla="*/ 1182 w 10000"/>
                <a:gd name="connsiteY822" fmla="*/ 9804 h 10000"/>
                <a:gd name="connsiteX823" fmla="*/ 1194 w 10000"/>
                <a:gd name="connsiteY823" fmla="*/ 9818 h 10000"/>
                <a:gd name="connsiteX824" fmla="*/ 1202 w 10000"/>
                <a:gd name="connsiteY824" fmla="*/ 9834 h 10000"/>
                <a:gd name="connsiteX825" fmla="*/ 1212 w 10000"/>
                <a:gd name="connsiteY825" fmla="*/ 9869 h 10000"/>
                <a:gd name="connsiteX826" fmla="*/ 1220 w 10000"/>
                <a:gd name="connsiteY826" fmla="*/ 9906 h 10000"/>
                <a:gd name="connsiteX827" fmla="*/ 1230 w 10000"/>
                <a:gd name="connsiteY827" fmla="*/ 9951 h 10000"/>
                <a:gd name="connsiteX828" fmla="*/ 1237 w 10000"/>
                <a:gd name="connsiteY828" fmla="*/ 10000 h 10000"/>
                <a:gd name="connsiteX829" fmla="*/ 1237 w 10000"/>
                <a:gd name="connsiteY82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2328 w 10000"/>
                <a:gd name="connsiteY707" fmla="*/ 7293 h 10000"/>
                <a:gd name="connsiteX708" fmla="*/ 2364 w 10000"/>
                <a:gd name="connsiteY708" fmla="*/ 7335 h 10000"/>
                <a:gd name="connsiteX709" fmla="*/ 1990 w 10000"/>
                <a:gd name="connsiteY709" fmla="*/ 8422 h 10000"/>
                <a:gd name="connsiteX710" fmla="*/ 1904 w 10000"/>
                <a:gd name="connsiteY710" fmla="*/ 8481 h 10000"/>
                <a:gd name="connsiteX711" fmla="*/ 1856 w 10000"/>
                <a:gd name="connsiteY711" fmla="*/ 8506 h 10000"/>
                <a:gd name="connsiteX712" fmla="*/ 1816 w 10000"/>
                <a:gd name="connsiteY712" fmla="*/ 8527 h 10000"/>
                <a:gd name="connsiteX713" fmla="*/ 1793 w 10000"/>
                <a:gd name="connsiteY713" fmla="*/ 8539 h 10000"/>
                <a:gd name="connsiteX714" fmla="*/ 1775 w 10000"/>
                <a:gd name="connsiteY714" fmla="*/ 8546 h 10000"/>
                <a:gd name="connsiteX715" fmla="*/ 1758 w 10000"/>
                <a:gd name="connsiteY715" fmla="*/ 8548 h 10000"/>
                <a:gd name="connsiteX716" fmla="*/ 1742 w 10000"/>
                <a:gd name="connsiteY716" fmla="*/ 8551 h 10000"/>
                <a:gd name="connsiteX717" fmla="*/ 1727 w 10000"/>
                <a:gd name="connsiteY717" fmla="*/ 8537 h 10000"/>
                <a:gd name="connsiteX718" fmla="*/ 1717 w 10000"/>
                <a:gd name="connsiteY718" fmla="*/ 8518 h 10000"/>
                <a:gd name="connsiteX719" fmla="*/ 1684 w 10000"/>
                <a:gd name="connsiteY719" fmla="*/ 8429 h 10000"/>
                <a:gd name="connsiteX720" fmla="*/ 1525 w 10000"/>
                <a:gd name="connsiteY720" fmla="*/ 8186 h 10000"/>
                <a:gd name="connsiteX721" fmla="*/ 1500 w 10000"/>
                <a:gd name="connsiteY721" fmla="*/ 8191 h 10000"/>
                <a:gd name="connsiteX722" fmla="*/ 1472 w 10000"/>
                <a:gd name="connsiteY722" fmla="*/ 8198 h 10000"/>
                <a:gd name="connsiteX723" fmla="*/ 1434 w 10000"/>
                <a:gd name="connsiteY723" fmla="*/ 8223 h 10000"/>
                <a:gd name="connsiteX724" fmla="*/ 1149 w 10000"/>
                <a:gd name="connsiteY724" fmla="*/ 8256 h 10000"/>
                <a:gd name="connsiteX725" fmla="*/ 1139 w 10000"/>
                <a:gd name="connsiteY725" fmla="*/ 8249 h 10000"/>
                <a:gd name="connsiteX726" fmla="*/ 1126 w 10000"/>
                <a:gd name="connsiteY726" fmla="*/ 8240 h 10000"/>
                <a:gd name="connsiteX727" fmla="*/ 1114 w 10000"/>
                <a:gd name="connsiteY727" fmla="*/ 8240 h 10000"/>
                <a:gd name="connsiteX728" fmla="*/ 1091 w 10000"/>
                <a:gd name="connsiteY728" fmla="*/ 8242 h 10000"/>
                <a:gd name="connsiteX729" fmla="*/ 1071 w 10000"/>
                <a:gd name="connsiteY729" fmla="*/ 8252 h 10000"/>
                <a:gd name="connsiteX730" fmla="*/ 1048 w 10000"/>
                <a:gd name="connsiteY730" fmla="*/ 8261 h 10000"/>
                <a:gd name="connsiteX731" fmla="*/ 1030 w 10000"/>
                <a:gd name="connsiteY731" fmla="*/ 8273 h 10000"/>
                <a:gd name="connsiteX732" fmla="*/ 1010 w 10000"/>
                <a:gd name="connsiteY732" fmla="*/ 8287 h 10000"/>
                <a:gd name="connsiteX733" fmla="*/ 995 w 10000"/>
                <a:gd name="connsiteY733" fmla="*/ 8303 h 10000"/>
                <a:gd name="connsiteX734" fmla="*/ 975 w 10000"/>
                <a:gd name="connsiteY734" fmla="*/ 8322 h 10000"/>
                <a:gd name="connsiteX735" fmla="*/ 960 w 10000"/>
                <a:gd name="connsiteY735" fmla="*/ 8343 h 10000"/>
                <a:gd name="connsiteX736" fmla="*/ 927 w 10000"/>
                <a:gd name="connsiteY736" fmla="*/ 8380 h 10000"/>
                <a:gd name="connsiteX737" fmla="*/ 891 w 10000"/>
                <a:gd name="connsiteY737" fmla="*/ 8417 h 10000"/>
                <a:gd name="connsiteX738" fmla="*/ 874 w 10000"/>
                <a:gd name="connsiteY738" fmla="*/ 8436 h 10000"/>
                <a:gd name="connsiteX739" fmla="*/ 859 w 10000"/>
                <a:gd name="connsiteY739" fmla="*/ 8450 h 10000"/>
                <a:gd name="connsiteX740" fmla="*/ 838 w 10000"/>
                <a:gd name="connsiteY740" fmla="*/ 8462 h 10000"/>
                <a:gd name="connsiteX741" fmla="*/ 821 w 10000"/>
                <a:gd name="connsiteY741" fmla="*/ 8476 h 10000"/>
                <a:gd name="connsiteX742" fmla="*/ 742 w 10000"/>
                <a:gd name="connsiteY742" fmla="*/ 8562 h 10000"/>
                <a:gd name="connsiteX743" fmla="*/ 672 w 10000"/>
                <a:gd name="connsiteY743" fmla="*/ 8644 h 10000"/>
                <a:gd name="connsiteX744" fmla="*/ 639 w 10000"/>
                <a:gd name="connsiteY744" fmla="*/ 8684 h 10000"/>
                <a:gd name="connsiteX745" fmla="*/ 609 w 10000"/>
                <a:gd name="connsiteY745" fmla="*/ 8731 h 10000"/>
                <a:gd name="connsiteX746" fmla="*/ 583 w 10000"/>
                <a:gd name="connsiteY746" fmla="*/ 8777 h 10000"/>
                <a:gd name="connsiteX747" fmla="*/ 556 w 10000"/>
                <a:gd name="connsiteY747" fmla="*/ 8831 h 10000"/>
                <a:gd name="connsiteX748" fmla="*/ 545 w 10000"/>
                <a:gd name="connsiteY748" fmla="*/ 8852 h 10000"/>
                <a:gd name="connsiteX749" fmla="*/ 525 w 10000"/>
                <a:gd name="connsiteY749" fmla="*/ 8885 h 10000"/>
                <a:gd name="connsiteX750" fmla="*/ 503 w 10000"/>
                <a:gd name="connsiteY750" fmla="*/ 8925 h 10000"/>
                <a:gd name="connsiteX751" fmla="*/ 480 w 10000"/>
                <a:gd name="connsiteY751" fmla="*/ 8962 h 10000"/>
                <a:gd name="connsiteX752" fmla="*/ 465 w 10000"/>
                <a:gd name="connsiteY752" fmla="*/ 8981 h 10000"/>
                <a:gd name="connsiteX753" fmla="*/ 455 w 10000"/>
                <a:gd name="connsiteY753" fmla="*/ 8993 h 10000"/>
                <a:gd name="connsiteX754" fmla="*/ 444 w 10000"/>
                <a:gd name="connsiteY754" fmla="*/ 9000 h 10000"/>
                <a:gd name="connsiteX755" fmla="*/ 434 w 10000"/>
                <a:gd name="connsiteY755" fmla="*/ 9007 h 10000"/>
                <a:gd name="connsiteX756" fmla="*/ 432 w 10000"/>
                <a:gd name="connsiteY756" fmla="*/ 9007 h 10000"/>
                <a:gd name="connsiteX757" fmla="*/ 429 w 10000"/>
                <a:gd name="connsiteY757" fmla="*/ 9004 h 10000"/>
                <a:gd name="connsiteX758" fmla="*/ 427 w 10000"/>
                <a:gd name="connsiteY758" fmla="*/ 8997 h 10000"/>
                <a:gd name="connsiteX759" fmla="*/ 427 w 10000"/>
                <a:gd name="connsiteY759" fmla="*/ 8993 h 10000"/>
                <a:gd name="connsiteX760" fmla="*/ 424 w 10000"/>
                <a:gd name="connsiteY760" fmla="*/ 8976 h 10000"/>
                <a:gd name="connsiteX761" fmla="*/ 427 w 10000"/>
                <a:gd name="connsiteY761" fmla="*/ 8948 h 10000"/>
                <a:gd name="connsiteX762" fmla="*/ 437 w 10000"/>
                <a:gd name="connsiteY762" fmla="*/ 8913 h 10000"/>
                <a:gd name="connsiteX763" fmla="*/ 455 w 10000"/>
                <a:gd name="connsiteY763" fmla="*/ 8859 h 10000"/>
                <a:gd name="connsiteX764" fmla="*/ 462 w 10000"/>
                <a:gd name="connsiteY764" fmla="*/ 8834 h 10000"/>
                <a:gd name="connsiteX765" fmla="*/ 470 w 10000"/>
                <a:gd name="connsiteY765" fmla="*/ 8810 h 10000"/>
                <a:gd name="connsiteX766" fmla="*/ 472 w 10000"/>
                <a:gd name="connsiteY766" fmla="*/ 8794 h 10000"/>
                <a:gd name="connsiteX767" fmla="*/ 472 w 10000"/>
                <a:gd name="connsiteY767" fmla="*/ 8780 h 10000"/>
                <a:gd name="connsiteX768" fmla="*/ 462 w 10000"/>
                <a:gd name="connsiteY768" fmla="*/ 8784 h 10000"/>
                <a:gd name="connsiteX769" fmla="*/ 452 w 10000"/>
                <a:gd name="connsiteY769" fmla="*/ 8787 h 10000"/>
                <a:gd name="connsiteX770" fmla="*/ 437 w 10000"/>
                <a:gd name="connsiteY770" fmla="*/ 8794 h 10000"/>
                <a:gd name="connsiteX771" fmla="*/ 424 w 10000"/>
                <a:gd name="connsiteY771" fmla="*/ 8803 h 10000"/>
                <a:gd name="connsiteX772" fmla="*/ 394 w 10000"/>
                <a:gd name="connsiteY772" fmla="*/ 8829 h 10000"/>
                <a:gd name="connsiteX773" fmla="*/ 364 w 10000"/>
                <a:gd name="connsiteY773" fmla="*/ 8859 h 10000"/>
                <a:gd name="connsiteX774" fmla="*/ 311 w 10000"/>
                <a:gd name="connsiteY774" fmla="*/ 8922 h 10000"/>
                <a:gd name="connsiteX775" fmla="*/ 268 w 10000"/>
                <a:gd name="connsiteY775" fmla="*/ 8964 h 10000"/>
                <a:gd name="connsiteX776" fmla="*/ 205 w 10000"/>
                <a:gd name="connsiteY776" fmla="*/ 9016 h 10000"/>
                <a:gd name="connsiteX777" fmla="*/ 146 w 10000"/>
                <a:gd name="connsiteY777" fmla="*/ 9053 h 10000"/>
                <a:gd name="connsiteX778" fmla="*/ 139 w 10000"/>
                <a:gd name="connsiteY778" fmla="*/ 9063 h 10000"/>
                <a:gd name="connsiteX779" fmla="*/ 129 w 10000"/>
                <a:gd name="connsiteY779" fmla="*/ 9077 h 10000"/>
                <a:gd name="connsiteX780" fmla="*/ 126 w 10000"/>
                <a:gd name="connsiteY780" fmla="*/ 9086 h 10000"/>
                <a:gd name="connsiteX781" fmla="*/ 126 w 10000"/>
                <a:gd name="connsiteY781" fmla="*/ 9102 h 10000"/>
                <a:gd name="connsiteX782" fmla="*/ 129 w 10000"/>
                <a:gd name="connsiteY782" fmla="*/ 9116 h 10000"/>
                <a:gd name="connsiteX783" fmla="*/ 139 w 10000"/>
                <a:gd name="connsiteY783" fmla="*/ 9135 h 10000"/>
                <a:gd name="connsiteX784" fmla="*/ 149 w 10000"/>
                <a:gd name="connsiteY784" fmla="*/ 9151 h 10000"/>
                <a:gd name="connsiteX785" fmla="*/ 164 w 10000"/>
                <a:gd name="connsiteY785" fmla="*/ 9175 h 10000"/>
                <a:gd name="connsiteX786" fmla="*/ 184 w 10000"/>
                <a:gd name="connsiteY786" fmla="*/ 9196 h 10000"/>
                <a:gd name="connsiteX787" fmla="*/ 207 w 10000"/>
                <a:gd name="connsiteY787" fmla="*/ 9215 h 10000"/>
                <a:gd name="connsiteX788" fmla="*/ 227 w 10000"/>
                <a:gd name="connsiteY788" fmla="*/ 9233 h 10000"/>
                <a:gd name="connsiteX789" fmla="*/ 253 w 10000"/>
                <a:gd name="connsiteY789" fmla="*/ 9250 h 10000"/>
                <a:gd name="connsiteX790" fmla="*/ 303 w 10000"/>
                <a:gd name="connsiteY790" fmla="*/ 9282 h 10000"/>
                <a:gd name="connsiteX791" fmla="*/ 351 w 10000"/>
                <a:gd name="connsiteY791" fmla="*/ 9315 h 10000"/>
                <a:gd name="connsiteX792" fmla="*/ 414 w 10000"/>
                <a:gd name="connsiteY792" fmla="*/ 9364 h 10000"/>
                <a:gd name="connsiteX793" fmla="*/ 480 w 10000"/>
                <a:gd name="connsiteY793" fmla="*/ 9416 h 10000"/>
                <a:gd name="connsiteX794" fmla="*/ 513 w 10000"/>
                <a:gd name="connsiteY794" fmla="*/ 9437 h 10000"/>
                <a:gd name="connsiteX795" fmla="*/ 548 w 10000"/>
                <a:gd name="connsiteY795" fmla="*/ 9462 h 10000"/>
                <a:gd name="connsiteX796" fmla="*/ 581 w 10000"/>
                <a:gd name="connsiteY796" fmla="*/ 9483 h 10000"/>
                <a:gd name="connsiteX797" fmla="*/ 614 w 10000"/>
                <a:gd name="connsiteY797" fmla="*/ 9502 h 10000"/>
                <a:gd name="connsiteX798" fmla="*/ 641 w 10000"/>
                <a:gd name="connsiteY798" fmla="*/ 9525 h 10000"/>
                <a:gd name="connsiteX799" fmla="*/ 672 w 10000"/>
                <a:gd name="connsiteY799" fmla="*/ 9549 h 10000"/>
                <a:gd name="connsiteX800" fmla="*/ 702 w 10000"/>
                <a:gd name="connsiteY800" fmla="*/ 9568 h 10000"/>
                <a:gd name="connsiteX801" fmla="*/ 737 w 10000"/>
                <a:gd name="connsiteY801" fmla="*/ 9589 h 10000"/>
                <a:gd name="connsiteX802" fmla="*/ 770 w 10000"/>
                <a:gd name="connsiteY802" fmla="*/ 9605 h 10000"/>
                <a:gd name="connsiteX803" fmla="*/ 808 w 10000"/>
                <a:gd name="connsiteY803" fmla="*/ 9617 h 10000"/>
                <a:gd name="connsiteX804" fmla="*/ 843 w 10000"/>
                <a:gd name="connsiteY804" fmla="*/ 9624 h 10000"/>
                <a:gd name="connsiteX805" fmla="*/ 884 w 10000"/>
                <a:gd name="connsiteY805" fmla="*/ 9628 h 10000"/>
                <a:gd name="connsiteX806" fmla="*/ 902 w 10000"/>
                <a:gd name="connsiteY806" fmla="*/ 9628 h 10000"/>
                <a:gd name="connsiteX807" fmla="*/ 914 w 10000"/>
                <a:gd name="connsiteY807" fmla="*/ 9631 h 10000"/>
                <a:gd name="connsiteX808" fmla="*/ 932 w 10000"/>
                <a:gd name="connsiteY808" fmla="*/ 9638 h 10000"/>
                <a:gd name="connsiteX809" fmla="*/ 942 w 10000"/>
                <a:gd name="connsiteY809" fmla="*/ 9642 h 10000"/>
                <a:gd name="connsiteX810" fmla="*/ 967 w 10000"/>
                <a:gd name="connsiteY810" fmla="*/ 9652 h 10000"/>
                <a:gd name="connsiteX811" fmla="*/ 987 w 10000"/>
                <a:gd name="connsiteY811" fmla="*/ 9668 h 10000"/>
                <a:gd name="connsiteX812" fmla="*/ 1005 w 10000"/>
                <a:gd name="connsiteY812" fmla="*/ 9682 h 10000"/>
                <a:gd name="connsiteX813" fmla="*/ 1025 w 10000"/>
                <a:gd name="connsiteY813" fmla="*/ 9698 h 10000"/>
                <a:gd name="connsiteX814" fmla="*/ 1045 w 10000"/>
                <a:gd name="connsiteY814" fmla="*/ 9712 h 10000"/>
                <a:gd name="connsiteX815" fmla="*/ 1073 w 10000"/>
                <a:gd name="connsiteY815" fmla="*/ 9724 h 10000"/>
                <a:gd name="connsiteX816" fmla="*/ 1098 w 10000"/>
                <a:gd name="connsiteY816" fmla="*/ 9738 h 10000"/>
                <a:gd name="connsiteX817" fmla="*/ 1121 w 10000"/>
                <a:gd name="connsiteY817" fmla="*/ 9750 h 10000"/>
                <a:gd name="connsiteX818" fmla="*/ 1141 w 10000"/>
                <a:gd name="connsiteY818" fmla="*/ 9762 h 10000"/>
                <a:gd name="connsiteX819" fmla="*/ 1159 w 10000"/>
                <a:gd name="connsiteY819" fmla="*/ 9776 h 10000"/>
                <a:gd name="connsiteX820" fmla="*/ 1172 w 10000"/>
                <a:gd name="connsiteY820" fmla="*/ 9787 h 10000"/>
                <a:gd name="connsiteX821" fmla="*/ 1182 w 10000"/>
                <a:gd name="connsiteY821" fmla="*/ 9804 h 10000"/>
                <a:gd name="connsiteX822" fmla="*/ 1194 w 10000"/>
                <a:gd name="connsiteY822" fmla="*/ 9818 h 10000"/>
                <a:gd name="connsiteX823" fmla="*/ 1202 w 10000"/>
                <a:gd name="connsiteY823" fmla="*/ 9834 h 10000"/>
                <a:gd name="connsiteX824" fmla="*/ 1212 w 10000"/>
                <a:gd name="connsiteY824" fmla="*/ 9869 h 10000"/>
                <a:gd name="connsiteX825" fmla="*/ 1220 w 10000"/>
                <a:gd name="connsiteY825" fmla="*/ 9906 h 10000"/>
                <a:gd name="connsiteX826" fmla="*/ 1230 w 10000"/>
                <a:gd name="connsiteY826" fmla="*/ 9951 h 10000"/>
                <a:gd name="connsiteX827" fmla="*/ 1237 w 10000"/>
                <a:gd name="connsiteY827" fmla="*/ 10000 h 10000"/>
                <a:gd name="connsiteX828" fmla="*/ 1237 w 10000"/>
                <a:gd name="connsiteY82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2328 w 10000"/>
                <a:gd name="connsiteY707" fmla="*/ 7293 h 10000"/>
                <a:gd name="connsiteX708" fmla="*/ 1990 w 10000"/>
                <a:gd name="connsiteY708" fmla="*/ 8422 h 10000"/>
                <a:gd name="connsiteX709" fmla="*/ 1904 w 10000"/>
                <a:gd name="connsiteY709" fmla="*/ 8481 h 10000"/>
                <a:gd name="connsiteX710" fmla="*/ 1856 w 10000"/>
                <a:gd name="connsiteY710" fmla="*/ 8506 h 10000"/>
                <a:gd name="connsiteX711" fmla="*/ 1816 w 10000"/>
                <a:gd name="connsiteY711" fmla="*/ 8527 h 10000"/>
                <a:gd name="connsiteX712" fmla="*/ 1793 w 10000"/>
                <a:gd name="connsiteY712" fmla="*/ 8539 h 10000"/>
                <a:gd name="connsiteX713" fmla="*/ 1775 w 10000"/>
                <a:gd name="connsiteY713" fmla="*/ 8546 h 10000"/>
                <a:gd name="connsiteX714" fmla="*/ 1758 w 10000"/>
                <a:gd name="connsiteY714" fmla="*/ 8548 h 10000"/>
                <a:gd name="connsiteX715" fmla="*/ 1742 w 10000"/>
                <a:gd name="connsiteY715" fmla="*/ 8551 h 10000"/>
                <a:gd name="connsiteX716" fmla="*/ 1727 w 10000"/>
                <a:gd name="connsiteY716" fmla="*/ 8537 h 10000"/>
                <a:gd name="connsiteX717" fmla="*/ 1717 w 10000"/>
                <a:gd name="connsiteY717" fmla="*/ 8518 h 10000"/>
                <a:gd name="connsiteX718" fmla="*/ 1684 w 10000"/>
                <a:gd name="connsiteY718" fmla="*/ 8429 h 10000"/>
                <a:gd name="connsiteX719" fmla="*/ 1525 w 10000"/>
                <a:gd name="connsiteY719" fmla="*/ 8186 h 10000"/>
                <a:gd name="connsiteX720" fmla="*/ 1500 w 10000"/>
                <a:gd name="connsiteY720" fmla="*/ 8191 h 10000"/>
                <a:gd name="connsiteX721" fmla="*/ 1472 w 10000"/>
                <a:gd name="connsiteY721" fmla="*/ 8198 h 10000"/>
                <a:gd name="connsiteX722" fmla="*/ 1434 w 10000"/>
                <a:gd name="connsiteY722" fmla="*/ 8223 h 10000"/>
                <a:gd name="connsiteX723" fmla="*/ 1149 w 10000"/>
                <a:gd name="connsiteY723" fmla="*/ 8256 h 10000"/>
                <a:gd name="connsiteX724" fmla="*/ 1139 w 10000"/>
                <a:gd name="connsiteY724" fmla="*/ 8249 h 10000"/>
                <a:gd name="connsiteX725" fmla="*/ 1126 w 10000"/>
                <a:gd name="connsiteY725" fmla="*/ 8240 h 10000"/>
                <a:gd name="connsiteX726" fmla="*/ 1114 w 10000"/>
                <a:gd name="connsiteY726" fmla="*/ 8240 h 10000"/>
                <a:gd name="connsiteX727" fmla="*/ 1091 w 10000"/>
                <a:gd name="connsiteY727" fmla="*/ 8242 h 10000"/>
                <a:gd name="connsiteX728" fmla="*/ 1071 w 10000"/>
                <a:gd name="connsiteY728" fmla="*/ 8252 h 10000"/>
                <a:gd name="connsiteX729" fmla="*/ 1048 w 10000"/>
                <a:gd name="connsiteY729" fmla="*/ 8261 h 10000"/>
                <a:gd name="connsiteX730" fmla="*/ 1030 w 10000"/>
                <a:gd name="connsiteY730" fmla="*/ 8273 h 10000"/>
                <a:gd name="connsiteX731" fmla="*/ 1010 w 10000"/>
                <a:gd name="connsiteY731" fmla="*/ 8287 h 10000"/>
                <a:gd name="connsiteX732" fmla="*/ 995 w 10000"/>
                <a:gd name="connsiteY732" fmla="*/ 8303 h 10000"/>
                <a:gd name="connsiteX733" fmla="*/ 975 w 10000"/>
                <a:gd name="connsiteY733" fmla="*/ 8322 h 10000"/>
                <a:gd name="connsiteX734" fmla="*/ 960 w 10000"/>
                <a:gd name="connsiteY734" fmla="*/ 8343 h 10000"/>
                <a:gd name="connsiteX735" fmla="*/ 927 w 10000"/>
                <a:gd name="connsiteY735" fmla="*/ 8380 h 10000"/>
                <a:gd name="connsiteX736" fmla="*/ 891 w 10000"/>
                <a:gd name="connsiteY736" fmla="*/ 8417 h 10000"/>
                <a:gd name="connsiteX737" fmla="*/ 874 w 10000"/>
                <a:gd name="connsiteY737" fmla="*/ 8436 h 10000"/>
                <a:gd name="connsiteX738" fmla="*/ 859 w 10000"/>
                <a:gd name="connsiteY738" fmla="*/ 8450 h 10000"/>
                <a:gd name="connsiteX739" fmla="*/ 838 w 10000"/>
                <a:gd name="connsiteY739" fmla="*/ 8462 h 10000"/>
                <a:gd name="connsiteX740" fmla="*/ 821 w 10000"/>
                <a:gd name="connsiteY740" fmla="*/ 8476 h 10000"/>
                <a:gd name="connsiteX741" fmla="*/ 742 w 10000"/>
                <a:gd name="connsiteY741" fmla="*/ 8562 h 10000"/>
                <a:gd name="connsiteX742" fmla="*/ 672 w 10000"/>
                <a:gd name="connsiteY742" fmla="*/ 8644 h 10000"/>
                <a:gd name="connsiteX743" fmla="*/ 639 w 10000"/>
                <a:gd name="connsiteY743" fmla="*/ 8684 h 10000"/>
                <a:gd name="connsiteX744" fmla="*/ 609 w 10000"/>
                <a:gd name="connsiteY744" fmla="*/ 8731 h 10000"/>
                <a:gd name="connsiteX745" fmla="*/ 583 w 10000"/>
                <a:gd name="connsiteY745" fmla="*/ 8777 h 10000"/>
                <a:gd name="connsiteX746" fmla="*/ 556 w 10000"/>
                <a:gd name="connsiteY746" fmla="*/ 8831 h 10000"/>
                <a:gd name="connsiteX747" fmla="*/ 545 w 10000"/>
                <a:gd name="connsiteY747" fmla="*/ 8852 h 10000"/>
                <a:gd name="connsiteX748" fmla="*/ 525 w 10000"/>
                <a:gd name="connsiteY748" fmla="*/ 8885 h 10000"/>
                <a:gd name="connsiteX749" fmla="*/ 503 w 10000"/>
                <a:gd name="connsiteY749" fmla="*/ 8925 h 10000"/>
                <a:gd name="connsiteX750" fmla="*/ 480 w 10000"/>
                <a:gd name="connsiteY750" fmla="*/ 8962 h 10000"/>
                <a:gd name="connsiteX751" fmla="*/ 465 w 10000"/>
                <a:gd name="connsiteY751" fmla="*/ 8981 h 10000"/>
                <a:gd name="connsiteX752" fmla="*/ 455 w 10000"/>
                <a:gd name="connsiteY752" fmla="*/ 8993 h 10000"/>
                <a:gd name="connsiteX753" fmla="*/ 444 w 10000"/>
                <a:gd name="connsiteY753" fmla="*/ 9000 h 10000"/>
                <a:gd name="connsiteX754" fmla="*/ 434 w 10000"/>
                <a:gd name="connsiteY754" fmla="*/ 9007 h 10000"/>
                <a:gd name="connsiteX755" fmla="*/ 432 w 10000"/>
                <a:gd name="connsiteY755" fmla="*/ 9007 h 10000"/>
                <a:gd name="connsiteX756" fmla="*/ 429 w 10000"/>
                <a:gd name="connsiteY756" fmla="*/ 9004 h 10000"/>
                <a:gd name="connsiteX757" fmla="*/ 427 w 10000"/>
                <a:gd name="connsiteY757" fmla="*/ 8997 h 10000"/>
                <a:gd name="connsiteX758" fmla="*/ 427 w 10000"/>
                <a:gd name="connsiteY758" fmla="*/ 8993 h 10000"/>
                <a:gd name="connsiteX759" fmla="*/ 424 w 10000"/>
                <a:gd name="connsiteY759" fmla="*/ 8976 h 10000"/>
                <a:gd name="connsiteX760" fmla="*/ 427 w 10000"/>
                <a:gd name="connsiteY760" fmla="*/ 8948 h 10000"/>
                <a:gd name="connsiteX761" fmla="*/ 437 w 10000"/>
                <a:gd name="connsiteY761" fmla="*/ 8913 h 10000"/>
                <a:gd name="connsiteX762" fmla="*/ 455 w 10000"/>
                <a:gd name="connsiteY762" fmla="*/ 8859 h 10000"/>
                <a:gd name="connsiteX763" fmla="*/ 462 w 10000"/>
                <a:gd name="connsiteY763" fmla="*/ 8834 h 10000"/>
                <a:gd name="connsiteX764" fmla="*/ 470 w 10000"/>
                <a:gd name="connsiteY764" fmla="*/ 8810 h 10000"/>
                <a:gd name="connsiteX765" fmla="*/ 472 w 10000"/>
                <a:gd name="connsiteY765" fmla="*/ 8794 h 10000"/>
                <a:gd name="connsiteX766" fmla="*/ 472 w 10000"/>
                <a:gd name="connsiteY766" fmla="*/ 8780 h 10000"/>
                <a:gd name="connsiteX767" fmla="*/ 462 w 10000"/>
                <a:gd name="connsiteY767" fmla="*/ 8784 h 10000"/>
                <a:gd name="connsiteX768" fmla="*/ 452 w 10000"/>
                <a:gd name="connsiteY768" fmla="*/ 8787 h 10000"/>
                <a:gd name="connsiteX769" fmla="*/ 437 w 10000"/>
                <a:gd name="connsiteY769" fmla="*/ 8794 h 10000"/>
                <a:gd name="connsiteX770" fmla="*/ 424 w 10000"/>
                <a:gd name="connsiteY770" fmla="*/ 8803 h 10000"/>
                <a:gd name="connsiteX771" fmla="*/ 394 w 10000"/>
                <a:gd name="connsiteY771" fmla="*/ 8829 h 10000"/>
                <a:gd name="connsiteX772" fmla="*/ 364 w 10000"/>
                <a:gd name="connsiteY772" fmla="*/ 8859 h 10000"/>
                <a:gd name="connsiteX773" fmla="*/ 311 w 10000"/>
                <a:gd name="connsiteY773" fmla="*/ 8922 h 10000"/>
                <a:gd name="connsiteX774" fmla="*/ 268 w 10000"/>
                <a:gd name="connsiteY774" fmla="*/ 8964 h 10000"/>
                <a:gd name="connsiteX775" fmla="*/ 205 w 10000"/>
                <a:gd name="connsiteY775" fmla="*/ 9016 h 10000"/>
                <a:gd name="connsiteX776" fmla="*/ 146 w 10000"/>
                <a:gd name="connsiteY776" fmla="*/ 9053 h 10000"/>
                <a:gd name="connsiteX777" fmla="*/ 139 w 10000"/>
                <a:gd name="connsiteY777" fmla="*/ 9063 h 10000"/>
                <a:gd name="connsiteX778" fmla="*/ 129 w 10000"/>
                <a:gd name="connsiteY778" fmla="*/ 9077 h 10000"/>
                <a:gd name="connsiteX779" fmla="*/ 126 w 10000"/>
                <a:gd name="connsiteY779" fmla="*/ 9086 h 10000"/>
                <a:gd name="connsiteX780" fmla="*/ 126 w 10000"/>
                <a:gd name="connsiteY780" fmla="*/ 9102 h 10000"/>
                <a:gd name="connsiteX781" fmla="*/ 129 w 10000"/>
                <a:gd name="connsiteY781" fmla="*/ 9116 h 10000"/>
                <a:gd name="connsiteX782" fmla="*/ 139 w 10000"/>
                <a:gd name="connsiteY782" fmla="*/ 9135 h 10000"/>
                <a:gd name="connsiteX783" fmla="*/ 149 w 10000"/>
                <a:gd name="connsiteY783" fmla="*/ 9151 h 10000"/>
                <a:gd name="connsiteX784" fmla="*/ 164 w 10000"/>
                <a:gd name="connsiteY784" fmla="*/ 9175 h 10000"/>
                <a:gd name="connsiteX785" fmla="*/ 184 w 10000"/>
                <a:gd name="connsiteY785" fmla="*/ 9196 h 10000"/>
                <a:gd name="connsiteX786" fmla="*/ 207 w 10000"/>
                <a:gd name="connsiteY786" fmla="*/ 9215 h 10000"/>
                <a:gd name="connsiteX787" fmla="*/ 227 w 10000"/>
                <a:gd name="connsiteY787" fmla="*/ 9233 h 10000"/>
                <a:gd name="connsiteX788" fmla="*/ 253 w 10000"/>
                <a:gd name="connsiteY788" fmla="*/ 9250 h 10000"/>
                <a:gd name="connsiteX789" fmla="*/ 303 w 10000"/>
                <a:gd name="connsiteY789" fmla="*/ 9282 h 10000"/>
                <a:gd name="connsiteX790" fmla="*/ 351 w 10000"/>
                <a:gd name="connsiteY790" fmla="*/ 9315 h 10000"/>
                <a:gd name="connsiteX791" fmla="*/ 414 w 10000"/>
                <a:gd name="connsiteY791" fmla="*/ 9364 h 10000"/>
                <a:gd name="connsiteX792" fmla="*/ 480 w 10000"/>
                <a:gd name="connsiteY792" fmla="*/ 9416 h 10000"/>
                <a:gd name="connsiteX793" fmla="*/ 513 w 10000"/>
                <a:gd name="connsiteY793" fmla="*/ 9437 h 10000"/>
                <a:gd name="connsiteX794" fmla="*/ 548 w 10000"/>
                <a:gd name="connsiteY794" fmla="*/ 9462 h 10000"/>
                <a:gd name="connsiteX795" fmla="*/ 581 w 10000"/>
                <a:gd name="connsiteY795" fmla="*/ 9483 h 10000"/>
                <a:gd name="connsiteX796" fmla="*/ 614 w 10000"/>
                <a:gd name="connsiteY796" fmla="*/ 9502 h 10000"/>
                <a:gd name="connsiteX797" fmla="*/ 641 w 10000"/>
                <a:gd name="connsiteY797" fmla="*/ 9525 h 10000"/>
                <a:gd name="connsiteX798" fmla="*/ 672 w 10000"/>
                <a:gd name="connsiteY798" fmla="*/ 9549 h 10000"/>
                <a:gd name="connsiteX799" fmla="*/ 702 w 10000"/>
                <a:gd name="connsiteY799" fmla="*/ 9568 h 10000"/>
                <a:gd name="connsiteX800" fmla="*/ 737 w 10000"/>
                <a:gd name="connsiteY800" fmla="*/ 9589 h 10000"/>
                <a:gd name="connsiteX801" fmla="*/ 770 w 10000"/>
                <a:gd name="connsiteY801" fmla="*/ 9605 h 10000"/>
                <a:gd name="connsiteX802" fmla="*/ 808 w 10000"/>
                <a:gd name="connsiteY802" fmla="*/ 9617 h 10000"/>
                <a:gd name="connsiteX803" fmla="*/ 843 w 10000"/>
                <a:gd name="connsiteY803" fmla="*/ 9624 h 10000"/>
                <a:gd name="connsiteX804" fmla="*/ 884 w 10000"/>
                <a:gd name="connsiteY804" fmla="*/ 9628 h 10000"/>
                <a:gd name="connsiteX805" fmla="*/ 902 w 10000"/>
                <a:gd name="connsiteY805" fmla="*/ 9628 h 10000"/>
                <a:gd name="connsiteX806" fmla="*/ 914 w 10000"/>
                <a:gd name="connsiteY806" fmla="*/ 9631 h 10000"/>
                <a:gd name="connsiteX807" fmla="*/ 932 w 10000"/>
                <a:gd name="connsiteY807" fmla="*/ 9638 h 10000"/>
                <a:gd name="connsiteX808" fmla="*/ 942 w 10000"/>
                <a:gd name="connsiteY808" fmla="*/ 9642 h 10000"/>
                <a:gd name="connsiteX809" fmla="*/ 967 w 10000"/>
                <a:gd name="connsiteY809" fmla="*/ 9652 h 10000"/>
                <a:gd name="connsiteX810" fmla="*/ 987 w 10000"/>
                <a:gd name="connsiteY810" fmla="*/ 9668 h 10000"/>
                <a:gd name="connsiteX811" fmla="*/ 1005 w 10000"/>
                <a:gd name="connsiteY811" fmla="*/ 9682 h 10000"/>
                <a:gd name="connsiteX812" fmla="*/ 1025 w 10000"/>
                <a:gd name="connsiteY812" fmla="*/ 9698 h 10000"/>
                <a:gd name="connsiteX813" fmla="*/ 1045 w 10000"/>
                <a:gd name="connsiteY813" fmla="*/ 9712 h 10000"/>
                <a:gd name="connsiteX814" fmla="*/ 1073 w 10000"/>
                <a:gd name="connsiteY814" fmla="*/ 9724 h 10000"/>
                <a:gd name="connsiteX815" fmla="*/ 1098 w 10000"/>
                <a:gd name="connsiteY815" fmla="*/ 9738 h 10000"/>
                <a:gd name="connsiteX816" fmla="*/ 1121 w 10000"/>
                <a:gd name="connsiteY816" fmla="*/ 9750 h 10000"/>
                <a:gd name="connsiteX817" fmla="*/ 1141 w 10000"/>
                <a:gd name="connsiteY817" fmla="*/ 9762 h 10000"/>
                <a:gd name="connsiteX818" fmla="*/ 1159 w 10000"/>
                <a:gd name="connsiteY818" fmla="*/ 9776 h 10000"/>
                <a:gd name="connsiteX819" fmla="*/ 1172 w 10000"/>
                <a:gd name="connsiteY819" fmla="*/ 9787 h 10000"/>
                <a:gd name="connsiteX820" fmla="*/ 1182 w 10000"/>
                <a:gd name="connsiteY820" fmla="*/ 9804 h 10000"/>
                <a:gd name="connsiteX821" fmla="*/ 1194 w 10000"/>
                <a:gd name="connsiteY821" fmla="*/ 9818 h 10000"/>
                <a:gd name="connsiteX822" fmla="*/ 1202 w 10000"/>
                <a:gd name="connsiteY822" fmla="*/ 9834 h 10000"/>
                <a:gd name="connsiteX823" fmla="*/ 1212 w 10000"/>
                <a:gd name="connsiteY823" fmla="*/ 9869 h 10000"/>
                <a:gd name="connsiteX824" fmla="*/ 1220 w 10000"/>
                <a:gd name="connsiteY824" fmla="*/ 9906 h 10000"/>
                <a:gd name="connsiteX825" fmla="*/ 1230 w 10000"/>
                <a:gd name="connsiteY825" fmla="*/ 9951 h 10000"/>
                <a:gd name="connsiteX826" fmla="*/ 1237 w 10000"/>
                <a:gd name="connsiteY826" fmla="*/ 10000 h 10000"/>
                <a:gd name="connsiteX827" fmla="*/ 1237 w 10000"/>
                <a:gd name="connsiteY82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90 w 10000"/>
                <a:gd name="connsiteY707" fmla="*/ 8422 h 10000"/>
                <a:gd name="connsiteX708" fmla="*/ 1904 w 10000"/>
                <a:gd name="connsiteY708" fmla="*/ 8481 h 10000"/>
                <a:gd name="connsiteX709" fmla="*/ 1856 w 10000"/>
                <a:gd name="connsiteY709" fmla="*/ 8506 h 10000"/>
                <a:gd name="connsiteX710" fmla="*/ 1816 w 10000"/>
                <a:gd name="connsiteY710" fmla="*/ 8527 h 10000"/>
                <a:gd name="connsiteX711" fmla="*/ 1793 w 10000"/>
                <a:gd name="connsiteY711" fmla="*/ 8539 h 10000"/>
                <a:gd name="connsiteX712" fmla="*/ 1775 w 10000"/>
                <a:gd name="connsiteY712" fmla="*/ 8546 h 10000"/>
                <a:gd name="connsiteX713" fmla="*/ 1758 w 10000"/>
                <a:gd name="connsiteY713" fmla="*/ 8548 h 10000"/>
                <a:gd name="connsiteX714" fmla="*/ 1742 w 10000"/>
                <a:gd name="connsiteY714" fmla="*/ 8551 h 10000"/>
                <a:gd name="connsiteX715" fmla="*/ 1727 w 10000"/>
                <a:gd name="connsiteY715" fmla="*/ 8537 h 10000"/>
                <a:gd name="connsiteX716" fmla="*/ 1717 w 10000"/>
                <a:gd name="connsiteY716" fmla="*/ 8518 h 10000"/>
                <a:gd name="connsiteX717" fmla="*/ 1684 w 10000"/>
                <a:gd name="connsiteY717" fmla="*/ 8429 h 10000"/>
                <a:gd name="connsiteX718" fmla="*/ 1525 w 10000"/>
                <a:gd name="connsiteY718" fmla="*/ 8186 h 10000"/>
                <a:gd name="connsiteX719" fmla="*/ 1500 w 10000"/>
                <a:gd name="connsiteY719" fmla="*/ 8191 h 10000"/>
                <a:gd name="connsiteX720" fmla="*/ 1472 w 10000"/>
                <a:gd name="connsiteY720" fmla="*/ 8198 h 10000"/>
                <a:gd name="connsiteX721" fmla="*/ 1434 w 10000"/>
                <a:gd name="connsiteY721" fmla="*/ 8223 h 10000"/>
                <a:gd name="connsiteX722" fmla="*/ 1149 w 10000"/>
                <a:gd name="connsiteY722" fmla="*/ 8256 h 10000"/>
                <a:gd name="connsiteX723" fmla="*/ 1139 w 10000"/>
                <a:gd name="connsiteY723" fmla="*/ 8249 h 10000"/>
                <a:gd name="connsiteX724" fmla="*/ 1126 w 10000"/>
                <a:gd name="connsiteY724" fmla="*/ 8240 h 10000"/>
                <a:gd name="connsiteX725" fmla="*/ 1114 w 10000"/>
                <a:gd name="connsiteY725" fmla="*/ 8240 h 10000"/>
                <a:gd name="connsiteX726" fmla="*/ 1091 w 10000"/>
                <a:gd name="connsiteY726" fmla="*/ 8242 h 10000"/>
                <a:gd name="connsiteX727" fmla="*/ 1071 w 10000"/>
                <a:gd name="connsiteY727" fmla="*/ 8252 h 10000"/>
                <a:gd name="connsiteX728" fmla="*/ 1048 w 10000"/>
                <a:gd name="connsiteY728" fmla="*/ 8261 h 10000"/>
                <a:gd name="connsiteX729" fmla="*/ 1030 w 10000"/>
                <a:gd name="connsiteY729" fmla="*/ 8273 h 10000"/>
                <a:gd name="connsiteX730" fmla="*/ 1010 w 10000"/>
                <a:gd name="connsiteY730" fmla="*/ 8287 h 10000"/>
                <a:gd name="connsiteX731" fmla="*/ 995 w 10000"/>
                <a:gd name="connsiteY731" fmla="*/ 8303 h 10000"/>
                <a:gd name="connsiteX732" fmla="*/ 975 w 10000"/>
                <a:gd name="connsiteY732" fmla="*/ 8322 h 10000"/>
                <a:gd name="connsiteX733" fmla="*/ 960 w 10000"/>
                <a:gd name="connsiteY733" fmla="*/ 8343 h 10000"/>
                <a:gd name="connsiteX734" fmla="*/ 927 w 10000"/>
                <a:gd name="connsiteY734" fmla="*/ 8380 h 10000"/>
                <a:gd name="connsiteX735" fmla="*/ 891 w 10000"/>
                <a:gd name="connsiteY735" fmla="*/ 8417 h 10000"/>
                <a:gd name="connsiteX736" fmla="*/ 874 w 10000"/>
                <a:gd name="connsiteY736" fmla="*/ 8436 h 10000"/>
                <a:gd name="connsiteX737" fmla="*/ 859 w 10000"/>
                <a:gd name="connsiteY737" fmla="*/ 8450 h 10000"/>
                <a:gd name="connsiteX738" fmla="*/ 838 w 10000"/>
                <a:gd name="connsiteY738" fmla="*/ 8462 h 10000"/>
                <a:gd name="connsiteX739" fmla="*/ 821 w 10000"/>
                <a:gd name="connsiteY739" fmla="*/ 8476 h 10000"/>
                <a:gd name="connsiteX740" fmla="*/ 742 w 10000"/>
                <a:gd name="connsiteY740" fmla="*/ 8562 h 10000"/>
                <a:gd name="connsiteX741" fmla="*/ 672 w 10000"/>
                <a:gd name="connsiteY741" fmla="*/ 8644 h 10000"/>
                <a:gd name="connsiteX742" fmla="*/ 639 w 10000"/>
                <a:gd name="connsiteY742" fmla="*/ 8684 h 10000"/>
                <a:gd name="connsiteX743" fmla="*/ 609 w 10000"/>
                <a:gd name="connsiteY743" fmla="*/ 8731 h 10000"/>
                <a:gd name="connsiteX744" fmla="*/ 583 w 10000"/>
                <a:gd name="connsiteY744" fmla="*/ 8777 h 10000"/>
                <a:gd name="connsiteX745" fmla="*/ 556 w 10000"/>
                <a:gd name="connsiteY745" fmla="*/ 8831 h 10000"/>
                <a:gd name="connsiteX746" fmla="*/ 545 w 10000"/>
                <a:gd name="connsiteY746" fmla="*/ 8852 h 10000"/>
                <a:gd name="connsiteX747" fmla="*/ 525 w 10000"/>
                <a:gd name="connsiteY747" fmla="*/ 8885 h 10000"/>
                <a:gd name="connsiteX748" fmla="*/ 503 w 10000"/>
                <a:gd name="connsiteY748" fmla="*/ 8925 h 10000"/>
                <a:gd name="connsiteX749" fmla="*/ 480 w 10000"/>
                <a:gd name="connsiteY749" fmla="*/ 8962 h 10000"/>
                <a:gd name="connsiteX750" fmla="*/ 465 w 10000"/>
                <a:gd name="connsiteY750" fmla="*/ 8981 h 10000"/>
                <a:gd name="connsiteX751" fmla="*/ 455 w 10000"/>
                <a:gd name="connsiteY751" fmla="*/ 8993 h 10000"/>
                <a:gd name="connsiteX752" fmla="*/ 444 w 10000"/>
                <a:gd name="connsiteY752" fmla="*/ 9000 h 10000"/>
                <a:gd name="connsiteX753" fmla="*/ 434 w 10000"/>
                <a:gd name="connsiteY753" fmla="*/ 9007 h 10000"/>
                <a:gd name="connsiteX754" fmla="*/ 432 w 10000"/>
                <a:gd name="connsiteY754" fmla="*/ 9007 h 10000"/>
                <a:gd name="connsiteX755" fmla="*/ 429 w 10000"/>
                <a:gd name="connsiteY755" fmla="*/ 9004 h 10000"/>
                <a:gd name="connsiteX756" fmla="*/ 427 w 10000"/>
                <a:gd name="connsiteY756" fmla="*/ 8997 h 10000"/>
                <a:gd name="connsiteX757" fmla="*/ 427 w 10000"/>
                <a:gd name="connsiteY757" fmla="*/ 8993 h 10000"/>
                <a:gd name="connsiteX758" fmla="*/ 424 w 10000"/>
                <a:gd name="connsiteY758" fmla="*/ 8976 h 10000"/>
                <a:gd name="connsiteX759" fmla="*/ 427 w 10000"/>
                <a:gd name="connsiteY759" fmla="*/ 8948 h 10000"/>
                <a:gd name="connsiteX760" fmla="*/ 437 w 10000"/>
                <a:gd name="connsiteY760" fmla="*/ 8913 h 10000"/>
                <a:gd name="connsiteX761" fmla="*/ 455 w 10000"/>
                <a:gd name="connsiteY761" fmla="*/ 8859 h 10000"/>
                <a:gd name="connsiteX762" fmla="*/ 462 w 10000"/>
                <a:gd name="connsiteY762" fmla="*/ 8834 h 10000"/>
                <a:gd name="connsiteX763" fmla="*/ 470 w 10000"/>
                <a:gd name="connsiteY763" fmla="*/ 8810 h 10000"/>
                <a:gd name="connsiteX764" fmla="*/ 472 w 10000"/>
                <a:gd name="connsiteY764" fmla="*/ 8794 h 10000"/>
                <a:gd name="connsiteX765" fmla="*/ 472 w 10000"/>
                <a:gd name="connsiteY765" fmla="*/ 8780 h 10000"/>
                <a:gd name="connsiteX766" fmla="*/ 462 w 10000"/>
                <a:gd name="connsiteY766" fmla="*/ 8784 h 10000"/>
                <a:gd name="connsiteX767" fmla="*/ 452 w 10000"/>
                <a:gd name="connsiteY767" fmla="*/ 8787 h 10000"/>
                <a:gd name="connsiteX768" fmla="*/ 437 w 10000"/>
                <a:gd name="connsiteY768" fmla="*/ 8794 h 10000"/>
                <a:gd name="connsiteX769" fmla="*/ 424 w 10000"/>
                <a:gd name="connsiteY769" fmla="*/ 8803 h 10000"/>
                <a:gd name="connsiteX770" fmla="*/ 394 w 10000"/>
                <a:gd name="connsiteY770" fmla="*/ 8829 h 10000"/>
                <a:gd name="connsiteX771" fmla="*/ 364 w 10000"/>
                <a:gd name="connsiteY771" fmla="*/ 8859 h 10000"/>
                <a:gd name="connsiteX772" fmla="*/ 311 w 10000"/>
                <a:gd name="connsiteY772" fmla="*/ 8922 h 10000"/>
                <a:gd name="connsiteX773" fmla="*/ 268 w 10000"/>
                <a:gd name="connsiteY773" fmla="*/ 8964 h 10000"/>
                <a:gd name="connsiteX774" fmla="*/ 205 w 10000"/>
                <a:gd name="connsiteY774" fmla="*/ 9016 h 10000"/>
                <a:gd name="connsiteX775" fmla="*/ 146 w 10000"/>
                <a:gd name="connsiteY775" fmla="*/ 9053 h 10000"/>
                <a:gd name="connsiteX776" fmla="*/ 139 w 10000"/>
                <a:gd name="connsiteY776" fmla="*/ 9063 h 10000"/>
                <a:gd name="connsiteX777" fmla="*/ 129 w 10000"/>
                <a:gd name="connsiteY777" fmla="*/ 9077 h 10000"/>
                <a:gd name="connsiteX778" fmla="*/ 126 w 10000"/>
                <a:gd name="connsiteY778" fmla="*/ 9086 h 10000"/>
                <a:gd name="connsiteX779" fmla="*/ 126 w 10000"/>
                <a:gd name="connsiteY779" fmla="*/ 9102 h 10000"/>
                <a:gd name="connsiteX780" fmla="*/ 129 w 10000"/>
                <a:gd name="connsiteY780" fmla="*/ 9116 h 10000"/>
                <a:gd name="connsiteX781" fmla="*/ 139 w 10000"/>
                <a:gd name="connsiteY781" fmla="*/ 9135 h 10000"/>
                <a:gd name="connsiteX782" fmla="*/ 149 w 10000"/>
                <a:gd name="connsiteY782" fmla="*/ 9151 h 10000"/>
                <a:gd name="connsiteX783" fmla="*/ 164 w 10000"/>
                <a:gd name="connsiteY783" fmla="*/ 9175 h 10000"/>
                <a:gd name="connsiteX784" fmla="*/ 184 w 10000"/>
                <a:gd name="connsiteY784" fmla="*/ 9196 h 10000"/>
                <a:gd name="connsiteX785" fmla="*/ 207 w 10000"/>
                <a:gd name="connsiteY785" fmla="*/ 9215 h 10000"/>
                <a:gd name="connsiteX786" fmla="*/ 227 w 10000"/>
                <a:gd name="connsiteY786" fmla="*/ 9233 h 10000"/>
                <a:gd name="connsiteX787" fmla="*/ 253 w 10000"/>
                <a:gd name="connsiteY787" fmla="*/ 9250 h 10000"/>
                <a:gd name="connsiteX788" fmla="*/ 303 w 10000"/>
                <a:gd name="connsiteY788" fmla="*/ 9282 h 10000"/>
                <a:gd name="connsiteX789" fmla="*/ 351 w 10000"/>
                <a:gd name="connsiteY789" fmla="*/ 9315 h 10000"/>
                <a:gd name="connsiteX790" fmla="*/ 414 w 10000"/>
                <a:gd name="connsiteY790" fmla="*/ 9364 h 10000"/>
                <a:gd name="connsiteX791" fmla="*/ 480 w 10000"/>
                <a:gd name="connsiteY791" fmla="*/ 9416 h 10000"/>
                <a:gd name="connsiteX792" fmla="*/ 513 w 10000"/>
                <a:gd name="connsiteY792" fmla="*/ 9437 h 10000"/>
                <a:gd name="connsiteX793" fmla="*/ 548 w 10000"/>
                <a:gd name="connsiteY793" fmla="*/ 9462 h 10000"/>
                <a:gd name="connsiteX794" fmla="*/ 581 w 10000"/>
                <a:gd name="connsiteY794" fmla="*/ 9483 h 10000"/>
                <a:gd name="connsiteX795" fmla="*/ 614 w 10000"/>
                <a:gd name="connsiteY795" fmla="*/ 9502 h 10000"/>
                <a:gd name="connsiteX796" fmla="*/ 641 w 10000"/>
                <a:gd name="connsiteY796" fmla="*/ 9525 h 10000"/>
                <a:gd name="connsiteX797" fmla="*/ 672 w 10000"/>
                <a:gd name="connsiteY797" fmla="*/ 9549 h 10000"/>
                <a:gd name="connsiteX798" fmla="*/ 702 w 10000"/>
                <a:gd name="connsiteY798" fmla="*/ 9568 h 10000"/>
                <a:gd name="connsiteX799" fmla="*/ 737 w 10000"/>
                <a:gd name="connsiteY799" fmla="*/ 9589 h 10000"/>
                <a:gd name="connsiteX800" fmla="*/ 770 w 10000"/>
                <a:gd name="connsiteY800" fmla="*/ 9605 h 10000"/>
                <a:gd name="connsiteX801" fmla="*/ 808 w 10000"/>
                <a:gd name="connsiteY801" fmla="*/ 9617 h 10000"/>
                <a:gd name="connsiteX802" fmla="*/ 843 w 10000"/>
                <a:gd name="connsiteY802" fmla="*/ 9624 h 10000"/>
                <a:gd name="connsiteX803" fmla="*/ 884 w 10000"/>
                <a:gd name="connsiteY803" fmla="*/ 9628 h 10000"/>
                <a:gd name="connsiteX804" fmla="*/ 902 w 10000"/>
                <a:gd name="connsiteY804" fmla="*/ 9628 h 10000"/>
                <a:gd name="connsiteX805" fmla="*/ 914 w 10000"/>
                <a:gd name="connsiteY805" fmla="*/ 9631 h 10000"/>
                <a:gd name="connsiteX806" fmla="*/ 932 w 10000"/>
                <a:gd name="connsiteY806" fmla="*/ 9638 h 10000"/>
                <a:gd name="connsiteX807" fmla="*/ 942 w 10000"/>
                <a:gd name="connsiteY807" fmla="*/ 9642 h 10000"/>
                <a:gd name="connsiteX808" fmla="*/ 967 w 10000"/>
                <a:gd name="connsiteY808" fmla="*/ 9652 h 10000"/>
                <a:gd name="connsiteX809" fmla="*/ 987 w 10000"/>
                <a:gd name="connsiteY809" fmla="*/ 9668 h 10000"/>
                <a:gd name="connsiteX810" fmla="*/ 1005 w 10000"/>
                <a:gd name="connsiteY810" fmla="*/ 9682 h 10000"/>
                <a:gd name="connsiteX811" fmla="*/ 1025 w 10000"/>
                <a:gd name="connsiteY811" fmla="*/ 9698 h 10000"/>
                <a:gd name="connsiteX812" fmla="*/ 1045 w 10000"/>
                <a:gd name="connsiteY812" fmla="*/ 9712 h 10000"/>
                <a:gd name="connsiteX813" fmla="*/ 1073 w 10000"/>
                <a:gd name="connsiteY813" fmla="*/ 9724 h 10000"/>
                <a:gd name="connsiteX814" fmla="*/ 1098 w 10000"/>
                <a:gd name="connsiteY814" fmla="*/ 9738 h 10000"/>
                <a:gd name="connsiteX815" fmla="*/ 1121 w 10000"/>
                <a:gd name="connsiteY815" fmla="*/ 9750 h 10000"/>
                <a:gd name="connsiteX816" fmla="*/ 1141 w 10000"/>
                <a:gd name="connsiteY816" fmla="*/ 9762 h 10000"/>
                <a:gd name="connsiteX817" fmla="*/ 1159 w 10000"/>
                <a:gd name="connsiteY817" fmla="*/ 9776 h 10000"/>
                <a:gd name="connsiteX818" fmla="*/ 1172 w 10000"/>
                <a:gd name="connsiteY818" fmla="*/ 9787 h 10000"/>
                <a:gd name="connsiteX819" fmla="*/ 1182 w 10000"/>
                <a:gd name="connsiteY819" fmla="*/ 9804 h 10000"/>
                <a:gd name="connsiteX820" fmla="*/ 1194 w 10000"/>
                <a:gd name="connsiteY820" fmla="*/ 9818 h 10000"/>
                <a:gd name="connsiteX821" fmla="*/ 1202 w 10000"/>
                <a:gd name="connsiteY821" fmla="*/ 9834 h 10000"/>
                <a:gd name="connsiteX822" fmla="*/ 1212 w 10000"/>
                <a:gd name="connsiteY822" fmla="*/ 9869 h 10000"/>
                <a:gd name="connsiteX823" fmla="*/ 1220 w 10000"/>
                <a:gd name="connsiteY823" fmla="*/ 9906 h 10000"/>
                <a:gd name="connsiteX824" fmla="*/ 1230 w 10000"/>
                <a:gd name="connsiteY824" fmla="*/ 9951 h 10000"/>
                <a:gd name="connsiteX825" fmla="*/ 1237 w 10000"/>
                <a:gd name="connsiteY825" fmla="*/ 10000 h 10000"/>
                <a:gd name="connsiteX826" fmla="*/ 1237 w 10000"/>
                <a:gd name="connsiteY82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75 w 10000"/>
                <a:gd name="connsiteY711" fmla="*/ 8546 h 10000"/>
                <a:gd name="connsiteX712" fmla="*/ 1758 w 10000"/>
                <a:gd name="connsiteY712" fmla="*/ 8548 h 10000"/>
                <a:gd name="connsiteX713" fmla="*/ 1742 w 10000"/>
                <a:gd name="connsiteY713" fmla="*/ 8551 h 10000"/>
                <a:gd name="connsiteX714" fmla="*/ 1727 w 10000"/>
                <a:gd name="connsiteY714" fmla="*/ 8537 h 10000"/>
                <a:gd name="connsiteX715" fmla="*/ 1717 w 10000"/>
                <a:gd name="connsiteY715" fmla="*/ 8518 h 10000"/>
                <a:gd name="connsiteX716" fmla="*/ 1684 w 10000"/>
                <a:gd name="connsiteY716" fmla="*/ 8429 h 10000"/>
                <a:gd name="connsiteX717" fmla="*/ 1525 w 10000"/>
                <a:gd name="connsiteY717" fmla="*/ 8186 h 10000"/>
                <a:gd name="connsiteX718" fmla="*/ 1500 w 10000"/>
                <a:gd name="connsiteY718" fmla="*/ 8191 h 10000"/>
                <a:gd name="connsiteX719" fmla="*/ 1472 w 10000"/>
                <a:gd name="connsiteY719" fmla="*/ 8198 h 10000"/>
                <a:gd name="connsiteX720" fmla="*/ 1434 w 10000"/>
                <a:gd name="connsiteY720" fmla="*/ 8223 h 10000"/>
                <a:gd name="connsiteX721" fmla="*/ 1149 w 10000"/>
                <a:gd name="connsiteY721" fmla="*/ 8256 h 10000"/>
                <a:gd name="connsiteX722" fmla="*/ 1139 w 10000"/>
                <a:gd name="connsiteY722" fmla="*/ 8249 h 10000"/>
                <a:gd name="connsiteX723" fmla="*/ 1126 w 10000"/>
                <a:gd name="connsiteY723" fmla="*/ 8240 h 10000"/>
                <a:gd name="connsiteX724" fmla="*/ 1114 w 10000"/>
                <a:gd name="connsiteY724" fmla="*/ 8240 h 10000"/>
                <a:gd name="connsiteX725" fmla="*/ 1091 w 10000"/>
                <a:gd name="connsiteY725" fmla="*/ 8242 h 10000"/>
                <a:gd name="connsiteX726" fmla="*/ 1071 w 10000"/>
                <a:gd name="connsiteY726" fmla="*/ 8252 h 10000"/>
                <a:gd name="connsiteX727" fmla="*/ 1048 w 10000"/>
                <a:gd name="connsiteY727" fmla="*/ 8261 h 10000"/>
                <a:gd name="connsiteX728" fmla="*/ 1030 w 10000"/>
                <a:gd name="connsiteY728" fmla="*/ 8273 h 10000"/>
                <a:gd name="connsiteX729" fmla="*/ 1010 w 10000"/>
                <a:gd name="connsiteY729" fmla="*/ 8287 h 10000"/>
                <a:gd name="connsiteX730" fmla="*/ 995 w 10000"/>
                <a:gd name="connsiteY730" fmla="*/ 8303 h 10000"/>
                <a:gd name="connsiteX731" fmla="*/ 975 w 10000"/>
                <a:gd name="connsiteY731" fmla="*/ 8322 h 10000"/>
                <a:gd name="connsiteX732" fmla="*/ 960 w 10000"/>
                <a:gd name="connsiteY732" fmla="*/ 8343 h 10000"/>
                <a:gd name="connsiteX733" fmla="*/ 927 w 10000"/>
                <a:gd name="connsiteY733" fmla="*/ 8380 h 10000"/>
                <a:gd name="connsiteX734" fmla="*/ 891 w 10000"/>
                <a:gd name="connsiteY734" fmla="*/ 8417 h 10000"/>
                <a:gd name="connsiteX735" fmla="*/ 874 w 10000"/>
                <a:gd name="connsiteY735" fmla="*/ 8436 h 10000"/>
                <a:gd name="connsiteX736" fmla="*/ 859 w 10000"/>
                <a:gd name="connsiteY736" fmla="*/ 8450 h 10000"/>
                <a:gd name="connsiteX737" fmla="*/ 838 w 10000"/>
                <a:gd name="connsiteY737" fmla="*/ 8462 h 10000"/>
                <a:gd name="connsiteX738" fmla="*/ 821 w 10000"/>
                <a:gd name="connsiteY738" fmla="*/ 8476 h 10000"/>
                <a:gd name="connsiteX739" fmla="*/ 742 w 10000"/>
                <a:gd name="connsiteY739" fmla="*/ 8562 h 10000"/>
                <a:gd name="connsiteX740" fmla="*/ 672 w 10000"/>
                <a:gd name="connsiteY740" fmla="*/ 8644 h 10000"/>
                <a:gd name="connsiteX741" fmla="*/ 639 w 10000"/>
                <a:gd name="connsiteY741" fmla="*/ 8684 h 10000"/>
                <a:gd name="connsiteX742" fmla="*/ 609 w 10000"/>
                <a:gd name="connsiteY742" fmla="*/ 8731 h 10000"/>
                <a:gd name="connsiteX743" fmla="*/ 583 w 10000"/>
                <a:gd name="connsiteY743" fmla="*/ 8777 h 10000"/>
                <a:gd name="connsiteX744" fmla="*/ 556 w 10000"/>
                <a:gd name="connsiteY744" fmla="*/ 8831 h 10000"/>
                <a:gd name="connsiteX745" fmla="*/ 545 w 10000"/>
                <a:gd name="connsiteY745" fmla="*/ 8852 h 10000"/>
                <a:gd name="connsiteX746" fmla="*/ 525 w 10000"/>
                <a:gd name="connsiteY746" fmla="*/ 8885 h 10000"/>
                <a:gd name="connsiteX747" fmla="*/ 503 w 10000"/>
                <a:gd name="connsiteY747" fmla="*/ 8925 h 10000"/>
                <a:gd name="connsiteX748" fmla="*/ 480 w 10000"/>
                <a:gd name="connsiteY748" fmla="*/ 8962 h 10000"/>
                <a:gd name="connsiteX749" fmla="*/ 465 w 10000"/>
                <a:gd name="connsiteY749" fmla="*/ 8981 h 10000"/>
                <a:gd name="connsiteX750" fmla="*/ 455 w 10000"/>
                <a:gd name="connsiteY750" fmla="*/ 8993 h 10000"/>
                <a:gd name="connsiteX751" fmla="*/ 444 w 10000"/>
                <a:gd name="connsiteY751" fmla="*/ 9000 h 10000"/>
                <a:gd name="connsiteX752" fmla="*/ 434 w 10000"/>
                <a:gd name="connsiteY752" fmla="*/ 9007 h 10000"/>
                <a:gd name="connsiteX753" fmla="*/ 432 w 10000"/>
                <a:gd name="connsiteY753" fmla="*/ 9007 h 10000"/>
                <a:gd name="connsiteX754" fmla="*/ 429 w 10000"/>
                <a:gd name="connsiteY754" fmla="*/ 9004 h 10000"/>
                <a:gd name="connsiteX755" fmla="*/ 427 w 10000"/>
                <a:gd name="connsiteY755" fmla="*/ 8997 h 10000"/>
                <a:gd name="connsiteX756" fmla="*/ 427 w 10000"/>
                <a:gd name="connsiteY756" fmla="*/ 8993 h 10000"/>
                <a:gd name="connsiteX757" fmla="*/ 424 w 10000"/>
                <a:gd name="connsiteY757" fmla="*/ 8976 h 10000"/>
                <a:gd name="connsiteX758" fmla="*/ 427 w 10000"/>
                <a:gd name="connsiteY758" fmla="*/ 8948 h 10000"/>
                <a:gd name="connsiteX759" fmla="*/ 437 w 10000"/>
                <a:gd name="connsiteY759" fmla="*/ 8913 h 10000"/>
                <a:gd name="connsiteX760" fmla="*/ 455 w 10000"/>
                <a:gd name="connsiteY760" fmla="*/ 8859 h 10000"/>
                <a:gd name="connsiteX761" fmla="*/ 462 w 10000"/>
                <a:gd name="connsiteY761" fmla="*/ 8834 h 10000"/>
                <a:gd name="connsiteX762" fmla="*/ 470 w 10000"/>
                <a:gd name="connsiteY762" fmla="*/ 8810 h 10000"/>
                <a:gd name="connsiteX763" fmla="*/ 472 w 10000"/>
                <a:gd name="connsiteY763" fmla="*/ 8794 h 10000"/>
                <a:gd name="connsiteX764" fmla="*/ 472 w 10000"/>
                <a:gd name="connsiteY764" fmla="*/ 8780 h 10000"/>
                <a:gd name="connsiteX765" fmla="*/ 462 w 10000"/>
                <a:gd name="connsiteY765" fmla="*/ 8784 h 10000"/>
                <a:gd name="connsiteX766" fmla="*/ 452 w 10000"/>
                <a:gd name="connsiteY766" fmla="*/ 8787 h 10000"/>
                <a:gd name="connsiteX767" fmla="*/ 437 w 10000"/>
                <a:gd name="connsiteY767" fmla="*/ 8794 h 10000"/>
                <a:gd name="connsiteX768" fmla="*/ 424 w 10000"/>
                <a:gd name="connsiteY768" fmla="*/ 8803 h 10000"/>
                <a:gd name="connsiteX769" fmla="*/ 394 w 10000"/>
                <a:gd name="connsiteY769" fmla="*/ 8829 h 10000"/>
                <a:gd name="connsiteX770" fmla="*/ 364 w 10000"/>
                <a:gd name="connsiteY770" fmla="*/ 8859 h 10000"/>
                <a:gd name="connsiteX771" fmla="*/ 311 w 10000"/>
                <a:gd name="connsiteY771" fmla="*/ 8922 h 10000"/>
                <a:gd name="connsiteX772" fmla="*/ 268 w 10000"/>
                <a:gd name="connsiteY772" fmla="*/ 8964 h 10000"/>
                <a:gd name="connsiteX773" fmla="*/ 205 w 10000"/>
                <a:gd name="connsiteY773" fmla="*/ 9016 h 10000"/>
                <a:gd name="connsiteX774" fmla="*/ 146 w 10000"/>
                <a:gd name="connsiteY774" fmla="*/ 9053 h 10000"/>
                <a:gd name="connsiteX775" fmla="*/ 139 w 10000"/>
                <a:gd name="connsiteY775" fmla="*/ 9063 h 10000"/>
                <a:gd name="connsiteX776" fmla="*/ 129 w 10000"/>
                <a:gd name="connsiteY776" fmla="*/ 9077 h 10000"/>
                <a:gd name="connsiteX777" fmla="*/ 126 w 10000"/>
                <a:gd name="connsiteY777" fmla="*/ 9086 h 10000"/>
                <a:gd name="connsiteX778" fmla="*/ 126 w 10000"/>
                <a:gd name="connsiteY778" fmla="*/ 9102 h 10000"/>
                <a:gd name="connsiteX779" fmla="*/ 129 w 10000"/>
                <a:gd name="connsiteY779" fmla="*/ 9116 h 10000"/>
                <a:gd name="connsiteX780" fmla="*/ 139 w 10000"/>
                <a:gd name="connsiteY780" fmla="*/ 9135 h 10000"/>
                <a:gd name="connsiteX781" fmla="*/ 149 w 10000"/>
                <a:gd name="connsiteY781" fmla="*/ 9151 h 10000"/>
                <a:gd name="connsiteX782" fmla="*/ 164 w 10000"/>
                <a:gd name="connsiteY782" fmla="*/ 9175 h 10000"/>
                <a:gd name="connsiteX783" fmla="*/ 184 w 10000"/>
                <a:gd name="connsiteY783" fmla="*/ 9196 h 10000"/>
                <a:gd name="connsiteX784" fmla="*/ 207 w 10000"/>
                <a:gd name="connsiteY784" fmla="*/ 9215 h 10000"/>
                <a:gd name="connsiteX785" fmla="*/ 227 w 10000"/>
                <a:gd name="connsiteY785" fmla="*/ 9233 h 10000"/>
                <a:gd name="connsiteX786" fmla="*/ 253 w 10000"/>
                <a:gd name="connsiteY786" fmla="*/ 9250 h 10000"/>
                <a:gd name="connsiteX787" fmla="*/ 303 w 10000"/>
                <a:gd name="connsiteY787" fmla="*/ 9282 h 10000"/>
                <a:gd name="connsiteX788" fmla="*/ 351 w 10000"/>
                <a:gd name="connsiteY788" fmla="*/ 9315 h 10000"/>
                <a:gd name="connsiteX789" fmla="*/ 414 w 10000"/>
                <a:gd name="connsiteY789" fmla="*/ 9364 h 10000"/>
                <a:gd name="connsiteX790" fmla="*/ 480 w 10000"/>
                <a:gd name="connsiteY790" fmla="*/ 9416 h 10000"/>
                <a:gd name="connsiteX791" fmla="*/ 513 w 10000"/>
                <a:gd name="connsiteY791" fmla="*/ 9437 h 10000"/>
                <a:gd name="connsiteX792" fmla="*/ 548 w 10000"/>
                <a:gd name="connsiteY792" fmla="*/ 9462 h 10000"/>
                <a:gd name="connsiteX793" fmla="*/ 581 w 10000"/>
                <a:gd name="connsiteY793" fmla="*/ 9483 h 10000"/>
                <a:gd name="connsiteX794" fmla="*/ 614 w 10000"/>
                <a:gd name="connsiteY794" fmla="*/ 9502 h 10000"/>
                <a:gd name="connsiteX795" fmla="*/ 641 w 10000"/>
                <a:gd name="connsiteY795" fmla="*/ 9525 h 10000"/>
                <a:gd name="connsiteX796" fmla="*/ 672 w 10000"/>
                <a:gd name="connsiteY796" fmla="*/ 9549 h 10000"/>
                <a:gd name="connsiteX797" fmla="*/ 702 w 10000"/>
                <a:gd name="connsiteY797" fmla="*/ 9568 h 10000"/>
                <a:gd name="connsiteX798" fmla="*/ 737 w 10000"/>
                <a:gd name="connsiteY798" fmla="*/ 9589 h 10000"/>
                <a:gd name="connsiteX799" fmla="*/ 770 w 10000"/>
                <a:gd name="connsiteY799" fmla="*/ 9605 h 10000"/>
                <a:gd name="connsiteX800" fmla="*/ 808 w 10000"/>
                <a:gd name="connsiteY800" fmla="*/ 9617 h 10000"/>
                <a:gd name="connsiteX801" fmla="*/ 843 w 10000"/>
                <a:gd name="connsiteY801" fmla="*/ 9624 h 10000"/>
                <a:gd name="connsiteX802" fmla="*/ 884 w 10000"/>
                <a:gd name="connsiteY802" fmla="*/ 9628 h 10000"/>
                <a:gd name="connsiteX803" fmla="*/ 902 w 10000"/>
                <a:gd name="connsiteY803" fmla="*/ 9628 h 10000"/>
                <a:gd name="connsiteX804" fmla="*/ 914 w 10000"/>
                <a:gd name="connsiteY804" fmla="*/ 9631 h 10000"/>
                <a:gd name="connsiteX805" fmla="*/ 932 w 10000"/>
                <a:gd name="connsiteY805" fmla="*/ 9638 h 10000"/>
                <a:gd name="connsiteX806" fmla="*/ 942 w 10000"/>
                <a:gd name="connsiteY806" fmla="*/ 9642 h 10000"/>
                <a:gd name="connsiteX807" fmla="*/ 967 w 10000"/>
                <a:gd name="connsiteY807" fmla="*/ 9652 h 10000"/>
                <a:gd name="connsiteX808" fmla="*/ 987 w 10000"/>
                <a:gd name="connsiteY808" fmla="*/ 9668 h 10000"/>
                <a:gd name="connsiteX809" fmla="*/ 1005 w 10000"/>
                <a:gd name="connsiteY809" fmla="*/ 9682 h 10000"/>
                <a:gd name="connsiteX810" fmla="*/ 1025 w 10000"/>
                <a:gd name="connsiteY810" fmla="*/ 9698 h 10000"/>
                <a:gd name="connsiteX811" fmla="*/ 1045 w 10000"/>
                <a:gd name="connsiteY811" fmla="*/ 9712 h 10000"/>
                <a:gd name="connsiteX812" fmla="*/ 1073 w 10000"/>
                <a:gd name="connsiteY812" fmla="*/ 9724 h 10000"/>
                <a:gd name="connsiteX813" fmla="*/ 1098 w 10000"/>
                <a:gd name="connsiteY813" fmla="*/ 9738 h 10000"/>
                <a:gd name="connsiteX814" fmla="*/ 1121 w 10000"/>
                <a:gd name="connsiteY814" fmla="*/ 9750 h 10000"/>
                <a:gd name="connsiteX815" fmla="*/ 1141 w 10000"/>
                <a:gd name="connsiteY815" fmla="*/ 9762 h 10000"/>
                <a:gd name="connsiteX816" fmla="*/ 1159 w 10000"/>
                <a:gd name="connsiteY816" fmla="*/ 9776 h 10000"/>
                <a:gd name="connsiteX817" fmla="*/ 1172 w 10000"/>
                <a:gd name="connsiteY817" fmla="*/ 9787 h 10000"/>
                <a:gd name="connsiteX818" fmla="*/ 1182 w 10000"/>
                <a:gd name="connsiteY818" fmla="*/ 9804 h 10000"/>
                <a:gd name="connsiteX819" fmla="*/ 1194 w 10000"/>
                <a:gd name="connsiteY819" fmla="*/ 9818 h 10000"/>
                <a:gd name="connsiteX820" fmla="*/ 1202 w 10000"/>
                <a:gd name="connsiteY820" fmla="*/ 9834 h 10000"/>
                <a:gd name="connsiteX821" fmla="*/ 1212 w 10000"/>
                <a:gd name="connsiteY821" fmla="*/ 9869 h 10000"/>
                <a:gd name="connsiteX822" fmla="*/ 1220 w 10000"/>
                <a:gd name="connsiteY822" fmla="*/ 9906 h 10000"/>
                <a:gd name="connsiteX823" fmla="*/ 1230 w 10000"/>
                <a:gd name="connsiteY823" fmla="*/ 9951 h 10000"/>
                <a:gd name="connsiteX824" fmla="*/ 1237 w 10000"/>
                <a:gd name="connsiteY824" fmla="*/ 10000 h 10000"/>
                <a:gd name="connsiteX825" fmla="*/ 1237 w 10000"/>
                <a:gd name="connsiteY82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75 w 10000"/>
                <a:gd name="connsiteY711" fmla="*/ 8546 h 10000"/>
                <a:gd name="connsiteX712" fmla="*/ 1758 w 10000"/>
                <a:gd name="connsiteY712" fmla="*/ 8548 h 10000"/>
                <a:gd name="connsiteX713" fmla="*/ 1742 w 10000"/>
                <a:gd name="connsiteY713" fmla="*/ 8551 h 10000"/>
                <a:gd name="connsiteX714" fmla="*/ 1717 w 10000"/>
                <a:gd name="connsiteY714" fmla="*/ 8518 h 10000"/>
                <a:gd name="connsiteX715" fmla="*/ 1684 w 10000"/>
                <a:gd name="connsiteY715" fmla="*/ 8429 h 10000"/>
                <a:gd name="connsiteX716" fmla="*/ 1525 w 10000"/>
                <a:gd name="connsiteY716" fmla="*/ 8186 h 10000"/>
                <a:gd name="connsiteX717" fmla="*/ 1500 w 10000"/>
                <a:gd name="connsiteY717" fmla="*/ 8191 h 10000"/>
                <a:gd name="connsiteX718" fmla="*/ 1472 w 10000"/>
                <a:gd name="connsiteY718" fmla="*/ 8198 h 10000"/>
                <a:gd name="connsiteX719" fmla="*/ 1434 w 10000"/>
                <a:gd name="connsiteY719" fmla="*/ 8223 h 10000"/>
                <a:gd name="connsiteX720" fmla="*/ 1149 w 10000"/>
                <a:gd name="connsiteY720" fmla="*/ 8256 h 10000"/>
                <a:gd name="connsiteX721" fmla="*/ 1139 w 10000"/>
                <a:gd name="connsiteY721" fmla="*/ 8249 h 10000"/>
                <a:gd name="connsiteX722" fmla="*/ 1126 w 10000"/>
                <a:gd name="connsiteY722" fmla="*/ 8240 h 10000"/>
                <a:gd name="connsiteX723" fmla="*/ 1114 w 10000"/>
                <a:gd name="connsiteY723" fmla="*/ 8240 h 10000"/>
                <a:gd name="connsiteX724" fmla="*/ 1091 w 10000"/>
                <a:gd name="connsiteY724" fmla="*/ 8242 h 10000"/>
                <a:gd name="connsiteX725" fmla="*/ 1071 w 10000"/>
                <a:gd name="connsiteY725" fmla="*/ 8252 h 10000"/>
                <a:gd name="connsiteX726" fmla="*/ 1048 w 10000"/>
                <a:gd name="connsiteY726" fmla="*/ 8261 h 10000"/>
                <a:gd name="connsiteX727" fmla="*/ 1030 w 10000"/>
                <a:gd name="connsiteY727" fmla="*/ 8273 h 10000"/>
                <a:gd name="connsiteX728" fmla="*/ 1010 w 10000"/>
                <a:gd name="connsiteY728" fmla="*/ 8287 h 10000"/>
                <a:gd name="connsiteX729" fmla="*/ 995 w 10000"/>
                <a:gd name="connsiteY729" fmla="*/ 8303 h 10000"/>
                <a:gd name="connsiteX730" fmla="*/ 975 w 10000"/>
                <a:gd name="connsiteY730" fmla="*/ 8322 h 10000"/>
                <a:gd name="connsiteX731" fmla="*/ 960 w 10000"/>
                <a:gd name="connsiteY731" fmla="*/ 8343 h 10000"/>
                <a:gd name="connsiteX732" fmla="*/ 927 w 10000"/>
                <a:gd name="connsiteY732" fmla="*/ 8380 h 10000"/>
                <a:gd name="connsiteX733" fmla="*/ 891 w 10000"/>
                <a:gd name="connsiteY733" fmla="*/ 8417 h 10000"/>
                <a:gd name="connsiteX734" fmla="*/ 874 w 10000"/>
                <a:gd name="connsiteY734" fmla="*/ 8436 h 10000"/>
                <a:gd name="connsiteX735" fmla="*/ 859 w 10000"/>
                <a:gd name="connsiteY735" fmla="*/ 8450 h 10000"/>
                <a:gd name="connsiteX736" fmla="*/ 838 w 10000"/>
                <a:gd name="connsiteY736" fmla="*/ 8462 h 10000"/>
                <a:gd name="connsiteX737" fmla="*/ 821 w 10000"/>
                <a:gd name="connsiteY737" fmla="*/ 8476 h 10000"/>
                <a:gd name="connsiteX738" fmla="*/ 742 w 10000"/>
                <a:gd name="connsiteY738" fmla="*/ 8562 h 10000"/>
                <a:gd name="connsiteX739" fmla="*/ 672 w 10000"/>
                <a:gd name="connsiteY739" fmla="*/ 8644 h 10000"/>
                <a:gd name="connsiteX740" fmla="*/ 639 w 10000"/>
                <a:gd name="connsiteY740" fmla="*/ 8684 h 10000"/>
                <a:gd name="connsiteX741" fmla="*/ 609 w 10000"/>
                <a:gd name="connsiteY741" fmla="*/ 8731 h 10000"/>
                <a:gd name="connsiteX742" fmla="*/ 583 w 10000"/>
                <a:gd name="connsiteY742" fmla="*/ 8777 h 10000"/>
                <a:gd name="connsiteX743" fmla="*/ 556 w 10000"/>
                <a:gd name="connsiteY743" fmla="*/ 8831 h 10000"/>
                <a:gd name="connsiteX744" fmla="*/ 545 w 10000"/>
                <a:gd name="connsiteY744" fmla="*/ 8852 h 10000"/>
                <a:gd name="connsiteX745" fmla="*/ 525 w 10000"/>
                <a:gd name="connsiteY745" fmla="*/ 8885 h 10000"/>
                <a:gd name="connsiteX746" fmla="*/ 503 w 10000"/>
                <a:gd name="connsiteY746" fmla="*/ 8925 h 10000"/>
                <a:gd name="connsiteX747" fmla="*/ 480 w 10000"/>
                <a:gd name="connsiteY747" fmla="*/ 8962 h 10000"/>
                <a:gd name="connsiteX748" fmla="*/ 465 w 10000"/>
                <a:gd name="connsiteY748" fmla="*/ 8981 h 10000"/>
                <a:gd name="connsiteX749" fmla="*/ 455 w 10000"/>
                <a:gd name="connsiteY749" fmla="*/ 8993 h 10000"/>
                <a:gd name="connsiteX750" fmla="*/ 444 w 10000"/>
                <a:gd name="connsiteY750" fmla="*/ 9000 h 10000"/>
                <a:gd name="connsiteX751" fmla="*/ 434 w 10000"/>
                <a:gd name="connsiteY751" fmla="*/ 9007 h 10000"/>
                <a:gd name="connsiteX752" fmla="*/ 432 w 10000"/>
                <a:gd name="connsiteY752" fmla="*/ 9007 h 10000"/>
                <a:gd name="connsiteX753" fmla="*/ 429 w 10000"/>
                <a:gd name="connsiteY753" fmla="*/ 9004 h 10000"/>
                <a:gd name="connsiteX754" fmla="*/ 427 w 10000"/>
                <a:gd name="connsiteY754" fmla="*/ 8997 h 10000"/>
                <a:gd name="connsiteX755" fmla="*/ 427 w 10000"/>
                <a:gd name="connsiteY755" fmla="*/ 8993 h 10000"/>
                <a:gd name="connsiteX756" fmla="*/ 424 w 10000"/>
                <a:gd name="connsiteY756" fmla="*/ 8976 h 10000"/>
                <a:gd name="connsiteX757" fmla="*/ 427 w 10000"/>
                <a:gd name="connsiteY757" fmla="*/ 8948 h 10000"/>
                <a:gd name="connsiteX758" fmla="*/ 437 w 10000"/>
                <a:gd name="connsiteY758" fmla="*/ 8913 h 10000"/>
                <a:gd name="connsiteX759" fmla="*/ 455 w 10000"/>
                <a:gd name="connsiteY759" fmla="*/ 8859 h 10000"/>
                <a:gd name="connsiteX760" fmla="*/ 462 w 10000"/>
                <a:gd name="connsiteY760" fmla="*/ 8834 h 10000"/>
                <a:gd name="connsiteX761" fmla="*/ 470 w 10000"/>
                <a:gd name="connsiteY761" fmla="*/ 8810 h 10000"/>
                <a:gd name="connsiteX762" fmla="*/ 472 w 10000"/>
                <a:gd name="connsiteY762" fmla="*/ 8794 h 10000"/>
                <a:gd name="connsiteX763" fmla="*/ 472 w 10000"/>
                <a:gd name="connsiteY763" fmla="*/ 8780 h 10000"/>
                <a:gd name="connsiteX764" fmla="*/ 462 w 10000"/>
                <a:gd name="connsiteY764" fmla="*/ 8784 h 10000"/>
                <a:gd name="connsiteX765" fmla="*/ 452 w 10000"/>
                <a:gd name="connsiteY765" fmla="*/ 8787 h 10000"/>
                <a:gd name="connsiteX766" fmla="*/ 437 w 10000"/>
                <a:gd name="connsiteY766" fmla="*/ 8794 h 10000"/>
                <a:gd name="connsiteX767" fmla="*/ 424 w 10000"/>
                <a:gd name="connsiteY767" fmla="*/ 8803 h 10000"/>
                <a:gd name="connsiteX768" fmla="*/ 394 w 10000"/>
                <a:gd name="connsiteY768" fmla="*/ 8829 h 10000"/>
                <a:gd name="connsiteX769" fmla="*/ 364 w 10000"/>
                <a:gd name="connsiteY769" fmla="*/ 8859 h 10000"/>
                <a:gd name="connsiteX770" fmla="*/ 311 w 10000"/>
                <a:gd name="connsiteY770" fmla="*/ 8922 h 10000"/>
                <a:gd name="connsiteX771" fmla="*/ 268 w 10000"/>
                <a:gd name="connsiteY771" fmla="*/ 8964 h 10000"/>
                <a:gd name="connsiteX772" fmla="*/ 205 w 10000"/>
                <a:gd name="connsiteY772" fmla="*/ 9016 h 10000"/>
                <a:gd name="connsiteX773" fmla="*/ 146 w 10000"/>
                <a:gd name="connsiteY773" fmla="*/ 9053 h 10000"/>
                <a:gd name="connsiteX774" fmla="*/ 139 w 10000"/>
                <a:gd name="connsiteY774" fmla="*/ 9063 h 10000"/>
                <a:gd name="connsiteX775" fmla="*/ 129 w 10000"/>
                <a:gd name="connsiteY775" fmla="*/ 9077 h 10000"/>
                <a:gd name="connsiteX776" fmla="*/ 126 w 10000"/>
                <a:gd name="connsiteY776" fmla="*/ 9086 h 10000"/>
                <a:gd name="connsiteX777" fmla="*/ 126 w 10000"/>
                <a:gd name="connsiteY777" fmla="*/ 9102 h 10000"/>
                <a:gd name="connsiteX778" fmla="*/ 129 w 10000"/>
                <a:gd name="connsiteY778" fmla="*/ 9116 h 10000"/>
                <a:gd name="connsiteX779" fmla="*/ 139 w 10000"/>
                <a:gd name="connsiteY779" fmla="*/ 9135 h 10000"/>
                <a:gd name="connsiteX780" fmla="*/ 149 w 10000"/>
                <a:gd name="connsiteY780" fmla="*/ 9151 h 10000"/>
                <a:gd name="connsiteX781" fmla="*/ 164 w 10000"/>
                <a:gd name="connsiteY781" fmla="*/ 9175 h 10000"/>
                <a:gd name="connsiteX782" fmla="*/ 184 w 10000"/>
                <a:gd name="connsiteY782" fmla="*/ 9196 h 10000"/>
                <a:gd name="connsiteX783" fmla="*/ 207 w 10000"/>
                <a:gd name="connsiteY783" fmla="*/ 9215 h 10000"/>
                <a:gd name="connsiteX784" fmla="*/ 227 w 10000"/>
                <a:gd name="connsiteY784" fmla="*/ 9233 h 10000"/>
                <a:gd name="connsiteX785" fmla="*/ 253 w 10000"/>
                <a:gd name="connsiteY785" fmla="*/ 9250 h 10000"/>
                <a:gd name="connsiteX786" fmla="*/ 303 w 10000"/>
                <a:gd name="connsiteY786" fmla="*/ 9282 h 10000"/>
                <a:gd name="connsiteX787" fmla="*/ 351 w 10000"/>
                <a:gd name="connsiteY787" fmla="*/ 9315 h 10000"/>
                <a:gd name="connsiteX788" fmla="*/ 414 w 10000"/>
                <a:gd name="connsiteY788" fmla="*/ 9364 h 10000"/>
                <a:gd name="connsiteX789" fmla="*/ 480 w 10000"/>
                <a:gd name="connsiteY789" fmla="*/ 9416 h 10000"/>
                <a:gd name="connsiteX790" fmla="*/ 513 w 10000"/>
                <a:gd name="connsiteY790" fmla="*/ 9437 h 10000"/>
                <a:gd name="connsiteX791" fmla="*/ 548 w 10000"/>
                <a:gd name="connsiteY791" fmla="*/ 9462 h 10000"/>
                <a:gd name="connsiteX792" fmla="*/ 581 w 10000"/>
                <a:gd name="connsiteY792" fmla="*/ 9483 h 10000"/>
                <a:gd name="connsiteX793" fmla="*/ 614 w 10000"/>
                <a:gd name="connsiteY793" fmla="*/ 9502 h 10000"/>
                <a:gd name="connsiteX794" fmla="*/ 641 w 10000"/>
                <a:gd name="connsiteY794" fmla="*/ 9525 h 10000"/>
                <a:gd name="connsiteX795" fmla="*/ 672 w 10000"/>
                <a:gd name="connsiteY795" fmla="*/ 9549 h 10000"/>
                <a:gd name="connsiteX796" fmla="*/ 702 w 10000"/>
                <a:gd name="connsiteY796" fmla="*/ 9568 h 10000"/>
                <a:gd name="connsiteX797" fmla="*/ 737 w 10000"/>
                <a:gd name="connsiteY797" fmla="*/ 9589 h 10000"/>
                <a:gd name="connsiteX798" fmla="*/ 770 w 10000"/>
                <a:gd name="connsiteY798" fmla="*/ 9605 h 10000"/>
                <a:gd name="connsiteX799" fmla="*/ 808 w 10000"/>
                <a:gd name="connsiteY799" fmla="*/ 9617 h 10000"/>
                <a:gd name="connsiteX800" fmla="*/ 843 w 10000"/>
                <a:gd name="connsiteY800" fmla="*/ 9624 h 10000"/>
                <a:gd name="connsiteX801" fmla="*/ 884 w 10000"/>
                <a:gd name="connsiteY801" fmla="*/ 9628 h 10000"/>
                <a:gd name="connsiteX802" fmla="*/ 902 w 10000"/>
                <a:gd name="connsiteY802" fmla="*/ 9628 h 10000"/>
                <a:gd name="connsiteX803" fmla="*/ 914 w 10000"/>
                <a:gd name="connsiteY803" fmla="*/ 9631 h 10000"/>
                <a:gd name="connsiteX804" fmla="*/ 932 w 10000"/>
                <a:gd name="connsiteY804" fmla="*/ 9638 h 10000"/>
                <a:gd name="connsiteX805" fmla="*/ 942 w 10000"/>
                <a:gd name="connsiteY805" fmla="*/ 9642 h 10000"/>
                <a:gd name="connsiteX806" fmla="*/ 967 w 10000"/>
                <a:gd name="connsiteY806" fmla="*/ 9652 h 10000"/>
                <a:gd name="connsiteX807" fmla="*/ 987 w 10000"/>
                <a:gd name="connsiteY807" fmla="*/ 9668 h 10000"/>
                <a:gd name="connsiteX808" fmla="*/ 1005 w 10000"/>
                <a:gd name="connsiteY808" fmla="*/ 9682 h 10000"/>
                <a:gd name="connsiteX809" fmla="*/ 1025 w 10000"/>
                <a:gd name="connsiteY809" fmla="*/ 9698 h 10000"/>
                <a:gd name="connsiteX810" fmla="*/ 1045 w 10000"/>
                <a:gd name="connsiteY810" fmla="*/ 9712 h 10000"/>
                <a:gd name="connsiteX811" fmla="*/ 1073 w 10000"/>
                <a:gd name="connsiteY811" fmla="*/ 9724 h 10000"/>
                <a:gd name="connsiteX812" fmla="*/ 1098 w 10000"/>
                <a:gd name="connsiteY812" fmla="*/ 9738 h 10000"/>
                <a:gd name="connsiteX813" fmla="*/ 1121 w 10000"/>
                <a:gd name="connsiteY813" fmla="*/ 9750 h 10000"/>
                <a:gd name="connsiteX814" fmla="*/ 1141 w 10000"/>
                <a:gd name="connsiteY814" fmla="*/ 9762 h 10000"/>
                <a:gd name="connsiteX815" fmla="*/ 1159 w 10000"/>
                <a:gd name="connsiteY815" fmla="*/ 9776 h 10000"/>
                <a:gd name="connsiteX816" fmla="*/ 1172 w 10000"/>
                <a:gd name="connsiteY816" fmla="*/ 9787 h 10000"/>
                <a:gd name="connsiteX817" fmla="*/ 1182 w 10000"/>
                <a:gd name="connsiteY817" fmla="*/ 9804 h 10000"/>
                <a:gd name="connsiteX818" fmla="*/ 1194 w 10000"/>
                <a:gd name="connsiteY818" fmla="*/ 9818 h 10000"/>
                <a:gd name="connsiteX819" fmla="*/ 1202 w 10000"/>
                <a:gd name="connsiteY819" fmla="*/ 9834 h 10000"/>
                <a:gd name="connsiteX820" fmla="*/ 1212 w 10000"/>
                <a:gd name="connsiteY820" fmla="*/ 9869 h 10000"/>
                <a:gd name="connsiteX821" fmla="*/ 1220 w 10000"/>
                <a:gd name="connsiteY821" fmla="*/ 9906 h 10000"/>
                <a:gd name="connsiteX822" fmla="*/ 1230 w 10000"/>
                <a:gd name="connsiteY822" fmla="*/ 9951 h 10000"/>
                <a:gd name="connsiteX823" fmla="*/ 1237 w 10000"/>
                <a:gd name="connsiteY823" fmla="*/ 10000 h 10000"/>
                <a:gd name="connsiteX824" fmla="*/ 1237 w 10000"/>
                <a:gd name="connsiteY82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58 w 10000"/>
                <a:gd name="connsiteY711" fmla="*/ 8548 h 10000"/>
                <a:gd name="connsiteX712" fmla="*/ 1742 w 10000"/>
                <a:gd name="connsiteY712" fmla="*/ 8551 h 10000"/>
                <a:gd name="connsiteX713" fmla="*/ 1717 w 10000"/>
                <a:gd name="connsiteY713" fmla="*/ 8518 h 10000"/>
                <a:gd name="connsiteX714" fmla="*/ 1684 w 10000"/>
                <a:gd name="connsiteY714" fmla="*/ 8429 h 10000"/>
                <a:gd name="connsiteX715" fmla="*/ 1525 w 10000"/>
                <a:gd name="connsiteY715" fmla="*/ 8186 h 10000"/>
                <a:gd name="connsiteX716" fmla="*/ 1500 w 10000"/>
                <a:gd name="connsiteY716" fmla="*/ 8191 h 10000"/>
                <a:gd name="connsiteX717" fmla="*/ 1472 w 10000"/>
                <a:gd name="connsiteY717" fmla="*/ 8198 h 10000"/>
                <a:gd name="connsiteX718" fmla="*/ 1434 w 10000"/>
                <a:gd name="connsiteY718" fmla="*/ 8223 h 10000"/>
                <a:gd name="connsiteX719" fmla="*/ 1149 w 10000"/>
                <a:gd name="connsiteY719" fmla="*/ 8256 h 10000"/>
                <a:gd name="connsiteX720" fmla="*/ 1139 w 10000"/>
                <a:gd name="connsiteY720" fmla="*/ 8249 h 10000"/>
                <a:gd name="connsiteX721" fmla="*/ 1126 w 10000"/>
                <a:gd name="connsiteY721" fmla="*/ 8240 h 10000"/>
                <a:gd name="connsiteX722" fmla="*/ 1114 w 10000"/>
                <a:gd name="connsiteY722" fmla="*/ 8240 h 10000"/>
                <a:gd name="connsiteX723" fmla="*/ 1091 w 10000"/>
                <a:gd name="connsiteY723" fmla="*/ 8242 h 10000"/>
                <a:gd name="connsiteX724" fmla="*/ 1071 w 10000"/>
                <a:gd name="connsiteY724" fmla="*/ 8252 h 10000"/>
                <a:gd name="connsiteX725" fmla="*/ 1048 w 10000"/>
                <a:gd name="connsiteY725" fmla="*/ 8261 h 10000"/>
                <a:gd name="connsiteX726" fmla="*/ 1030 w 10000"/>
                <a:gd name="connsiteY726" fmla="*/ 8273 h 10000"/>
                <a:gd name="connsiteX727" fmla="*/ 1010 w 10000"/>
                <a:gd name="connsiteY727" fmla="*/ 8287 h 10000"/>
                <a:gd name="connsiteX728" fmla="*/ 995 w 10000"/>
                <a:gd name="connsiteY728" fmla="*/ 8303 h 10000"/>
                <a:gd name="connsiteX729" fmla="*/ 975 w 10000"/>
                <a:gd name="connsiteY729" fmla="*/ 8322 h 10000"/>
                <a:gd name="connsiteX730" fmla="*/ 960 w 10000"/>
                <a:gd name="connsiteY730" fmla="*/ 8343 h 10000"/>
                <a:gd name="connsiteX731" fmla="*/ 927 w 10000"/>
                <a:gd name="connsiteY731" fmla="*/ 8380 h 10000"/>
                <a:gd name="connsiteX732" fmla="*/ 891 w 10000"/>
                <a:gd name="connsiteY732" fmla="*/ 8417 h 10000"/>
                <a:gd name="connsiteX733" fmla="*/ 874 w 10000"/>
                <a:gd name="connsiteY733" fmla="*/ 8436 h 10000"/>
                <a:gd name="connsiteX734" fmla="*/ 859 w 10000"/>
                <a:gd name="connsiteY734" fmla="*/ 8450 h 10000"/>
                <a:gd name="connsiteX735" fmla="*/ 838 w 10000"/>
                <a:gd name="connsiteY735" fmla="*/ 8462 h 10000"/>
                <a:gd name="connsiteX736" fmla="*/ 821 w 10000"/>
                <a:gd name="connsiteY736" fmla="*/ 8476 h 10000"/>
                <a:gd name="connsiteX737" fmla="*/ 742 w 10000"/>
                <a:gd name="connsiteY737" fmla="*/ 8562 h 10000"/>
                <a:gd name="connsiteX738" fmla="*/ 672 w 10000"/>
                <a:gd name="connsiteY738" fmla="*/ 8644 h 10000"/>
                <a:gd name="connsiteX739" fmla="*/ 639 w 10000"/>
                <a:gd name="connsiteY739" fmla="*/ 8684 h 10000"/>
                <a:gd name="connsiteX740" fmla="*/ 609 w 10000"/>
                <a:gd name="connsiteY740" fmla="*/ 8731 h 10000"/>
                <a:gd name="connsiteX741" fmla="*/ 583 w 10000"/>
                <a:gd name="connsiteY741" fmla="*/ 8777 h 10000"/>
                <a:gd name="connsiteX742" fmla="*/ 556 w 10000"/>
                <a:gd name="connsiteY742" fmla="*/ 8831 h 10000"/>
                <a:gd name="connsiteX743" fmla="*/ 545 w 10000"/>
                <a:gd name="connsiteY743" fmla="*/ 8852 h 10000"/>
                <a:gd name="connsiteX744" fmla="*/ 525 w 10000"/>
                <a:gd name="connsiteY744" fmla="*/ 8885 h 10000"/>
                <a:gd name="connsiteX745" fmla="*/ 503 w 10000"/>
                <a:gd name="connsiteY745" fmla="*/ 8925 h 10000"/>
                <a:gd name="connsiteX746" fmla="*/ 480 w 10000"/>
                <a:gd name="connsiteY746" fmla="*/ 8962 h 10000"/>
                <a:gd name="connsiteX747" fmla="*/ 465 w 10000"/>
                <a:gd name="connsiteY747" fmla="*/ 8981 h 10000"/>
                <a:gd name="connsiteX748" fmla="*/ 455 w 10000"/>
                <a:gd name="connsiteY748" fmla="*/ 8993 h 10000"/>
                <a:gd name="connsiteX749" fmla="*/ 444 w 10000"/>
                <a:gd name="connsiteY749" fmla="*/ 9000 h 10000"/>
                <a:gd name="connsiteX750" fmla="*/ 434 w 10000"/>
                <a:gd name="connsiteY750" fmla="*/ 9007 h 10000"/>
                <a:gd name="connsiteX751" fmla="*/ 432 w 10000"/>
                <a:gd name="connsiteY751" fmla="*/ 9007 h 10000"/>
                <a:gd name="connsiteX752" fmla="*/ 429 w 10000"/>
                <a:gd name="connsiteY752" fmla="*/ 9004 h 10000"/>
                <a:gd name="connsiteX753" fmla="*/ 427 w 10000"/>
                <a:gd name="connsiteY753" fmla="*/ 8997 h 10000"/>
                <a:gd name="connsiteX754" fmla="*/ 427 w 10000"/>
                <a:gd name="connsiteY754" fmla="*/ 8993 h 10000"/>
                <a:gd name="connsiteX755" fmla="*/ 424 w 10000"/>
                <a:gd name="connsiteY755" fmla="*/ 8976 h 10000"/>
                <a:gd name="connsiteX756" fmla="*/ 427 w 10000"/>
                <a:gd name="connsiteY756" fmla="*/ 8948 h 10000"/>
                <a:gd name="connsiteX757" fmla="*/ 437 w 10000"/>
                <a:gd name="connsiteY757" fmla="*/ 8913 h 10000"/>
                <a:gd name="connsiteX758" fmla="*/ 455 w 10000"/>
                <a:gd name="connsiteY758" fmla="*/ 8859 h 10000"/>
                <a:gd name="connsiteX759" fmla="*/ 462 w 10000"/>
                <a:gd name="connsiteY759" fmla="*/ 8834 h 10000"/>
                <a:gd name="connsiteX760" fmla="*/ 470 w 10000"/>
                <a:gd name="connsiteY760" fmla="*/ 8810 h 10000"/>
                <a:gd name="connsiteX761" fmla="*/ 472 w 10000"/>
                <a:gd name="connsiteY761" fmla="*/ 8794 h 10000"/>
                <a:gd name="connsiteX762" fmla="*/ 472 w 10000"/>
                <a:gd name="connsiteY762" fmla="*/ 8780 h 10000"/>
                <a:gd name="connsiteX763" fmla="*/ 462 w 10000"/>
                <a:gd name="connsiteY763" fmla="*/ 8784 h 10000"/>
                <a:gd name="connsiteX764" fmla="*/ 452 w 10000"/>
                <a:gd name="connsiteY764" fmla="*/ 8787 h 10000"/>
                <a:gd name="connsiteX765" fmla="*/ 437 w 10000"/>
                <a:gd name="connsiteY765" fmla="*/ 8794 h 10000"/>
                <a:gd name="connsiteX766" fmla="*/ 424 w 10000"/>
                <a:gd name="connsiteY766" fmla="*/ 8803 h 10000"/>
                <a:gd name="connsiteX767" fmla="*/ 394 w 10000"/>
                <a:gd name="connsiteY767" fmla="*/ 8829 h 10000"/>
                <a:gd name="connsiteX768" fmla="*/ 364 w 10000"/>
                <a:gd name="connsiteY768" fmla="*/ 8859 h 10000"/>
                <a:gd name="connsiteX769" fmla="*/ 311 w 10000"/>
                <a:gd name="connsiteY769" fmla="*/ 8922 h 10000"/>
                <a:gd name="connsiteX770" fmla="*/ 268 w 10000"/>
                <a:gd name="connsiteY770" fmla="*/ 8964 h 10000"/>
                <a:gd name="connsiteX771" fmla="*/ 205 w 10000"/>
                <a:gd name="connsiteY771" fmla="*/ 9016 h 10000"/>
                <a:gd name="connsiteX772" fmla="*/ 146 w 10000"/>
                <a:gd name="connsiteY772" fmla="*/ 9053 h 10000"/>
                <a:gd name="connsiteX773" fmla="*/ 139 w 10000"/>
                <a:gd name="connsiteY773" fmla="*/ 9063 h 10000"/>
                <a:gd name="connsiteX774" fmla="*/ 129 w 10000"/>
                <a:gd name="connsiteY774" fmla="*/ 9077 h 10000"/>
                <a:gd name="connsiteX775" fmla="*/ 126 w 10000"/>
                <a:gd name="connsiteY775" fmla="*/ 9086 h 10000"/>
                <a:gd name="connsiteX776" fmla="*/ 126 w 10000"/>
                <a:gd name="connsiteY776" fmla="*/ 9102 h 10000"/>
                <a:gd name="connsiteX777" fmla="*/ 129 w 10000"/>
                <a:gd name="connsiteY777" fmla="*/ 9116 h 10000"/>
                <a:gd name="connsiteX778" fmla="*/ 139 w 10000"/>
                <a:gd name="connsiteY778" fmla="*/ 9135 h 10000"/>
                <a:gd name="connsiteX779" fmla="*/ 149 w 10000"/>
                <a:gd name="connsiteY779" fmla="*/ 9151 h 10000"/>
                <a:gd name="connsiteX780" fmla="*/ 164 w 10000"/>
                <a:gd name="connsiteY780" fmla="*/ 9175 h 10000"/>
                <a:gd name="connsiteX781" fmla="*/ 184 w 10000"/>
                <a:gd name="connsiteY781" fmla="*/ 9196 h 10000"/>
                <a:gd name="connsiteX782" fmla="*/ 207 w 10000"/>
                <a:gd name="connsiteY782" fmla="*/ 9215 h 10000"/>
                <a:gd name="connsiteX783" fmla="*/ 227 w 10000"/>
                <a:gd name="connsiteY783" fmla="*/ 9233 h 10000"/>
                <a:gd name="connsiteX784" fmla="*/ 253 w 10000"/>
                <a:gd name="connsiteY784" fmla="*/ 9250 h 10000"/>
                <a:gd name="connsiteX785" fmla="*/ 303 w 10000"/>
                <a:gd name="connsiteY785" fmla="*/ 9282 h 10000"/>
                <a:gd name="connsiteX786" fmla="*/ 351 w 10000"/>
                <a:gd name="connsiteY786" fmla="*/ 9315 h 10000"/>
                <a:gd name="connsiteX787" fmla="*/ 414 w 10000"/>
                <a:gd name="connsiteY787" fmla="*/ 9364 h 10000"/>
                <a:gd name="connsiteX788" fmla="*/ 480 w 10000"/>
                <a:gd name="connsiteY788" fmla="*/ 9416 h 10000"/>
                <a:gd name="connsiteX789" fmla="*/ 513 w 10000"/>
                <a:gd name="connsiteY789" fmla="*/ 9437 h 10000"/>
                <a:gd name="connsiteX790" fmla="*/ 548 w 10000"/>
                <a:gd name="connsiteY790" fmla="*/ 9462 h 10000"/>
                <a:gd name="connsiteX791" fmla="*/ 581 w 10000"/>
                <a:gd name="connsiteY791" fmla="*/ 9483 h 10000"/>
                <a:gd name="connsiteX792" fmla="*/ 614 w 10000"/>
                <a:gd name="connsiteY792" fmla="*/ 9502 h 10000"/>
                <a:gd name="connsiteX793" fmla="*/ 641 w 10000"/>
                <a:gd name="connsiteY793" fmla="*/ 9525 h 10000"/>
                <a:gd name="connsiteX794" fmla="*/ 672 w 10000"/>
                <a:gd name="connsiteY794" fmla="*/ 9549 h 10000"/>
                <a:gd name="connsiteX795" fmla="*/ 702 w 10000"/>
                <a:gd name="connsiteY795" fmla="*/ 9568 h 10000"/>
                <a:gd name="connsiteX796" fmla="*/ 737 w 10000"/>
                <a:gd name="connsiteY796" fmla="*/ 9589 h 10000"/>
                <a:gd name="connsiteX797" fmla="*/ 770 w 10000"/>
                <a:gd name="connsiteY797" fmla="*/ 9605 h 10000"/>
                <a:gd name="connsiteX798" fmla="*/ 808 w 10000"/>
                <a:gd name="connsiteY798" fmla="*/ 9617 h 10000"/>
                <a:gd name="connsiteX799" fmla="*/ 843 w 10000"/>
                <a:gd name="connsiteY799" fmla="*/ 9624 h 10000"/>
                <a:gd name="connsiteX800" fmla="*/ 884 w 10000"/>
                <a:gd name="connsiteY800" fmla="*/ 9628 h 10000"/>
                <a:gd name="connsiteX801" fmla="*/ 902 w 10000"/>
                <a:gd name="connsiteY801" fmla="*/ 9628 h 10000"/>
                <a:gd name="connsiteX802" fmla="*/ 914 w 10000"/>
                <a:gd name="connsiteY802" fmla="*/ 9631 h 10000"/>
                <a:gd name="connsiteX803" fmla="*/ 932 w 10000"/>
                <a:gd name="connsiteY803" fmla="*/ 9638 h 10000"/>
                <a:gd name="connsiteX804" fmla="*/ 942 w 10000"/>
                <a:gd name="connsiteY804" fmla="*/ 9642 h 10000"/>
                <a:gd name="connsiteX805" fmla="*/ 967 w 10000"/>
                <a:gd name="connsiteY805" fmla="*/ 9652 h 10000"/>
                <a:gd name="connsiteX806" fmla="*/ 987 w 10000"/>
                <a:gd name="connsiteY806" fmla="*/ 9668 h 10000"/>
                <a:gd name="connsiteX807" fmla="*/ 1005 w 10000"/>
                <a:gd name="connsiteY807" fmla="*/ 9682 h 10000"/>
                <a:gd name="connsiteX808" fmla="*/ 1025 w 10000"/>
                <a:gd name="connsiteY808" fmla="*/ 9698 h 10000"/>
                <a:gd name="connsiteX809" fmla="*/ 1045 w 10000"/>
                <a:gd name="connsiteY809" fmla="*/ 9712 h 10000"/>
                <a:gd name="connsiteX810" fmla="*/ 1073 w 10000"/>
                <a:gd name="connsiteY810" fmla="*/ 9724 h 10000"/>
                <a:gd name="connsiteX811" fmla="*/ 1098 w 10000"/>
                <a:gd name="connsiteY811" fmla="*/ 9738 h 10000"/>
                <a:gd name="connsiteX812" fmla="*/ 1121 w 10000"/>
                <a:gd name="connsiteY812" fmla="*/ 9750 h 10000"/>
                <a:gd name="connsiteX813" fmla="*/ 1141 w 10000"/>
                <a:gd name="connsiteY813" fmla="*/ 9762 h 10000"/>
                <a:gd name="connsiteX814" fmla="*/ 1159 w 10000"/>
                <a:gd name="connsiteY814" fmla="*/ 9776 h 10000"/>
                <a:gd name="connsiteX815" fmla="*/ 1172 w 10000"/>
                <a:gd name="connsiteY815" fmla="*/ 9787 h 10000"/>
                <a:gd name="connsiteX816" fmla="*/ 1182 w 10000"/>
                <a:gd name="connsiteY816" fmla="*/ 9804 h 10000"/>
                <a:gd name="connsiteX817" fmla="*/ 1194 w 10000"/>
                <a:gd name="connsiteY817" fmla="*/ 9818 h 10000"/>
                <a:gd name="connsiteX818" fmla="*/ 1202 w 10000"/>
                <a:gd name="connsiteY818" fmla="*/ 9834 h 10000"/>
                <a:gd name="connsiteX819" fmla="*/ 1212 w 10000"/>
                <a:gd name="connsiteY819" fmla="*/ 9869 h 10000"/>
                <a:gd name="connsiteX820" fmla="*/ 1220 w 10000"/>
                <a:gd name="connsiteY820" fmla="*/ 9906 h 10000"/>
                <a:gd name="connsiteX821" fmla="*/ 1230 w 10000"/>
                <a:gd name="connsiteY821" fmla="*/ 9951 h 10000"/>
                <a:gd name="connsiteX822" fmla="*/ 1237 w 10000"/>
                <a:gd name="connsiteY822" fmla="*/ 10000 h 10000"/>
                <a:gd name="connsiteX823" fmla="*/ 1237 w 10000"/>
                <a:gd name="connsiteY82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58 w 10000"/>
                <a:gd name="connsiteY711" fmla="*/ 8548 h 10000"/>
                <a:gd name="connsiteX712" fmla="*/ 1742 w 10000"/>
                <a:gd name="connsiteY712" fmla="*/ 8551 h 10000"/>
                <a:gd name="connsiteX713" fmla="*/ 1717 w 10000"/>
                <a:gd name="connsiteY713" fmla="*/ 8518 h 10000"/>
                <a:gd name="connsiteX714" fmla="*/ 1525 w 10000"/>
                <a:gd name="connsiteY714" fmla="*/ 8186 h 10000"/>
                <a:gd name="connsiteX715" fmla="*/ 1500 w 10000"/>
                <a:gd name="connsiteY715" fmla="*/ 8191 h 10000"/>
                <a:gd name="connsiteX716" fmla="*/ 1472 w 10000"/>
                <a:gd name="connsiteY716" fmla="*/ 8198 h 10000"/>
                <a:gd name="connsiteX717" fmla="*/ 1434 w 10000"/>
                <a:gd name="connsiteY717" fmla="*/ 8223 h 10000"/>
                <a:gd name="connsiteX718" fmla="*/ 1149 w 10000"/>
                <a:gd name="connsiteY718" fmla="*/ 8256 h 10000"/>
                <a:gd name="connsiteX719" fmla="*/ 1139 w 10000"/>
                <a:gd name="connsiteY719" fmla="*/ 8249 h 10000"/>
                <a:gd name="connsiteX720" fmla="*/ 1126 w 10000"/>
                <a:gd name="connsiteY720" fmla="*/ 8240 h 10000"/>
                <a:gd name="connsiteX721" fmla="*/ 1114 w 10000"/>
                <a:gd name="connsiteY721" fmla="*/ 8240 h 10000"/>
                <a:gd name="connsiteX722" fmla="*/ 1091 w 10000"/>
                <a:gd name="connsiteY722" fmla="*/ 8242 h 10000"/>
                <a:gd name="connsiteX723" fmla="*/ 1071 w 10000"/>
                <a:gd name="connsiteY723" fmla="*/ 8252 h 10000"/>
                <a:gd name="connsiteX724" fmla="*/ 1048 w 10000"/>
                <a:gd name="connsiteY724" fmla="*/ 8261 h 10000"/>
                <a:gd name="connsiteX725" fmla="*/ 1030 w 10000"/>
                <a:gd name="connsiteY725" fmla="*/ 8273 h 10000"/>
                <a:gd name="connsiteX726" fmla="*/ 1010 w 10000"/>
                <a:gd name="connsiteY726" fmla="*/ 8287 h 10000"/>
                <a:gd name="connsiteX727" fmla="*/ 995 w 10000"/>
                <a:gd name="connsiteY727" fmla="*/ 8303 h 10000"/>
                <a:gd name="connsiteX728" fmla="*/ 975 w 10000"/>
                <a:gd name="connsiteY728" fmla="*/ 8322 h 10000"/>
                <a:gd name="connsiteX729" fmla="*/ 960 w 10000"/>
                <a:gd name="connsiteY729" fmla="*/ 8343 h 10000"/>
                <a:gd name="connsiteX730" fmla="*/ 927 w 10000"/>
                <a:gd name="connsiteY730" fmla="*/ 8380 h 10000"/>
                <a:gd name="connsiteX731" fmla="*/ 891 w 10000"/>
                <a:gd name="connsiteY731" fmla="*/ 8417 h 10000"/>
                <a:gd name="connsiteX732" fmla="*/ 874 w 10000"/>
                <a:gd name="connsiteY732" fmla="*/ 8436 h 10000"/>
                <a:gd name="connsiteX733" fmla="*/ 859 w 10000"/>
                <a:gd name="connsiteY733" fmla="*/ 8450 h 10000"/>
                <a:gd name="connsiteX734" fmla="*/ 838 w 10000"/>
                <a:gd name="connsiteY734" fmla="*/ 8462 h 10000"/>
                <a:gd name="connsiteX735" fmla="*/ 821 w 10000"/>
                <a:gd name="connsiteY735" fmla="*/ 8476 h 10000"/>
                <a:gd name="connsiteX736" fmla="*/ 742 w 10000"/>
                <a:gd name="connsiteY736" fmla="*/ 8562 h 10000"/>
                <a:gd name="connsiteX737" fmla="*/ 672 w 10000"/>
                <a:gd name="connsiteY737" fmla="*/ 8644 h 10000"/>
                <a:gd name="connsiteX738" fmla="*/ 639 w 10000"/>
                <a:gd name="connsiteY738" fmla="*/ 8684 h 10000"/>
                <a:gd name="connsiteX739" fmla="*/ 609 w 10000"/>
                <a:gd name="connsiteY739" fmla="*/ 8731 h 10000"/>
                <a:gd name="connsiteX740" fmla="*/ 583 w 10000"/>
                <a:gd name="connsiteY740" fmla="*/ 8777 h 10000"/>
                <a:gd name="connsiteX741" fmla="*/ 556 w 10000"/>
                <a:gd name="connsiteY741" fmla="*/ 8831 h 10000"/>
                <a:gd name="connsiteX742" fmla="*/ 545 w 10000"/>
                <a:gd name="connsiteY742" fmla="*/ 8852 h 10000"/>
                <a:gd name="connsiteX743" fmla="*/ 525 w 10000"/>
                <a:gd name="connsiteY743" fmla="*/ 8885 h 10000"/>
                <a:gd name="connsiteX744" fmla="*/ 503 w 10000"/>
                <a:gd name="connsiteY744" fmla="*/ 8925 h 10000"/>
                <a:gd name="connsiteX745" fmla="*/ 480 w 10000"/>
                <a:gd name="connsiteY745" fmla="*/ 8962 h 10000"/>
                <a:gd name="connsiteX746" fmla="*/ 465 w 10000"/>
                <a:gd name="connsiteY746" fmla="*/ 8981 h 10000"/>
                <a:gd name="connsiteX747" fmla="*/ 455 w 10000"/>
                <a:gd name="connsiteY747" fmla="*/ 8993 h 10000"/>
                <a:gd name="connsiteX748" fmla="*/ 444 w 10000"/>
                <a:gd name="connsiteY748" fmla="*/ 9000 h 10000"/>
                <a:gd name="connsiteX749" fmla="*/ 434 w 10000"/>
                <a:gd name="connsiteY749" fmla="*/ 9007 h 10000"/>
                <a:gd name="connsiteX750" fmla="*/ 432 w 10000"/>
                <a:gd name="connsiteY750" fmla="*/ 9007 h 10000"/>
                <a:gd name="connsiteX751" fmla="*/ 429 w 10000"/>
                <a:gd name="connsiteY751" fmla="*/ 9004 h 10000"/>
                <a:gd name="connsiteX752" fmla="*/ 427 w 10000"/>
                <a:gd name="connsiteY752" fmla="*/ 8997 h 10000"/>
                <a:gd name="connsiteX753" fmla="*/ 427 w 10000"/>
                <a:gd name="connsiteY753" fmla="*/ 8993 h 10000"/>
                <a:gd name="connsiteX754" fmla="*/ 424 w 10000"/>
                <a:gd name="connsiteY754" fmla="*/ 8976 h 10000"/>
                <a:gd name="connsiteX755" fmla="*/ 427 w 10000"/>
                <a:gd name="connsiteY755" fmla="*/ 8948 h 10000"/>
                <a:gd name="connsiteX756" fmla="*/ 437 w 10000"/>
                <a:gd name="connsiteY756" fmla="*/ 8913 h 10000"/>
                <a:gd name="connsiteX757" fmla="*/ 455 w 10000"/>
                <a:gd name="connsiteY757" fmla="*/ 8859 h 10000"/>
                <a:gd name="connsiteX758" fmla="*/ 462 w 10000"/>
                <a:gd name="connsiteY758" fmla="*/ 8834 h 10000"/>
                <a:gd name="connsiteX759" fmla="*/ 470 w 10000"/>
                <a:gd name="connsiteY759" fmla="*/ 8810 h 10000"/>
                <a:gd name="connsiteX760" fmla="*/ 472 w 10000"/>
                <a:gd name="connsiteY760" fmla="*/ 8794 h 10000"/>
                <a:gd name="connsiteX761" fmla="*/ 472 w 10000"/>
                <a:gd name="connsiteY761" fmla="*/ 8780 h 10000"/>
                <a:gd name="connsiteX762" fmla="*/ 462 w 10000"/>
                <a:gd name="connsiteY762" fmla="*/ 8784 h 10000"/>
                <a:gd name="connsiteX763" fmla="*/ 452 w 10000"/>
                <a:gd name="connsiteY763" fmla="*/ 8787 h 10000"/>
                <a:gd name="connsiteX764" fmla="*/ 437 w 10000"/>
                <a:gd name="connsiteY764" fmla="*/ 8794 h 10000"/>
                <a:gd name="connsiteX765" fmla="*/ 424 w 10000"/>
                <a:gd name="connsiteY765" fmla="*/ 8803 h 10000"/>
                <a:gd name="connsiteX766" fmla="*/ 394 w 10000"/>
                <a:gd name="connsiteY766" fmla="*/ 8829 h 10000"/>
                <a:gd name="connsiteX767" fmla="*/ 364 w 10000"/>
                <a:gd name="connsiteY767" fmla="*/ 8859 h 10000"/>
                <a:gd name="connsiteX768" fmla="*/ 311 w 10000"/>
                <a:gd name="connsiteY768" fmla="*/ 8922 h 10000"/>
                <a:gd name="connsiteX769" fmla="*/ 268 w 10000"/>
                <a:gd name="connsiteY769" fmla="*/ 8964 h 10000"/>
                <a:gd name="connsiteX770" fmla="*/ 205 w 10000"/>
                <a:gd name="connsiteY770" fmla="*/ 9016 h 10000"/>
                <a:gd name="connsiteX771" fmla="*/ 146 w 10000"/>
                <a:gd name="connsiteY771" fmla="*/ 9053 h 10000"/>
                <a:gd name="connsiteX772" fmla="*/ 139 w 10000"/>
                <a:gd name="connsiteY772" fmla="*/ 9063 h 10000"/>
                <a:gd name="connsiteX773" fmla="*/ 129 w 10000"/>
                <a:gd name="connsiteY773" fmla="*/ 9077 h 10000"/>
                <a:gd name="connsiteX774" fmla="*/ 126 w 10000"/>
                <a:gd name="connsiteY774" fmla="*/ 9086 h 10000"/>
                <a:gd name="connsiteX775" fmla="*/ 126 w 10000"/>
                <a:gd name="connsiteY775" fmla="*/ 9102 h 10000"/>
                <a:gd name="connsiteX776" fmla="*/ 129 w 10000"/>
                <a:gd name="connsiteY776" fmla="*/ 9116 h 10000"/>
                <a:gd name="connsiteX777" fmla="*/ 139 w 10000"/>
                <a:gd name="connsiteY777" fmla="*/ 9135 h 10000"/>
                <a:gd name="connsiteX778" fmla="*/ 149 w 10000"/>
                <a:gd name="connsiteY778" fmla="*/ 9151 h 10000"/>
                <a:gd name="connsiteX779" fmla="*/ 164 w 10000"/>
                <a:gd name="connsiteY779" fmla="*/ 9175 h 10000"/>
                <a:gd name="connsiteX780" fmla="*/ 184 w 10000"/>
                <a:gd name="connsiteY780" fmla="*/ 9196 h 10000"/>
                <a:gd name="connsiteX781" fmla="*/ 207 w 10000"/>
                <a:gd name="connsiteY781" fmla="*/ 9215 h 10000"/>
                <a:gd name="connsiteX782" fmla="*/ 227 w 10000"/>
                <a:gd name="connsiteY782" fmla="*/ 9233 h 10000"/>
                <a:gd name="connsiteX783" fmla="*/ 253 w 10000"/>
                <a:gd name="connsiteY783" fmla="*/ 9250 h 10000"/>
                <a:gd name="connsiteX784" fmla="*/ 303 w 10000"/>
                <a:gd name="connsiteY784" fmla="*/ 9282 h 10000"/>
                <a:gd name="connsiteX785" fmla="*/ 351 w 10000"/>
                <a:gd name="connsiteY785" fmla="*/ 9315 h 10000"/>
                <a:gd name="connsiteX786" fmla="*/ 414 w 10000"/>
                <a:gd name="connsiteY786" fmla="*/ 9364 h 10000"/>
                <a:gd name="connsiteX787" fmla="*/ 480 w 10000"/>
                <a:gd name="connsiteY787" fmla="*/ 9416 h 10000"/>
                <a:gd name="connsiteX788" fmla="*/ 513 w 10000"/>
                <a:gd name="connsiteY788" fmla="*/ 9437 h 10000"/>
                <a:gd name="connsiteX789" fmla="*/ 548 w 10000"/>
                <a:gd name="connsiteY789" fmla="*/ 9462 h 10000"/>
                <a:gd name="connsiteX790" fmla="*/ 581 w 10000"/>
                <a:gd name="connsiteY790" fmla="*/ 9483 h 10000"/>
                <a:gd name="connsiteX791" fmla="*/ 614 w 10000"/>
                <a:gd name="connsiteY791" fmla="*/ 9502 h 10000"/>
                <a:gd name="connsiteX792" fmla="*/ 641 w 10000"/>
                <a:gd name="connsiteY792" fmla="*/ 9525 h 10000"/>
                <a:gd name="connsiteX793" fmla="*/ 672 w 10000"/>
                <a:gd name="connsiteY793" fmla="*/ 9549 h 10000"/>
                <a:gd name="connsiteX794" fmla="*/ 702 w 10000"/>
                <a:gd name="connsiteY794" fmla="*/ 9568 h 10000"/>
                <a:gd name="connsiteX795" fmla="*/ 737 w 10000"/>
                <a:gd name="connsiteY795" fmla="*/ 9589 h 10000"/>
                <a:gd name="connsiteX796" fmla="*/ 770 w 10000"/>
                <a:gd name="connsiteY796" fmla="*/ 9605 h 10000"/>
                <a:gd name="connsiteX797" fmla="*/ 808 w 10000"/>
                <a:gd name="connsiteY797" fmla="*/ 9617 h 10000"/>
                <a:gd name="connsiteX798" fmla="*/ 843 w 10000"/>
                <a:gd name="connsiteY798" fmla="*/ 9624 h 10000"/>
                <a:gd name="connsiteX799" fmla="*/ 884 w 10000"/>
                <a:gd name="connsiteY799" fmla="*/ 9628 h 10000"/>
                <a:gd name="connsiteX800" fmla="*/ 902 w 10000"/>
                <a:gd name="connsiteY800" fmla="*/ 9628 h 10000"/>
                <a:gd name="connsiteX801" fmla="*/ 914 w 10000"/>
                <a:gd name="connsiteY801" fmla="*/ 9631 h 10000"/>
                <a:gd name="connsiteX802" fmla="*/ 932 w 10000"/>
                <a:gd name="connsiteY802" fmla="*/ 9638 h 10000"/>
                <a:gd name="connsiteX803" fmla="*/ 942 w 10000"/>
                <a:gd name="connsiteY803" fmla="*/ 9642 h 10000"/>
                <a:gd name="connsiteX804" fmla="*/ 967 w 10000"/>
                <a:gd name="connsiteY804" fmla="*/ 9652 h 10000"/>
                <a:gd name="connsiteX805" fmla="*/ 987 w 10000"/>
                <a:gd name="connsiteY805" fmla="*/ 9668 h 10000"/>
                <a:gd name="connsiteX806" fmla="*/ 1005 w 10000"/>
                <a:gd name="connsiteY806" fmla="*/ 9682 h 10000"/>
                <a:gd name="connsiteX807" fmla="*/ 1025 w 10000"/>
                <a:gd name="connsiteY807" fmla="*/ 9698 h 10000"/>
                <a:gd name="connsiteX808" fmla="*/ 1045 w 10000"/>
                <a:gd name="connsiteY808" fmla="*/ 9712 h 10000"/>
                <a:gd name="connsiteX809" fmla="*/ 1073 w 10000"/>
                <a:gd name="connsiteY809" fmla="*/ 9724 h 10000"/>
                <a:gd name="connsiteX810" fmla="*/ 1098 w 10000"/>
                <a:gd name="connsiteY810" fmla="*/ 9738 h 10000"/>
                <a:gd name="connsiteX811" fmla="*/ 1121 w 10000"/>
                <a:gd name="connsiteY811" fmla="*/ 9750 h 10000"/>
                <a:gd name="connsiteX812" fmla="*/ 1141 w 10000"/>
                <a:gd name="connsiteY812" fmla="*/ 9762 h 10000"/>
                <a:gd name="connsiteX813" fmla="*/ 1159 w 10000"/>
                <a:gd name="connsiteY813" fmla="*/ 9776 h 10000"/>
                <a:gd name="connsiteX814" fmla="*/ 1172 w 10000"/>
                <a:gd name="connsiteY814" fmla="*/ 9787 h 10000"/>
                <a:gd name="connsiteX815" fmla="*/ 1182 w 10000"/>
                <a:gd name="connsiteY815" fmla="*/ 9804 h 10000"/>
                <a:gd name="connsiteX816" fmla="*/ 1194 w 10000"/>
                <a:gd name="connsiteY816" fmla="*/ 9818 h 10000"/>
                <a:gd name="connsiteX817" fmla="*/ 1202 w 10000"/>
                <a:gd name="connsiteY817" fmla="*/ 9834 h 10000"/>
                <a:gd name="connsiteX818" fmla="*/ 1212 w 10000"/>
                <a:gd name="connsiteY818" fmla="*/ 9869 h 10000"/>
                <a:gd name="connsiteX819" fmla="*/ 1220 w 10000"/>
                <a:gd name="connsiteY819" fmla="*/ 9906 h 10000"/>
                <a:gd name="connsiteX820" fmla="*/ 1230 w 10000"/>
                <a:gd name="connsiteY820" fmla="*/ 9951 h 10000"/>
                <a:gd name="connsiteX821" fmla="*/ 1237 w 10000"/>
                <a:gd name="connsiteY821" fmla="*/ 10000 h 10000"/>
                <a:gd name="connsiteX822" fmla="*/ 1237 w 10000"/>
                <a:gd name="connsiteY82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58 w 10000"/>
                <a:gd name="connsiteY711" fmla="*/ 8548 h 10000"/>
                <a:gd name="connsiteX712" fmla="*/ 1742 w 10000"/>
                <a:gd name="connsiteY712" fmla="*/ 8551 h 10000"/>
                <a:gd name="connsiteX713" fmla="*/ 1525 w 10000"/>
                <a:gd name="connsiteY713" fmla="*/ 8186 h 10000"/>
                <a:gd name="connsiteX714" fmla="*/ 1500 w 10000"/>
                <a:gd name="connsiteY714" fmla="*/ 8191 h 10000"/>
                <a:gd name="connsiteX715" fmla="*/ 1472 w 10000"/>
                <a:gd name="connsiteY715" fmla="*/ 8198 h 10000"/>
                <a:gd name="connsiteX716" fmla="*/ 1434 w 10000"/>
                <a:gd name="connsiteY716" fmla="*/ 8223 h 10000"/>
                <a:gd name="connsiteX717" fmla="*/ 1149 w 10000"/>
                <a:gd name="connsiteY717" fmla="*/ 8256 h 10000"/>
                <a:gd name="connsiteX718" fmla="*/ 1139 w 10000"/>
                <a:gd name="connsiteY718" fmla="*/ 8249 h 10000"/>
                <a:gd name="connsiteX719" fmla="*/ 1126 w 10000"/>
                <a:gd name="connsiteY719" fmla="*/ 8240 h 10000"/>
                <a:gd name="connsiteX720" fmla="*/ 1114 w 10000"/>
                <a:gd name="connsiteY720" fmla="*/ 8240 h 10000"/>
                <a:gd name="connsiteX721" fmla="*/ 1091 w 10000"/>
                <a:gd name="connsiteY721" fmla="*/ 8242 h 10000"/>
                <a:gd name="connsiteX722" fmla="*/ 1071 w 10000"/>
                <a:gd name="connsiteY722" fmla="*/ 8252 h 10000"/>
                <a:gd name="connsiteX723" fmla="*/ 1048 w 10000"/>
                <a:gd name="connsiteY723" fmla="*/ 8261 h 10000"/>
                <a:gd name="connsiteX724" fmla="*/ 1030 w 10000"/>
                <a:gd name="connsiteY724" fmla="*/ 8273 h 10000"/>
                <a:gd name="connsiteX725" fmla="*/ 1010 w 10000"/>
                <a:gd name="connsiteY725" fmla="*/ 8287 h 10000"/>
                <a:gd name="connsiteX726" fmla="*/ 995 w 10000"/>
                <a:gd name="connsiteY726" fmla="*/ 8303 h 10000"/>
                <a:gd name="connsiteX727" fmla="*/ 975 w 10000"/>
                <a:gd name="connsiteY727" fmla="*/ 8322 h 10000"/>
                <a:gd name="connsiteX728" fmla="*/ 960 w 10000"/>
                <a:gd name="connsiteY728" fmla="*/ 8343 h 10000"/>
                <a:gd name="connsiteX729" fmla="*/ 927 w 10000"/>
                <a:gd name="connsiteY729" fmla="*/ 8380 h 10000"/>
                <a:gd name="connsiteX730" fmla="*/ 891 w 10000"/>
                <a:gd name="connsiteY730" fmla="*/ 8417 h 10000"/>
                <a:gd name="connsiteX731" fmla="*/ 874 w 10000"/>
                <a:gd name="connsiteY731" fmla="*/ 8436 h 10000"/>
                <a:gd name="connsiteX732" fmla="*/ 859 w 10000"/>
                <a:gd name="connsiteY732" fmla="*/ 8450 h 10000"/>
                <a:gd name="connsiteX733" fmla="*/ 838 w 10000"/>
                <a:gd name="connsiteY733" fmla="*/ 8462 h 10000"/>
                <a:gd name="connsiteX734" fmla="*/ 821 w 10000"/>
                <a:gd name="connsiteY734" fmla="*/ 8476 h 10000"/>
                <a:gd name="connsiteX735" fmla="*/ 742 w 10000"/>
                <a:gd name="connsiteY735" fmla="*/ 8562 h 10000"/>
                <a:gd name="connsiteX736" fmla="*/ 672 w 10000"/>
                <a:gd name="connsiteY736" fmla="*/ 8644 h 10000"/>
                <a:gd name="connsiteX737" fmla="*/ 639 w 10000"/>
                <a:gd name="connsiteY737" fmla="*/ 8684 h 10000"/>
                <a:gd name="connsiteX738" fmla="*/ 609 w 10000"/>
                <a:gd name="connsiteY738" fmla="*/ 8731 h 10000"/>
                <a:gd name="connsiteX739" fmla="*/ 583 w 10000"/>
                <a:gd name="connsiteY739" fmla="*/ 8777 h 10000"/>
                <a:gd name="connsiteX740" fmla="*/ 556 w 10000"/>
                <a:gd name="connsiteY740" fmla="*/ 8831 h 10000"/>
                <a:gd name="connsiteX741" fmla="*/ 545 w 10000"/>
                <a:gd name="connsiteY741" fmla="*/ 8852 h 10000"/>
                <a:gd name="connsiteX742" fmla="*/ 525 w 10000"/>
                <a:gd name="connsiteY742" fmla="*/ 8885 h 10000"/>
                <a:gd name="connsiteX743" fmla="*/ 503 w 10000"/>
                <a:gd name="connsiteY743" fmla="*/ 8925 h 10000"/>
                <a:gd name="connsiteX744" fmla="*/ 480 w 10000"/>
                <a:gd name="connsiteY744" fmla="*/ 8962 h 10000"/>
                <a:gd name="connsiteX745" fmla="*/ 465 w 10000"/>
                <a:gd name="connsiteY745" fmla="*/ 8981 h 10000"/>
                <a:gd name="connsiteX746" fmla="*/ 455 w 10000"/>
                <a:gd name="connsiteY746" fmla="*/ 8993 h 10000"/>
                <a:gd name="connsiteX747" fmla="*/ 444 w 10000"/>
                <a:gd name="connsiteY747" fmla="*/ 9000 h 10000"/>
                <a:gd name="connsiteX748" fmla="*/ 434 w 10000"/>
                <a:gd name="connsiteY748" fmla="*/ 9007 h 10000"/>
                <a:gd name="connsiteX749" fmla="*/ 432 w 10000"/>
                <a:gd name="connsiteY749" fmla="*/ 9007 h 10000"/>
                <a:gd name="connsiteX750" fmla="*/ 429 w 10000"/>
                <a:gd name="connsiteY750" fmla="*/ 9004 h 10000"/>
                <a:gd name="connsiteX751" fmla="*/ 427 w 10000"/>
                <a:gd name="connsiteY751" fmla="*/ 8997 h 10000"/>
                <a:gd name="connsiteX752" fmla="*/ 427 w 10000"/>
                <a:gd name="connsiteY752" fmla="*/ 8993 h 10000"/>
                <a:gd name="connsiteX753" fmla="*/ 424 w 10000"/>
                <a:gd name="connsiteY753" fmla="*/ 8976 h 10000"/>
                <a:gd name="connsiteX754" fmla="*/ 427 w 10000"/>
                <a:gd name="connsiteY754" fmla="*/ 8948 h 10000"/>
                <a:gd name="connsiteX755" fmla="*/ 437 w 10000"/>
                <a:gd name="connsiteY755" fmla="*/ 8913 h 10000"/>
                <a:gd name="connsiteX756" fmla="*/ 455 w 10000"/>
                <a:gd name="connsiteY756" fmla="*/ 8859 h 10000"/>
                <a:gd name="connsiteX757" fmla="*/ 462 w 10000"/>
                <a:gd name="connsiteY757" fmla="*/ 8834 h 10000"/>
                <a:gd name="connsiteX758" fmla="*/ 470 w 10000"/>
                <a:gd name="connsiteY758" fmla="*/ 8810 h 10000"/>
                <a:gd name="connsiteX759" fmla="*/ 472 w 10000"/>
                <a:gd name="connsiteY759" fmla="*/ 8794 h 10000"/>
                <a:gd name="connsiteX760" fmla="*/ 472 w 10000"/>
                <a:gd name="connsiteY760" fmla="*/ 8780 h 10000"/>
                <a:gd name="connsiteX761" fmla="*/ 462 w 10000"/>
                <a:gd name="connsiteY761" fmla="*/ 8784 h 10000"/>
                <a:gd name="connsiteX762" fmla="*/ 452 w 10000"/>
                <a:gd name="connsiteY762" fmla="*/ 8787 h 10000"/>
                <a:gd name="connsiteX763" fmla="*/ 437 w 10000"/>
                <a:gd name="connsiteY763" fmla="*/ 8794 h 10000"/>
                <a:gd name="connsiteX764" fmla="*/ 424 w 10000"/>
                <a:gd name="connsiteY764" fmla="*/ 8803 h 10000"/>
                <a:gd name="connsiteX765" fmla="*/ 394 w 10000"/>
                <a:gd name="connsiteY765" fmla="*/ 8829 h 10000"/>
                <a:gd name="connsiteX766" fmla="*/ 364 w 10000"/>
                <a:gd name="connsiteY766" fmla="*/ 8859 h 10000"/>
                <a:gd name="connsiteX767" fmla="*/ 311 w 10000"/>
                <a:gd name="connsiteY767" fmla="*/ 8922 h 10000"/>
                <a:gd name="connsiteX768" fmla="*/ 268 w 10000"/>
                <a:gd name="connsiteY768" fmla="*/ 8964 h 10000"/>
                <a:gd name="connsiteX769" fmla="*/ 205 w 10000"/>
                <a:gd name="connsiteY769" fmla="*/ 9016 h 10000"/>
                <a:gd name="connsiteX770" fmla="*/ 146 w 10000"/>
                <a:gd name="connsiteY770" fmla="*/ 9053 h 10000"/>
                <a:gd name="connsiteX771" fmla="*/ 139 w 10000"/>
                <a:gd name="connsiteY771" fmla="*/ 9063 h 10000"/>
                <a:gd name="connsiteX772" fmla="*/ 129 w 10000"/>
                <a:gd name="connsiteY772" fmla="*/ 9077 h 10000"/>
                <a:gd name="connsiteX773" fmla="*/ 126 w 10000"/>
                <a:gd name="connsiteY773" fmla="*/ 9086 h 10000"/>
                <a:gd name="connsiteX774" fmla="*/ 126 w 10000"/>
                <a:gd name="connsiteY774" fmla="*/ 9102 h 10000"/>
                <a:gd name="connsiteX775" fmla="*/ 129 w 10000"/>
                <a:gd name="connsiteY775" fmla="*/ 9116 h 10000"/>
                <a:gd name="connsiteX776" fmla="*/ 139 w 10000"/>
                <a:gd name="connsiteY776" fmla="*/ 9135 h 10000"/>
                <a:gd name="connsiteX777" fmla="*/ 149 w 10000"/>
                <a:gd name="connsiteY777" fmla="*/ 9151 h 10000"/>
                <a:gd name="connsiteX778" fmla="*/ 164 w 10000"/>
                <a:gd name="connsiteY778" fmla="*/ 9175 h 10000"/>
                <a:gd name="connsiteX779" fmla="*/ 184 w 10000"/>
                <a:gd name="connsiteY779" fmla="*/ 9196 h 10000"/>
                <a:gd name="connsiteX780" fmla="*/ 207 w 10000"/>
                <a:gd name="connsiteY780" fmla="*/ 9215 h 10000"/>
                <a:gd name="connsiteX781" fmla="*/ 227 w 10000"/>
                <a:gd name="connsiteY781" fmla="*/ 9233 h 10000"/>
                <a:gd name="connsiteX782" fmla="*/ 253 w 10000"/>
                <a:gd name="connsiteY782" fmla="*/ 9250 h 10000"/>
                <a:gd name="connsiteX783" fmla="*/ 303 w 10000"/>
                <a:gd name="connsiteY783" fmla="*/ 9282 h 10000"/>
                <a:gd name="connsiteX784" fmla="*/ 351 w 10000"/>
                <a:gd name="connsiteY784" fmla="*/ 9315 h 10000"/>
                <a:gd name="connsiteX785" fmla="*/ 414 w 10000"/>
                <a:gd name="connsiteY785" fmla="*/ 9364 h 10000"/>
                <a:gd name="connsiteX786" fmla="*/ 480 w 10000"/>
                <a:gd name="connsiteY786" fmla="*/ 9416 h 10000"/>
                <a:gd name="connsiteX787" fmla="*/ 513 w 10000"/>
                <a:gd name="connsiteY787" fmla="*/ 9437 h 10000"/>
                <a:gd name="connsiteX788" fmla="*/ 548 w 10000"/>
                <a:gd name="connsiteY788" fmla="*/ 9462 h 10000"/>
                <a:gd name="connsiteX789" fmla="*/ 581 w 10000"/>
                <a:gd name="connsiteY789" fmla="*/ 9483 h 10000"/>
                <a:gd name="connsiteX790" fmla="*/ 614 w 10000"/>
                <a:gd name="connsiteY790" fmla="*/ 9502 h 10000"/>
                <a:gd name="connsiteX791" fmla="*/ 641 w 10000"/>
                <a:gd name="connsiteY791" fmla="*/ 9525 h 10000"/>
                <a:gd name="connsiteX792" fmla="*/ 672 w 10000"/>
                <a:gd name="connsiteY792" fmla="*/ 9549 h 10000"/>
                <a:gd name="connsiteX793" fmla="*/ 702 w 10000"/>
                <a:gd name="connsiteY793" fmla="*/ 9568 h 10000"/>
                <a:gd name="connsiteX794" fmla="*/ 737 w 10000"/>
                <a:gd name="connsiteY794" fmla="*/ 9589 h 10000"/>
                <a:gd name="connsiteX795" fmla="*/ 770 w 10000"/>
                <a:gd name="connsiteY795" fmla="*/ 9605 h 10000"/>
                <a:gd name="connsiteX796" fmla="*/ 808 w 10000"/>
                <a:gd name="connsiteY796" fmla="*/ 9617 h 10000"/>
                <a:gd name="connsiteX797" fmla="*/ 843 w 10000"/>
                <a:gd name="connsiteY797" fmla="*/ 9624 h 10000"/>
                <a:gd name="connsiteX798" fmla="*/ 884 w 10000"/>
                <a:gd name="connsiteY798" fmla="*/ 9628 h 10000"/>
                <a:gd name="connsiteX799" fmla="*/ 902 w 10000"/>
                <a:gd name="connsiteY799" fmla="*/ 9628 h 10000"/>
                <a:gd name="connsiteX800" fmla="*/ 914 w 10000"/>
                <a:gd name="connsiteY800" fmla="*/ 9631 h 10000"/>
                <a:gd name="connsiteX801" fmla="*/ 932 w 10000"/>
                <a:gd name="connsiteY801" fmla="*/ 9638 h 10000"/>
                <a:gd name="connsiteX802" fmla="*/ 942 w 10000"/>
                <a:gd name="connsiteY802" fmla="*/ 9642 h 10000"/>
                <a:gd name="connsiteX803" fmla="*/ 967 w 10000"/>
                <a:gd name="connsiteY803" fmla="*/ 9652 h 10000"/>
                <a:gd name="connsiteX804" fmla="*/ 987 w 10000"/>
                <a:gd name="connsiteY804" fmla="*/ 9668 h 10000"/>
                <a:gd name="connsiteX805" fmla="*/ 1005 w 10000"/>
                <a:gd name="connsiteY805" fmla="*/ 9682 h 10000"/>
                <a:gd name="connsiteX806" fmla="*/ 1025 w 10000"/>
                <a:gd name="connsiteY806" fmla="*/ 9698 h 10000"/>
                <a:gd name="connsiteX807" fmla="*/ 1045 w 10000"/>
                <a:gd name="connsiteY807" fmla="*/ 9712 h 10000"/>
                <a:gd name="connsiteX808" fmla="*/ 1073 w 10000"/>
                <a:gd name="connsiteY808" fmla="*/ 9724 h 10000"/>
                <a:gd name="connsiteX809" fmla="*/ 1098 w 10000"/>
                <a:gd name="connsiteY809" fmla="*/ 9738 h 10000"/>
                <a:gd name="connsiteX810" fmla="*/ 1121 w 10000"/>
                <a:gd name="connsiteY810" fmla="*/ 9750 h 10000"/>
                <a:gd name="connsiteX811" fmla="*/ 1141 w 10000"/>
                <a:gd name="connsiteY811" fmla="*/ 9762 h 10000"/>
                <a:gd name="connsiteX812" fmla="*/ 1159 w 10000"/>
                <a:gd name="connsiteY812" fmla="*/ 9776 h 10000"/>
                <a:gd name="connsiteX813" fmla="*/ 1172 w 10000"/>
                <a:gd name="connsiteY813" fmla="*/ 9787 h 10000"/>
                <a:gd name="connsiteX814" fmla="*/ 1182 w 10000"/>
                <a:gd name="connsiteY814" fmla="*/ 9804 h 10000"/>
                <a:gd name="connsiteX815" fmla="*/ 1194 w 10000"/>
                <a:gd name="connsiteY815" fmla="*/ 9818 h 10000"/>
                <a:gd name="connsiteX816" fmla="*/ 1202 w 10000"/>
                <a:gd name="connsiteY816" fmla="*/ 9834 h 10000"/>
                <a:gd name="connsiteX817" fmla="*/ 1212 w 10000"/>
                <a:gd name="connsiteY817" fmla="*/ 9869 h 10000"/>
                <a:gd name="connsiteX818" fmla="*/ 1220 w 10000"/>
                <a:gd name="connsiteY818" fmla="*/ 9906 h 10000"/>
                <a:gd name="connsiteX819" fmla="*/ 1230 w 10000"/>
                <a:gd name="connsiteY819" fmla="*/ 9951 h 10000"/>
                <a:gd name="connsiteX820" fmla="*/ 1237 w 10000"/>
                <a:gd name="connsiteY820" fmla="*/ 10000 h 10000"/>
                <a:gd name="connsiteX821" fmla="*/ 1237 w 10000"/>
                <a:gd name="connsiteY82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758 w 10000"/>
                <a:gd name="connsiteY711" fmla="*/ 8548 h 10000"/>
                <a:gd name="connsiteX712" fmla="*/ 1525 w 10000"/>
                <a:gd name="connsiteY712" fmla="*/ 8186 h 10000"/>
                <a:gd name="connsiteX713" fmla="*/ 1500 w 10000"/>
                <a:gd name="connsiteY713" fmla="*/ 8191 h 10000"/>
                <a:gd name="connsiteX714" fmla="*/ 1472 w 10000"/>
                <a:gd name="connsiteY714" fmla="*/ 8198 h 10000"/>
                <a:gd name="connsiteX715" fmla="*/ 1434 w 10000"/>
                <a:gd name="connsiteY715" fmla="*/ 8223 h 10000"/>
                <a:gd name="connsiteX716" fmla="*/ 1149 w 10000"/>
                <a:gd name="connsiteY716" fmla="*/ 8256 h 10000"/>
                <a:gd name="connsiteX717" fmla="*/ 1139 w 10000"/>
                <a:gd name="connsiteY717" fmla="*/ 8249 h 10000"/>
                <a:gd name="connsiteX718" fmla="*/ 1126 w 10000"/>
                <a:gd name="connsiteY718" fmla="*/ 8240 h 10000"/>
                <a:gd name="connsiteX719" fmla="*/ 1114 w 10000"/>
                <a:gd name="connsiteY719" fmla="*/ 8240 h 10000"/>
                <a:gd name="connsiteX720" fmla="*/ 1091 w 10000"/>
                <a:gd name="connsiteY720" fmla="*/ 8242 h 10000"/>
                <a:gd name="connsiteX721" fmla="*/ 1071 w 10000"/>
                <a:gd name="connsiteY721" fmla="*/ 8252 h 10000"/>
                <a:gd name="connsiteX722" fmla="*/ 1048 w 10000"/>
                <a:gd name="connsiteY722" fmla="*/ 8261 h 10000"/>
                <a:gd name="connsiteX723" fmla="*/ 1030 w 10000"/>
                <a:gd name="connsiteY723" fmla="*/ 8273 h 10000"/>
                <a:gd name="connsiteX724" fmla="*/ 1010 w 10000"/>
                <a:gd name="connsiteY724" fmla="*/ 8287 h 10000"/>
                <a:gd name="connsiteX725" fmla="*/ 995 w 10000"/>
                <a:gd name="connsiteY725" fmla="*/ 8303 h 10000"/>
                <a:gd name="connsiteX726" fmla="*/ 975 w 10000"/>
                <a:gd name="connsiteY726" fmla="*/ 8322 h 10000"/>
                <a:gd name="connsiteX727" fmla="*/ 960 w 10000"/>
                <a:gd name="connsiteY727" fmla="*/ 8343 h 10000"/>
                <a:gd name="connsiteX728" fmla="*/ 927 w 10000"/>
                <a:gd name="connsiteY728" fmla="*/ 8380 h 10000"/>
                <a:gd name="connsiteX729" fmla="*/ 891 w 10000"/>
                <a:gd name="connsiteY729" fmla="*/ 8417 h 10000"/>
                <a:gd name="connsiteX730" fmla="*/ 874 w 10000"/>
                <a:gd name="connsiteY730" fmla="*/ 8436 h 10000"/>
                <a:gd name="connsiteX731" fmla="*/ 859 w 10000"/>
                <a:gd name="connsiteY731" fmla="*/ 8450 h 10000"/>
                <a:gd name="connsiteX732" fmla="*/ 838 w 10000"/>
                <a:gd name="connsiteY732" fmla="*/ 8462 h 10000"/>
                <a:gd name="connsiteX733" fmla="*/ 821 w 10000"/>
                <a:gd name="connsiteY733" fmla="*/ 8476 h 10000"/>
                <a:gd name="connsiteX734" fmla="*/ 742 w 10000"/>
                <a:gd name="connsiteY734" fmla="*/ 8562 h 10000"/>
                <a:gd name="connsiteX735" fmla="*/ 672 w 10000"/>
                <a:gd name="connsiteY735" fmla="*/ 8644 h 10000"/>
                <a:gd name="connsiteX736" fmla="*/ 639 w 10000"/>
                <a:gd name="connsiteY736" fmla="*/ 8684 h 10000"/>
                <a:gd name="connsiteX737" fmla="*/ 609 w 10000"/>
                <a:gd name="connsiteY737" fmla="*/ 8731 h 10000"/>
                <a:gd name="connsiteX738" fmla="*/ 583 w 10000"/>
                <a:gd name="connsiteY738" fmla="*/ 8777 h 10000"/>
                <a:gd name="connsiteX739" fmla="*/ 556 w 10000"/>
                <a:gd name="connsiteY739" fmla="*/ 8831 h 10000"/>
                <a:gd name="connsiteX740" fmla="*/ 545 w 10000"/>
                <a:gd name="connsiteY740" fmla="*/ 8852 h 10000"/>
                <a:gd name="connsiteX741" fmla="*/ 525 w 10000"/>
                <a:gd name="connsiteY741" fmla="*/ 8885 h 10000"/>
                <a:gd name="connsiteX742" fmla="*/ 503 w 10000"/>
                <a:gd name="connsiteY742" fmla="*/ 8925 h 10000"/>
                <a:gd name="connsiteX743" fmla="*/ 480 w 10000"/>
                <a:gd name="connsiteY743" fmla="*/ 8962 h 10000"/>
                <a:gd name="connsiteX744" fmla="*/ 465 w 10000"/>
                <a:gd name="connsiteY744" fmla="*/ 8981 h 10000"/>
                <a:gd name="connsiteX745" fmla="*/ 455 w 10000"/>
                <a:gd name="connsiteY745" fmla="*/ 8993 h 10000"/>
                <a:gd name="connsiteX746" fmla="*/ 444 w 10000"/>
                <a:gd name="connsiteY746" fmla="*/ 9000 h 10000"/>
                <a:gd name="connsiteX747" fmla="*/ 434 w 10000"/>
                <a:gd name="connsiteY747" fmla="*/ 9007 h 10000"/>
                <a:gd name="connsiteX748" fmla="*/ 432 w 10000"/>
                <a:gd name="connsiteY748" fmla="*/ 9007 h 10000"/>
                <a:gd name="connsiteX749" fmla="*/ 429 w 10000"/>
                <a:gd name="connsiteY749" fmla="*/ 9004 h 10000"/>
                <a:gd name="connsiteX750" fmla="*/ 427 w 10000"/>
                <a:gd name="connsiteY750" fmla="*/ 8997 h 10000"/>
                <a:gd name="connsiteX751" fmla="*/ 427 w 10000"/>
                <a:gd name="connsiteY751" fmla="*/ 8993 h 10000"/>
                <a:gd name="connsiteX752" fmla="*/ 424 w 10000"/>
                <a:gd name="connsiteY752" fmla="*/ 8976 h 10000"/>
                <a:gd name="connsiteX753" fmla="*/ 427 w 10000"/>
                <a:gd name="connsiteY753" fmla="*/ 8948 h 10000"/>
                <a:gd name="connsiteX754" fmla="*/ 437 w 10000"/>
                <a:gd name="connsiteY754" fmla="*/ 8913 h 10000"/>
                <a:gd name="connsiteX755" fmla="*/ 455 w 10000"/>
                <a:gd name="connsiteY755" fmla="*/ 8859 h 10000"/>
                <a:gd name="connsiteX756" fmla="*/ 462 w 10000"/>
                <a:gd name="connsiteY756" fmla="*/ 8834 h 10000"/>
                <a:gd name="connsiteX757" fmla="*/ 470 w 10000"/>
                <a:gd name="connsiteY757" fmla="*/ 8810 h 10000"/>
                <a:gd name="connsiteX758" fmla="*/ 472 w 10000"/>
                <a:gd name="connsiteY758" fmla="*/ 8794 h 10000"/>
                <a:gd name="connsiteX759" fmla="*/ 472 w 10000"/>
                <a:gd name="connsiteY759" fmla="*/ 8780 h 10000"/>
                <a:gd name="connsiteX760" fmla="*/ 462 w 10000"/>
                <a:gd name="connsiteY760" fmla="*/ 8784 h 10000"/>
                <a:gd name="connsiteX761" fmla="*/ 452 w 10000"/>
                <a:gd name="connsiteY761" fmla="*/ 8787 h 10000"/>
                <a:gd name="connsiteX762" fmla="*/ 437 w 10000"/>
                <a:gd name="connsiteY762" fmla="*/ 8794 h 10000"/>
                <a:gd name="connsiteX763" fmla="*/ 424 w 10000"/>
                <a:gd name="connsiteY763" fmla="*/ 8803 h 10000"/>
                <a:gd name="connsiteX764" fmla="*/ 394 w 10000"/>
                <a:gd name="connsiteY764" fmla="*/ 8829 h 10000"/>
                <a:gd name="connsiteX765" fmla="*/ 364 w 10000"/>
                <a:gd name="connsiteY765" fmla="*/ 8859 h 10000"/>
                <a:gd name="connsiteX766" fmla="*/ 311 w 10000"/>
                <a:gd name="connsiteY766" fmla="*/ 8922 h 10000"/>
                <a:gd name="connsiteX767" fmla="*/ 268 w 10000"/>
                <a:gd name="connsiteY767" fmla="*/ 8964 h 10000"/>
                <a:gd name="connsiteX768" fmla="*/ 205 w 10000"/>
                <a:gd name="connsiteY768" fmla="*/ 9016 h 10000"/>
                <a:gd name="connsiteX769" fmla="*/ 146 w 10000"/>
                <a:gd name="connsiteY769" fmla="*/ 9053 h 10000"/>
                <a:gd name="connsiteX770" fmla="*/ 139 w 10000"/>
                <a:gd name="connsiteY770" fmla="*/ 9063 h 10000"/>
                <a:gd name="connsiteX771" fmla="*/ 129 w 10000"/>
                <a:gd name="connsiteY771" fmla="*/ 9077 h 10000"/>
                <a:gd name="connsiteX772" fmla="*/ 126 w 10000"/>
                <a:gd name="connsiteY772" fmla="*/ 9086 h 10000"/>
                <a:gd name="connsiteX773" fmla="*/ 126 w 10000"/>
                <a:gd name="connsiteY773" fmla="*/ 9102 h 10000"/>
                <a:gd name="connsiteX774" fmla="*/ 129 w 10000"/>
                <a:gd name="connsiteY774" fmla="*/ 9116 h 10000"/>
                <a:gd name="connsiteX775" fmla="*/ 139 w 10000"/>
                <a:gd name="connsiteY775" fmla="*/ 9135 h 10000"/>
                <a:gd name="connsiteX776" fmla="*/ 149 w 10000"/>
                <a:gd name="connsiteY776" fmla="*/ 9151 h 10000"/>
                <a:gd name="connsiteX777" fmla="*/ 164 w 10000"/>
                <a:gd name="connsiteY777" fmla="*/ 9175 h 10000"/>
                <a:gd name="connsiteX778" fmla="*/ 184 w 10000"/>
                <a:gd name="connsiteY778" fmla="*/ 9196 h 10000"/>
                <a:gd name="connsiteX779" fmla="*/ 207 w 10000"/>
                <a:gd name="connsiteY779" fmla="*/ 9215 h 10000"/>
                <a:gd name="connsiteX780" fmla="*/ 227 w 10000"/>
                <a:gd name="connsiteY780" fmla="*/ 9233 h 10000"/>
                <a:gd name="connsiteX781" fmla="*/ 253 w 10000"/>
                <a:gd name="connsiteY781" fmla="*/ 9250 h 10000"/>
                <a:gd name="connsiteX782" fmla="*/ 303 w 10000"/>
                <a:gd name="connsiteY782" fmla="*/ 9282 h 10000"/>
                <a:gd name="connsiteX783" fmla="*/ 351 w 10000"/>
                <a:gd name="connsiteY783" fmla="*/ 9315 h 10000"/>
                <a:gd name="connsiteX784" fmla="*/ 414 w 10000"/>
                <a:gd name="connsiteY784" fmla="*/ 9364 h 10000"/>
                <a:gd name="connsiteX785" fmla="*/ 480 w 10000"/>
                <a:gd name="connsiteY785" fmla="*/ 9416 h 10000"/>
                <a:gd name="connsiteX786" fmla="*/ 513 w 10000"/>
                <a:gd name="connsiteY786" fmla="*/ 9437 h 10000"/>
                <a:gd name="connsiteX787" fmla="*/ 548 w 10000"/>
                <a:gd name="connsiteY787" fmla="*/ 9462 h 10000"/>
                <a:gd name="connsiteX788" fmla="*/ 581 w 10000"/>
                <a:gd name="connsiteY788" fmla="*/ 9483 h 10000"/>
                <a:gd name="connsiteX789" fmla="*/ 614 w 10000"/>
                <a:gd name="connsiteY789" fmla="*/ 9502 h 10000"/>
                <a:gd name="connsiteX790" fmla="*/ 641 w 10000"/>
                <a:gd name="connsiteY790" fmla="*/ 9525 h 10000"/>
                <a:gd name="connsiteX791" fmla="*/ 672 w 10000"/>
                <a:gd name="connsiteY791" fmla="*/ 9549 h 10000"/>
                <a:gd name="connsiteX792" fmla="*/ 702 w 10000"/>
                <a:gd name="connsiteY792" fmla="*/ 9568 h 10000"/>
                <a:gd name="connsiteX793" fmla="*/ 737 w 10000"/>
                <a:gd name="connsiteY793" fmla="*/ 9589 h 10000"/>
                <a:gd name="connsiteX794" fmla="*/ 770 w 10000"/>
                <a:gd name="connsiteY794" fmla="*/ 9605 h 10000"/>
                <a:gd name="connsiteX795" fmla="*/ 808 w 10000"/>
                <a:gd name="connsiteY795" fmla="*/ 9617 h 10000"/>
                <a:gd name="connsiteX796" fmla="*/ 843 w 10000"/>
                <a:gd name="connsiteY796" fmla="*/ 9624 h 10000"/>
                <a:gd name="connsiteX797" fmla="*/ 884 w 10000"/>
                <a:gd name="connsiteY797" fmla="*/ 9628 h 10000"/>
                <a:gd name="connsiteX798" fmla="*/ 902 w 10000"/>
                <a:gd name="connsiteY798" fmla="*/ 9628 h 10000"/>
                <a:gd name="connsiteX799" fmla="*/ 914 w 10000"/>
                <a:gd name="connsiteY799" fmla="*/ 9631 h 10000"/>
                <a:gd name="connsiteX800" fmla="*/ 932 w 10000"/>
                <a:gd name="connsiteY800" fmla="*/ 9638 h 10000"/>
                <a:gd name="connsiteX801" fmla="*/ 942 w 10000"/>
                <a:gd name="connsiteY801" fmla="*/ 9642 h 10000"/>
                <a:gd name="connsiteX802" fmla="*/ 967 w 10000"/>
                <a:gd name="connsiteY802" fmla="*/ 9652 h 10000"/>
                <a:gd name="connsiteX803" fmla="*/ 987 w 10000"/>
                <a:gd name="connsiteY803" fmla="*/ 9668 h 10000"/>
                <a:gd name="connsiteX804" fmla="*/ 1005 w 10000"/>
                <a:gd name="connsiteY804" fmla="*/ 9682 h 10000"/>
                <a:gd name="connsiteX805" fmla="*/ 1025 w 10000"/>
                <a:gd name="connsiteY805" fmla="*/ 9698 h 10000"/>
                <a:gd name="connsiteX806" fmla="*/ 1045 w 10000"/>
                <a:gd name="connsiteY806" fmla="*/ 9712 h 10000"/>
                <a:gd name="connsiteX807" fmla="*/ 1073 w 10000"/>
                <a:gd name="connsiteY807" fmla="*/ 9724 h 10000"/>
                <a:gd name="connsiteX808" fmla="*/ 1098 w 10000"/>
                <a:gd name="connsiteY808" fmla="*/ 9738 h 10000"/>
                <a:gd name="connsiteX809" fmla="*/ 1121 w 10000"/>
                <a:gd name="connsiteY809" fmla="*/ 9750 h 10000"/>
                <a:gd name="connsiteX810" fmla="*/ 1141 w 10000"/>
                <a:gd name="connsiteY810" fmla="*/ 9762 h 10000"/>
                <a:gd name="connsiteX811" fmla="*/ 1159 w 10000"/>
                <a:gd name="connsiteY811" fmla="*/ 9776 h 10000"/>
                <a:gd name="connsiteX812" fmla="*/ 1172 w 10000"/>
                <a:gd name="connsiteY812" fmla="*/ 9787 h 10000"/>
                <a:gd name="connsiteX813" fmla="*/ 1182 w 10000"/>
                <a:gd name="connsiteY813" fmla="*/ 9804 h 10000"/>
                <a:gd name="connsiteX814" fmla="*/ 1194 w 10000"/>
                <a:gd name="connsiteY814" fmla="*/ 9818 h 10000"/>
                <a:gd name="connsiteX815" fmla="*/ 1202 w 10000"/>
                <a:gd name="connsiteY815" fmla="*/ 9834 h 10000"/>
                <a:gd name="connsiteX816" fmla="*/ 1212 w 10000"/>
                <a:gd name="connsiteY816" fmla="*/ 9869 h 10000"/>
                <a:gd name="connsiteX817" fmla="*/ 1220 w 10000"/>
                <a:gd name="connsiteY817" fmla="*/ 9906 h 10000"/>
                <a:gd name="connsiteX818" fmla="*/ 1230 w 10000"/>
                <a:gd name="connsiteY818" fmla="*/ 9951 h 10000"/>
                <a:gd name="connsiteX819" fmla="*/ 1237 w 10000"/>
                <a:gd name="connsiteY819" fmla="*/ 10000 h 10000"/>
                <a:gd name="connsiteX820" fmla="*/ 1237 w 10000"/>
                <a:gd name="connsiteY82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56 w 10000"/>
                <a:gd name="connsiteY708" fmla="*/ 8506 h 10000"/>
                <a:gd name="connsiteX709" fmla="*/ 1816 w 10000"/>
                <a:gd name="connsiteY709" fmla="*/ 8527 h 10000"/>
                <a:gd name="connsiteX710" fmla="*/ 1793 w 10000"/>
                <a:gd name="connsiteY710" fmla="*/ 8539 h 10000"/>
                <a:gd name="connsiteX711" fmla="*/ 1525 w 10000"/>
                <a:gd name="connsiteY711" fmla="*/ 8186 h 10000"/>
                <a:gd name="connsiteX712" fmla="*/ 1500 w 10000"/>
                <a:gd name="connsiteY712" fmla="*/ 8191 h 10000"/>
                <a:gd name="connsiteX713" fmla="*/ 1472 w 10000"/>
                <a:gd name="connsiteY713" fmla="*/ 8198 h 10000"/>
                <a:gd name="connsiteX714" fmla="*/ 1434 w 10000"/>
                <a:gd name="connsiteY714" fmla="*/ 8223 h 10000"/>
                <a:gd name="connsiteX715" fmla="*/ 1149 w 10000"/>
                <a:gd name="connsiteY715" fmla="*/ 8256 h 10000"/>
                <a:gd name="connsiteX716" fmla="*/ 1139 w 10000"/>
                <a:gd name="connsiteY716" fmla="*/ 8249 h 10000"/>
                <a:gd name="connsiteX717" fmla="*/ 1126 w 10000"/>
                <a:gd name="connsiteY717" fmla="*/ 8240 h 10000"/>
                <a:gd name="connsiteX718" fmla="*/ 1114 w 10000"/>
                <a:gd name="connsiteY718" fmla="*/ 8240 h 10000"/>
                <a:gd name="connsiteX719" fmla="*/ 1091 w 10000"/>
                <a:gd name="connsiteY719" fmla="*/ 8242 h 10000"/>
                <a:gd name="connsiteX720" fmla="*/ 1071 w 10000"/>
                <a:gd name="connsiteY720" fmla="*/ 8252 h 10000"/>
                <a:gd name="connsiteX721" fmla="*/ 1048 w 10000"/>
                <a:gd name="connsiteY721" fmla="*/ 8261 h 10000"/>
                <a:gd name="connsiteX722" fmla="*/ 1030 w 10000"/>
                <a:gd name="connsiteY722" fmla="*/ 8273 h 10000"/>
                <a:gd name="connsiteX723" fmla="*/ 1010 w 10000"/>
                <a:gd name="connsiteY723" fmla="*/ 8287 h 10000"/>
                <a:gd name="connsiteX724" fmla="*/ 995 w 10000"/>
                <a:gd name="connsiteY724" fmla="*/ 8303 h 10000"/>
                <a:gd name="connsiteX725" fmla="*/ 975 w 10000"/>
                <a:gd name="connsiteY725" fmla="*/ 8322 h 10000"/>
                <a:gd name="connsiteX726" fmla="*/ 960 w 10000"/>
                <a:gd name="connsiteY726" fmla="*/ 8343 h 10000"/>
                <a:gd name="connsiteX727" fmla="*/ 927 w 10000"/>
                <a:gd name="connsiteY727" fmla="*/ 8380 h 10000"/>
                <a:gd name="connsiteX728" fmla="*/ 891 w 10000"/>
                <a:gd name="connsiteY728" fmla="*/ 8417 h 10000"/>
                <a:gd name="connsiteX729" fmla="*/ 874 w 10000"/>
                <a:gd name="connsiteY729" fmla="*/ 8436 h 10000"/>
                <a:gd name="connsiteX730" fmla="*/ 859 w 10000"/>
                <a:gd name="connsiteY730" fmla="*/ 8450 h 10000"/>
                <a:gd name="connsiteX731" fmla="*/ 838 w 10000"/>
                <a:gd name="connsiteY731" fmla="*/ 8462 h 10000"/>
                <a:gd name="connsiteX732" fmla="*/ 821 w 10000"/>
                <a:gd name="connsiteY732" fmla="*/ 8476 h 10000"/>
                <a:gd name="connsiteX733" fmla="*/ 742 w 10000"/>
                <a:gd name="connsiteY733" fmla="*/ 8562 h 10000"/>
                <a:gd name="connsiteX734" fmla="*/ 672 w 10000"/>
                <a:gd name="connsiteY734" fmla="*/ 8644 h 10000"/>
                <a:gd name="connsiteX735" fmla="*/ 639 w 10000"/>
                <a:gd name="connsiteY735" fmla="*/ 8684 h 10000"/>
                <a:gd name="connsiteX736" fmla="*/ 609 w 10000"/>
                <a:gd name="connsiteY736" fmla="*/ 8731 h 10000"/>
                <a:gd name="connsiteX737" fmla="*/ 583 w 10000"/>
                <a:gd name="connsiteY737" fmla="*/ 8777 h 10000"/>
                <a:gd name="connsiteX738" fmla="*/ 556 w 10000"/>
                <a:gd name="connsiteY738" fmla="*/ 8831 h 10000"/>
                <a:gd name="connsiteX739" fmla="*/ 545 w 10000"/>
                <a:gd name="connsiteY739" fmla="*/ 8852 h 10000"/>
                <a:gd name="connsiteX740" fmla="*/ 525 w 10000"/>
                <a:gd name="connsiteY740" fmla="*/ 8885 h 10000"/>
                <a:gd name="connsiteX741" fmla="*/ 503 w 10000"/>
                <a:gd name="connsiteY741" fmla="*/ 8925 h 10000"/>
                <a:gd name="connsiteX742" fmla="*/ 480 w 10000"/>
                <a:gd name="connsiteY742" fmla="*/ 8962 h 10000"/>
                <a:gd name="connsiteX743" fmla="*/ 465 w 10000"/>
                <a:gd name="connsiteY743" fmla="*/ 8981 h 10000"/>
                <a:gd name="connsiteX744" fmla="*/ 455 w 10000"/>
                <a:gd name="connsiteY744" fmla="*/ 8993 h 10000"/>
                <a:gd name="connsiteX745" fmla="*/ 444 w 10000"/>
                <a:gd name="connsiteY745" fmla="*/ 9000 h 10000"/>
                <a:gd name="connsiteX746" fmla="*/ 434 w 10000"/>
                <a:gd name="connsiteY746" fmla="*/ 9007 h 10000"/>
                <a:gd name="connsiteX747" fmla="*/ 432 w 10000"/>
                <a:gd name="connsiteY747" fmla="*/ 9007 h 10000"/>
                <a:gd name="connsiteX748" fmla="*/ 429 w 10000"/>
                <a:gd name="connsiteY748" fmla="*/ 9004 h 10000"/>
                <a:gd name="connsiteX749" fmla="*/ 427 w 10000"/>
                <a:gd name="connsiteY749" fmla="*/ 8997 h 10000"/>
                <a:gd name="connsiteX750" fmla="*/ 427 w 10000"/>
                <a:gd name="connsiteY750" fmla="*/ 8993 h 10000"/>
                <a:gd name="connsiteX751" fmla="*/ 424 w 10000"/>
                <a:gd name="connsiteY751" fmla="*/ 8976 h 10000"/>
                <a:gd name="connsiteX752" fmla="*/ 427 w 10000"/>
                <a:gd name="connsiteY752" fmla="*/ 8948 h 10000"/>
                <a:gd name="connsiteX753" fmla="*/ 437 w 10000"/>
                <a:gd name="connsiteY753" fmla="*/ 8913 h 10000"/>
                <a:gd name="connsiteX754" fmla="*/ 455 w 10000"/>
                <a:gd name="connsiteY754" fmla="*/ 8859 h 10000"/>
                <a:gd name="connsiteX755" fmla="*/ 462 w 10000"/>
                <a:gd name="connsiteY755" fmla="*/ 8834 h 10000"/>
                <a:gd name="connsiteX756" fmla="*/ 470 w 10000"/>
                <a:gd name="connsiteY756" fmla="*/ 8810 h 10000"/>
                <a:gd name="connsiteX757" fmla="*/ 472 w 10000"/>
                <a:gd name="connsiteY757" fmla="*/ 8794 h 10000"/>
                <a:gd name="connsiteX758" fmla="*/ 472 w 10000"/>
                <a:gd name="connsiteY758" fmla="*/ 8780 h 10000"/>
                <a:gd name="connsiteX759" fmla="*/ 462 w 10000"/>
                <a:gd name="connsiteY759" fmla="*/ 8784 h 10000"/>
                <a:gd name="connsiteX760" fmla="*/ 452 w 10000"/>
                <a:gd name="connsiteY760" fmla="*/ 8787 h 10000"/>
                <a:gd name="connsiteX761" fmla="*/ 437 w 10000"/>
                <a:gd name="connsiteY761" fmla="*/ 8794 h 10000"/>
                <a:gd name="connsiteX762" fmla="*/ 424 w 10000"/>
                <a:gd name="connsiteY762" fmla="*/ 8803 h 10000"/>
                <a:gd name="connsiteX763" fmla="*/ 394 w 10000"/>
                <a:gd name="connsiteY763" fmla="*/ 8829 h 10000"/>
                <a:gd name="connsiteX764" fmla="*/ 364 w 10000"/>
                <a:gd name="connsiteY764" fmla="*/ 8859 h 10000"/>
                <a:gd name="connsiteX765" fmla="*/ 311 w 10000"/>
                <a:gd name="connsiteY765" fmla="*/ 8922 h 10000"/>
                <a:gd name="connsiteX766" fmla="*/ 268 w 10000"/>
                <a:gd name="connsiteY766" fmla="*/ 8964 h 10000"/>
                <a:gd name="connsiteX767" fmla="*/ 205 w 10000"/>
                <a:gd name="connsiteY767" fmla="*/ 9016 h 10000"/>
                <a:gd name="connsiteX768" fmla="*/ 146 w 10000"/>
                <a:gd name="connsiteY768" fmla="*/ 9053 h 10000"/>
                <a:gd name="connsiteX769" fmla="*/ 139 w 10000"/>
                <a:gd name="connsiteY769" fmla="*/ 9063 h 10000"/>
                <a:gd name="connsiteX770" fmla="*/ 129 w 10000"/>
                <a:gd name="connsiteY770" fmla="*/ 9077 h 10000"/>
                <a:gd name="connsiteX771" fmla="*/ 126 w 10000"/>
                <a:gd name="connsiteY771" fmla="*/ 9086 h 10000"/>
                <a:gd name="connsiteX772" fmla="*/ 126 w 10000"/>
                <a:gd name="connsiteY772" fmla="*/ 9102 h 10000"/>
                <a:gd name="connsiteX773" fmla="*/ 129 w 10000"/>
                <a:gd name="connsiteY773" fmla="*/ 9116 h 10000"/>
                <a:gd name="connsiteX774" fmla="*/ 139 w 10000"/>
                <a:gd name="connsiteY774" fmla="*/ 9135 h 10000"/>
                <a:gd name="connsiteX775" fmla="*/ 149 w 10000"/>
                <a:gd name="connsiteY775" fmla="*/ 9151 h 10000"/>
                <a:gd name="connsiteX776" fmla="*/ 164 w 10000"/>
                <a:gd name="connsiteY776" fmla="*/ 9175 h 10000"/>
                <a:gd name="connsiteX777" fmla="*/ 184 w 10000"/>
                <a:gd name="connsiteY777" fmla="*/ 9196 h 10000"/>
                <a:gd name="connsiteX778" fmla="*/ 207 w 10000"/>
                <a:gd name="connsiteY778" fmla="*/ 9215 h 10000"/>
                <a:gd name="connsiteX779" fmla="*/ 227 w 10000"/>
                <a:gd name="connsiteY779" fmla="*/ 9233 h 10000"/>
                <a:gd name="connsiteX780" fmla="*/ 253 w 10000"/>
                <a:gd name="connsiteY780" fmla="*/ 9250 h 10000"/>
                <a:gd name="connsiteX781" fmla="*/ 303 w 10000"/>
                <a:gd name="connsiteY781" fmla="*/ 9282 h 10000"/>
                <a:gd name="connsiteX782" fmla="*/ 351 w 10000"/>
                <a:gd name="connsiteY782" fmla="*/ 9315 h 10000"/>
                <a:gd name="connsiteX783" fmla="*/ 414 w 10000"/>
                <a:gd name="connsiteY783" fmla="*/ 9364 h 10000"/>
                <a:gd name="connsiteX784" fmla="*/ 480 w 10000"/>
                <a:gd name="connsiteY784" fmla="*/ 9416 h 10000"/>
                <a:gd name="connsiteX785" fmla="*/ 513 w 10000"/>
                <a:gd name="connsiteY785" fmla="*/ 9437 h 10000"/>
                <a:gd name="connsiteX786" fmla="*/ 548 w 10000"/>
                <a:gd name="connsiteY786" fmla="*/ 9462 h 10000"/>
                <a:gd name="connsiteX787" fmla="*/ 581 w 10000"/>
                <a:gd name="connsiteY787" fmla="*/ 9483 h 10000"/>
                <a:gd name="connsiteX788" fmla="*/ 614 w 10000"/>
                <a:gd name="connsiteY788" fmla="*/ 9502 h 10000"/>
                <a:gd name="connsiteX789" fmla="*/ 641 w 10000"/>
                <a:gd name="connsiteY789" fmla="*/ 9525 h 10000"/>
                <a:gd name="connsiteX790" fmla="*/ 672 w 10000"/>
                <a:gd name="connsiteY790" fmla="*/ 9549 h 10000"/>
                <a:gd name="connsiteX791" fmla="*/ 702 w 10000"/>
                <a:gd name="connsiteY791" fmla="*/ 9568 h 10000"/>
                <a:gd name="connsiteX792" fmla="*/ 737 w 10000"/>
                <a:gd name="connsiteY792" fmla="*/ 9589 h 10000"/>
                <a:gd name="connsiteX793" fmla="*/ 770 w 10000"/>
                <a:gd name="connsiteY793" fmla="*/ 9605 h 10000"/>
                <a:gd name="connsiteX794" fmla="*/ 808 w 10000"/>
                <a:gd name="connsiteY794" fmla="*/ 9617 h 10000"/>
                <a:gd name="connsiteX795" fmla="*/ 843 w 10000"/>
                <a:gd name="connsiteY795" fmla="*/ 9624 h 10000"/>
                <a:gd name="connsiteX796" fmla="*/ 884 w 10000"/>
                <a:gd name="connsiteY796" fmla="*/ 9628 h 10000"/>
                <a:gd name="connsiteX797" fmla="*/ 902 w 10000"/>
                <a:gd name="connsiteY797" fmla="*/ 9628 h 10000"/>
                <a:gd name="connsiteX798" fmla="*/ 914 w 10000"/>
                <a:gd name="connsiteY798" fmla="*/ 9631 h 10000"/>
                <a:gd name="connsiteX799" fmla="*/ 932 w 10000"/>
                <a:gd name="connsiteY799" fmla="*/ 9638 h 10000"/>
                <a:gd name="connsiteX800" fmla="*/ 942 w 10000"/>
                <a:gd name="connsiteY800" fmla="*/ 9642 h 10000"/>
                <a:gd name="connsiteX801" fmla="*/ 967 w 10000"/>
                <a:gd name="connsiteY801" fmla="*/ 9652 h 10000"/>
                <a:gd name="connsiteX802" fmla="*/ 987 w 10000"/>
                <a:gd name="connsiteY802" fmla="*/ 9668 h 10000"/>
                <a:gd name="connsiteX803" fmla="*/ 1005 w 10000"/>
                <a:gd name="connsiteY803" fmla="*/ 9682 h 10000"/>
                <a:gd name="connsiteX804" fmla="*/ 1025 w 10000"/>
                <a:gd name="connsiteY804" fmla="*/ 9698 h 10000"/>
                <a:gd name="connsiteX805" fmla="*/ 1045 w 10000"/>
                <a:gd name="connsiteY805" fmla="*/ 9712 h 10000"/>
                <a:gd name="connsiteX806" fmla="*/ 1073 w 10000"/>
                <a:gd name="connsiteY806" fmla="*/ 9724 h 10000"/>
                <a:gd name="connsiteX807" fmla="*/ 1098 w 10000"/>
                <a:gd name="connsiteY807" fmla="*/ 9738 h 10000"/>
                <a:gd name="connsiteX808" fmla="*/ 1121 w 10000"/>
                <a:gd name="connsiteY808" fmla="*/ 9750 h 10000"/>
                <a:gd name="connsiteX809" fmla="*/ 1141 w 10000"/>
                <a:gd name="connsiteY809" fmla="*/ 9762 h 10000"/>
                <a:gd name="connsiteX810" fmla="*/ 1159 w 10000"/>
                <a:gd name="connsiteY810" fmla="*/ 9776 h 10000"/>
                <a:gd name="connsiteX811" fmla="*/ 1172 w 10000"/>
                <a:gd name="connsiteY811" fmla="*/ 9787 h 10000"/>
                <a:gd name="connsiteX812" fmla="*/ 1182 w 10000"/>
                <a:gd name="connsiteY812" fmla="*/ 9804 h 10000"/>
                <a:gd name="connsiteX813" fmla="*/ 1194 w 10000"/>
                <a:gd name="connsiteY813" fmla="*/ 9818 h 10000"/>
                <a:gd name="connsiteX814" fmla="*/ 1202 w 10000"/>
                <a:gd name="connsiteY814" fmla="*/ 9834 h 10000"/>
                <a:gd name="connsiteX815" fmla="*/ 1212 w 10000"/>
                <a:gd name="connsiteY815" fmla="*/ 9869 h 10000"/>
                <a:gd name="connsiteX816" fmla="*/ 1220 w 10000"/>
                <a:gd name="connsiteY816" fmla="*/ 9906 h 10000"/>
                <a:gd name="connsiteX817" fmla="*/ 1230 w 10000"/>
                <a:gd name="connsiteY817" fmla="*/ 9951 h 10000"/>
                <a:gd name="connsiteX818" fmla="*/ 1237 w 10000"/>
                <a:gd name="connsiteY818" fmla="*/ 10000 h 10000"/>
                <a:gd name="connsiteX819" fmla="*/ 1237 w 10000"/>
                <a:gd name="connsiteY81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904 w 10000"/>
                <a:gd name="connsiteY707" fmla="*/ 8481 h 10000"/>
                <a:gd name="connsiteX708" fmla="*/ 1816 w 10000"/>
                <a:gd name="connsiteY708" fmla="*/ 8527 h 10000"/>
                <a:gd name="connsiteX709" fmla="*/ 1793 w 10000"/>
                <a:gd name="connsiteY709" fmla="*/ 8539 h 10000"/>
                <a:gd name="connsiteX710" fmla="*/ 1525 w 10000"/>
                <a:gd name="connsiteY710" fmla="*/ 8186 h 10000"/>
                <a:gd name="connsiteX711" fmla="*/ 1500 w 10000"/>
                <a:gd name="connsiteY711" fmla="*/ 8191 h 10000"/>
                <a:gd name="connsiteX712" fmla="*/ 1472 w 10000"/>
                <a:gd name="connsiteY712" fmla="*/ 8198 h 10000"/>
                <a:gd name="connsiteX713" fmla="*/ 1434 w 10000"/>
                <a:gd name="connsiteY713" fmla="*/ 8223 h 10000"/>
                <a:gd name="connsiteX714" fmla="*/ 1149 w 10000"/>
                <a:gd name="connsiteY714" fmla="*/ 8256 h 10000"/>
                <a:gd name="connsiteX715" fmla="*/ 1139 w 10000"/>
                <a:gd name="connsiteY715" fmla="*/ 8249 h 10000"/>
                <a:gd name="connsiteX716" fmla="*/ 1126 w 10000"/>
                <a:gd name="connsiteY716" fmla="*/ 8240 h 10000"/>
                <a:gd name="connsiteX717" fmla="*/ 1114 w 10000"/>
                <a:gd name="connsiteY717" fmla="*/ 8240 h 10000"/>
                <a:gd name="connsiteX718" fmla="*/ 1091 w 10000"/>
                <a:gd name="connsiteY718" fmla="*/ 8242 h 10000"/>
                <a:gd name="connsiteX719" fmla="*/ 1071 w 10000"/>
                <a:gd name="connsiteY719" fmla="*/ 8252 h 10000"/>
                <a:gd name="connsiteX720" fmla="*/ 1048 w 10000"/>
                <a:gd name="connsiteY720" fmla="*/ 8261 h 10000"/>
                <a:gd name="connsiteX721" fmla="*/ 1030 w 10000"/>
                <a:gd name="connsiteY721" fmla="*/ 8273 h 10000"/>
                <a:gd name="connsiteX722" fmla="*/ 1010 w 10000"/>
                <a:gd name="connsiteY722" fmla="*/ 8287 h 10000"/>
                <a:gd name="connsiteX723" fmla="*/ 995 w 10000"/>
                <a:gd name="connsiteY723" fmla="*/ 8303 h 10000"/>
                <a:gd name="connsiteX724" fmla="*/ 975 w 10000"/>
                <a:gd name="connsiteY724" fmla="*/ 8322 h 10000"/>
                <a:gd name="connsiteX725" fmla="*/ 960 w 10000"/>
                <a:gd name="connsiteY725" fmla="*/ 8343 h 10000"/>
                <a:gd name="connsiteX726" fmla="*/ 927 w 10000"/>
                <a:gd name="connsiteY726" fmla="*/ 8380 h 10000"/>
                <a:gd name="connsiteX727" fmla="*/ 891 w 10000"/>
                <a:gd name="connsiteY727" fmla="*/ 8417 h 10000"/>
                <a:gd name="connsiteX728" fmla="*/ 874 w 10000"/>
                <a:gd name="connsiteY728" fmla="*/ 8436 h 10000"/>
                <a:gd name="connsiteX729" fmla="*/ 859 w 10000"/>
                <a:gd name="connsiteY729" fmla="*/ 8450 h 10000"/>
                <a:gd name="connsiteX730" fmla="*/ 838 w 10000"/>
                <a:gd name="connsiteY730" fmla="*/ 8462 h 10000"/>
                <a:gd name="connsiteX731" fmla="*/ 821 w 10000"/>
                <a:gd name="connsiteY731" fmla="*/ 8476 h 10000"/>
                <a:gd name="connsiteX732" fmla="*/ 742 w 10000"/>
                <a:gd name="connsiteY732" fmla="*/ 8562 h 10000"/>
                <a:gd name="connsiteX733" fmla="*/ 672 w 10000"/>
                <a:gd name="connsiteY733" fmla="*/ 8644 h 10000"/>
                <a:gd name="connsiteX734" fmla="*/ 639 w 10000"/>
                <a:gd name="connsiteY734" fmla="*/ 8684 h 10000"/>
                <a:gd name="connsiteX735" fmla="*/ 609 w 10000"/>
                <a:gd name="connsiteY735" fmla="*/ 8731 h 10000"/>
                <a:gd name="connsiteX736" fmla="*/ 583 w 10000"/>
                <a:gd name="connsiteY736" fmla="*/ 8777 h 10000"/>
                <a:gd name="connsiteX737" fmla="*/ 556 w 10000"/>
                <a:gd name="connsiteY737" fmla="*/ 8831 h 10000"/>
                <a:gd name="connsiteX738" fmla="*/ 545 w 10000"/>
                <a:gd name="connsiteY738" fmla="*/ 8852 h 10000"/>
                <a:gd name="connsiteX739" fmla="*/ 525 w 10000"/>
                <a:gd name="connsiteY739" fmla="*/ 8885 h 10000"/>
                <a:gd name="connsiteX740" fmla="*/ 503 w 10000"/>
                <a:gd name="connsiteY740" fmla="*/ 8925 h 10000"/>
                <a:gd name="connsiteX741" fmla="*/ 480 w 10000"/>
                <a:gd name="connsiteY741" fmla="*/ 8962 h 10000"/>
                <a:gd name="connsiteX742" fmla="*/ 465 w 10000"/>
                <a:gd name="connsiteY742" fmla="*/ 8981 h 10000"/>
                <a:gd name="connsiteX743" fmla="*/ 455 w 10000"/>
                <a:gd name="connsiteY743" fmla="*/ 8993 h 10000"/>
                <a:gd name="connsiteX744" fmla="*/ 444 w 10000"/>
                <a:gd name="connsiteY744" fmla="*/ 9000 h 10000"/>
                <a:gd name="connsiteX745" fmla="*/ 434 w 10000"/>
                <a:gd name="connsiteY745" fmla="*/ 9007 h 10000"/>
                <a:gd name="connsiteX746" fmla="*/ 432 w 10000"/>
                <a:gd name="connsiteY746" fmla="*/ 9007 h 10000"/>
                <a:gd name="connsiteX747" fmla="*/ 429 w 10000"/>
                <a:gd name="connsiteY747" fmla="*/ 9004 h 10000"/>
                <a:gd name="connsiteX748" fmla="*/ 427 w 10000"/>
                <a:gd name="connsiteY748" fmla="*/ 8997 h 10000"/>
                <a:gd name="connsiteX749" fmla="*/ 427 w 10000"/>
                <a:gd name="connsiteY749" fmla="*/ 8993 h 10000"/>
                <a:gd name="connsiteX750" fmla="*/ 424 w 10000"/>
                <a:gd name="connsiteY750" fmla="*/ 8976 h 10000"/>
                <a:gd name="connsiteX751" fmla="*/ 427 w 10000"/>
                <a:gd name="connsiteY751" fmla="*/ 8948 h 10000"/>
                <a:gd name="connsiteX752" fmla="*/ 437 w 10000"/>
                <a:gd name="connsiteY752" fmla="*/ 8913 h 10000"/>
                <a:gd name="connsiteX753" fmla="*/ 455 w 10000"/>
                <a:gd name="connsiteY753" fmla="*/ 8859 h 10000"/>
                <a:gd name="connsiteX754" fmla="*/ 462 w 10000"/>
                <a:gd name="connsiteY754" fmla="*/ 8834 h 10000"/>
                <a:gd name="connsiteX755" fmla="*/ 470 w 10000"/>
                <a:gd name="connsiteY755" fmla="*/ 8810 h 10000"/>
                <a:gd name="connsiteX756" fmla="*/ 472 w 10000"/>
                <a:gd name="connsiteY756" fmla="*/ 8794 h 10000"/>
                <a:gd name="connsiteX757" fmla="*/ 472 w 10000"/>
                <a:gd name="connsiteY757" fmla="*/ 8780 h 10000"/>
                <a:gd name="connsiteX758" fmla="*/ 462 w 10000"/>
                <a:gd name="connsiteY758" fmla="*/ 8784 h 10000"/>
                <a:gd name="connsiteX759" fmla="*/ 452 w 10000"/>
                <a:gd name="connsiteY759" fmla="*/ 8787 h 10000"/>
                <a:gd name="connsiteX760" fmla="*/ 437 w 10000"/>
                <a:gd name="connsiteY760" fmla="*/ 8794 h 10000"/>
                <a:gd name="connsiteX761" fmla="*/ 424 w 10000"/>
                <a:gd name="connsiteY761" fmla="*/ 8803 h 10000"/>
                <a:gd name="connsiteX762" fmla="*/ 394 w 10000"/>
                <a:gd name="connsiteY762" fmla="*/ 8829 h 10000"/>
                <a:gd name="connsiteX763" fmla="*/ 364 w 10000"/>
                <a:gd name="connsiteY763" fmla="*/ 8859 h 10000"/>
                <a:gd name="connsiteX764" fmla="*/ 311 w 10000"/>
                <a:gd name="connsiteY764" fmla="*/ 8922 h 10000"/>
                <a:gd name="connsiteX765" fmla="*/ 268 w 10000"/>
                <a:gd name="connsiteY765" fmla="*/ 8964 h 10000"/>
                <a:gd name="connsiteX766" fmla="*/ 205 w 10000"/>
                <a:gd name="connsiteY766" fmla="*/ 9016 h 10000"/>
                <a:gd name="connsiteX767" fmla="*/ 146 w 10000"/>
                <a:gd name="connsiteY767" fmla="*/ 9053 h 10000"/>
                <a:gd name="connsiteX768" fmla="*/ 139 w 10000"/>
                <a:gd name="connsiteY768" fmla="*/ 9063 h 10000"/>
                <a:gd name="connsiteX769" fmla="*/ 129 w 10000"/>
                <a:gd name="connsiteY769" fmla="*/ 9077 h 10000"/>
                <a:gd name="connsiteX770" fmla="*/ 126 w 10000"/>
                <a:gd name="connsiteY770" fmla="*/ 9086 h 10000"/>
                <a:gd name="connsiteX771" fmla="*/ 126 w 10000"/>
                <a:gd name="connsiteY771" fmla="*/ 9102 h 10000"/>
                <a:gd name="connsiteX772" fmla="*/ 129 w 10000"/>
                <a:gd name="connsiteY772" fmla="*/ 9116 h 10000"/>
                <a:gd name="connsiteX773" fmla="*/ 139 w 10000"/>
                <a:gd name="connsiteY773" fmla="*/ 9135 h 10000"/>
                <a:gd name="connsiteX774" fmla="*/ 149 w 10000"/>
                <a:gd name="connsiteY774" fmla="*/ 9151 h 10000"/>
                <a:gd name="connsiteX775" fmla="*/ 164 w 10000"/>
                <a:gd name="connsiteY775" fmla="*/ 9175 h 10000"/>
                <a:gd name="connsiteX776" fmla="*/ 184 w 10000"/>
                <a:gd name="connsiteY776" fmla="*/ 9196 h 10000"/>
                <a:gd name="connsiteX777" fmla="*/ 207 w 10000"/>
                <a:gd name="connsiteY777" fmla="*/ 9215 h 10000"/>
                <a:gd name="connsiteX778" fmla="*/ 227 w 10000"/>
                <a:gd name="connsiteY778" fmla="*/ 9233 h 10000"/>
                <a:gd name="connsiteX779" fmla="*/ 253 w 10000"/>
                <a:gd name="connsiteY779" fmla="*/ 9250 h 10000"/>
                <a:gd name="connsiteX780" fmla="*/ 303 w 10000"/>
                <a:gd name="connsiteY780" fmla="*/ 9282 h 10000"/>
                <a:gd name="connsiteX781" fmla="*/ 351 w 10000"/>
                <a:gd name="connsiteY781" fmla="*/ 9315 h 10000"/>
                <a:gd name="connsiteX782" fmla="*/ 414 w 10000"/>
                <a:gd name="connsiteY782" fmla="*/ 9364 h 10000"/>
                <a:gd name="connsiteX783" fmla="*/ 480 w 10000"/>
                <a:gd name="connsiteY783" fmla="*/ 9416 h 10000"/>
                <a:gd name="connsiteX784" fmla="*/ 513 w 10000"/>
                <a:gd name="connsiteY784" fmla="*/ 9437 h 10000"/>
                <a:gd name="connsiteX785" fmla="*/ 548 w 10000"/>
                <a:gd name="connsiteY785" fmla="*/ 9462 h 10000"/>
                <a:gd name="connsiteX786" fmla="*/ 581 w 10000"/>
                <a:gd name="connsiteY786" fmla="*/ 9483 h 10000"/>
                <a:gd name="connsiteX787" fmla="*/ 614 w 10000"/>
                <a:gd name="connsiteY787" fmla="*/ 9502 h 10000"/>
                <a:gd name="connsiteX788" fmla="*/ 641 w 10000"/>
                <a:gd name="connsiteY788" fmla="*/ 9525 h 10000"/>
                <a:gd name="connsiteX789" fmla="*/ 672 w 10000"/>
                <a:gd name="connsiteY789" fmla="*/ 9549 h 10000"/>
                <a:gd name="connsiteX790" fmla="*/ 702 w 10000"/>
                <a:gd name="connsiteY790" fmla="*/ 9568 h 10000"/>
                <a:gd name="connsiteX791" fmla="*/ 737 w 10000"/>
                <a:gd name="connsiteY791" fmla="*/ 9589 h 10000"/>
                <a:gd name="connsiteX792" fmla="*/ 770 w 10000"/>
                <a:gd name="connsiteY792" fmla="*/ 9605 h 10000"/>
                <a:gd name="connsiteX793" fmla="*/ 808 w 10000"/>
                <a:gd name="connsiteY793" fmla="*/ 9617 h 10000"/>
                <a:gd name="connsiteX794" fmla="*/ 843 w 10000"/>
                <a:gd name="connsiteY794" fmla="*/ 9624 h 10000"/>
                <a:gd name="connsiteX795" fmla="*/ 884 w 10000"/>
                <a:gd name="connsiteY795" fmla="*/ 9628 h 10000"/>
                <a:gd name="connsiteX796" fmla="*/ 902 w 10000"/>
                <a:gd name="connsiteY796" fmla="*/ 9628 h 10000"/>
                <a:gd name="connsiteX797" fmla="*/ 914 w 10000"/>
                <a:gd name="connsiteY797" fmla="*/ 9631 h 10000"/>
                <a:gd name="connsiteX798" fmla="*/ 932 w 10000"/>
                <a:gd name="connsiteY798" fmla="*/ 9638 h 10000"/>
                <a:gd name="connsiteX799" fmla="*/ 942 w 10000"/>
                <a:gd name="connsiteY799" fmla="*/ 9642 h 10000"/>
                <a:gd name="connsiteX800" fmla="*/ 967 w 10000"/>
                <a:gd name="connsiteY800" fmla="*/ 9652 h 10000"/>
                <a:gd name="connsiteX801" fmla="*/ 987 w 10000"/>
                <a:gd name="connsiteY801" fmla="*/ 9668 h 10000"/>
                <a:gd name="connsiteX802" fmla="*/ 1005 w 10000"/>
                <a:gd name="connsiteY802" fmla="*/ 9682 h 10000"/>
                <a:gd name="connsiteX803" fmla="*/ 1025 w 10000"/>
                <a:gd name="connsiteY803" fmla="*/ 9698 h 10000"/>
                <a:gd name="connsiteX804" fmla="*/ 1045 w 10000"/>
                <a:gd name="connsiteY804" fmla="*/ 9712 h 10000"/>
                <a:gd name="connsiteX805" fmla="*/ 1073 w 10000"/>
                <a:gd name="connsiteY805" fmla="*/ 9724 h 10000"/>
                <a:gd name="connsiteX806" fmla="*/ 1098 w 10000"/>
                <a:gd name="connsiteY806" fmla="*/ 9738 h 10000"/>
                <a:gd name="connsiteX807" fmla="*/ 1121 w 10000"/>
                <a:gd name="connsiteY807" fmla="*/ 9750 h 10000"/>
                <a:gd name="connsiteX808" fmla="*/ 1141 w 10000"/>
                <a:gd name="connsiteY808" fmla="*/ 9762 h 10000"/>
                <a:gd name="connsiteX809" fmla="*/ 1159 w 10000"/>
                <a:gd name="connsiteY809" fmla="*/ 9776 h 10000"/>
                <a:gd name="connsiteX810" fmla="*/ 1172 w 10000"/>
                <a:gd name="connsiteY810" fmla="*/ 9787 h 10000"/>
                <a:gd name="connsiteX811" fmla="*/ 1182 w 10000"/>
                <a:gd name="connsiteY811" fmla="*/ 9804 h 10000"/>
                <a:gd name="connsiteX812" fmla="*/ 1194 w 10000"/>
                <a:gd name="connsiteY812" fmla="*/ 9818 h 10000"/>
                <a:gd name="connsiteX813" fmla="*/ 1202 w 10000"/>
                <a:gd name="connsiteY813" fmla="*/ 9834 h 10000"/>
                <a:gd name="connsiteX814" fmla="*/ 1212 w 10000"/>
                <a:gd name="connsiteY814" fmla="*/ 9869 h 10000"/>
                <a:gd name="connsiteX815" fmla="*/ 1220 w 10000"/>
                <a:gd name="connsiteY815" fmla="*/ 9906 h 10000"/>
                <a:gd name="connsiteX816" fmla="*/ 1230 w 10000"/>
                <a:gd name="connsiteY816" fmla="*/ 9951 h 10000"/>
                <a:gd name="connsiteX817" fmla="*/ 1237 w 10000"/>
                <a:gd name="connsiteY817" fmla="*/ 10000 h 10000"/>
                <a:gd name="connsiteX818" fmla="*/ 1237 w 10000"/>
                <a:gd name="connsiteY81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816 w 10000"/>
                <a:gd name="connsiteY707" fmla="*/ 8527 h 10000"/>
                <a:gd name="connsiteX708" fmla="*/ 1793 w 10000"/>
                <a:gd name="connsiteY708" fmla="*/ 8539 h 10000"/>
                <a:gd name="connsiteX709" fmla="*/ 1525 w 10000"/>
                <a:gd name="connsiteY709" fmla="*/ 8186 h 10000"/>
                <a:gd name="connsiteX710" fmla="*/ 1500 w 10000"/>
                <a:gd name="connsiteY710" fmla="*/ 8191 h 10000"/>
                <a:gd name="connsiteX711" fmla="*/ 1472 w 10000"/>
                <a:gd name="connsiteY711" fmla="*/ 8198 h 10000"/>
                <a:gd name="connsiteX712" fmla="*/ 1434 w 10000"/>
                <a:gd name="connsiteY712" fmla="*/ 8223 h 10000"/>
                <a:gd name="connsiteX713" fmla="*/ 1149 w 10000"/>
                <a:gd name="connsiteY713" fmla="*/ 8256 h 10000"/>
                <a:gd name="connsiteX714" fmla="*/ 1139 w 10000"/>
                <a:gd name="connsiteY714" fmla="*/ 8249 h 10000"/>
                <a:gd name="connsiteX715" fmla="*/ 1126 w 10000"/>
                <a:gd name="connsiteY715" fmla="*/ 8240 h 10000"/>
                <a:gd name="connsiteX716" fmla="*/ 1114 w 10000"/>
                <a:gd name="connsiteY716" fmla="*/ 8240 h 10000"/>
                <a:gd name="connsiteX717" fmla="*/ 1091 w 10000"/>
                <a:gd name="connsiteY717" fmla="*/ 8242 h 10000"/>
                <a:gd name="connsiteX718" fmla="*/ 1071 w 10000"/>
                <a:gd name="connsiteY718" fmla="*/ 8252 h 10000"/>
                <a:gd name="connsiteX719" fmla="*/ 1048 w 10000"/>
                <a:gd name="connsiteY719" fmla="*/ 8261 h 10000"/>
                <a:gd name="connsiteX720" fmla="*/ 1030 w 10000"/>
                <a:gd name="connsiteY720" fmla="*/ 8273 h 10000"/>
                <a:gd name="connsiteX721" fmla="*/ 1010 w 10000"/>
                <a:gd name="connsiteY721" fmla="*/ 8287 h 10000"/>
                <a:gd name="connsiteX722" fmla="*/ 995 w 10000"/>
                <a:gd name="connsiteY722" fmla="*/ 8303 h 10000"/>
                <a:gd name="connsiteX723" fmla="*/ 975 w 10000"/>
                <a:gd name="connsiteY723" fmla="*/ 8322 h 10000"/>
                <a:gd name="connsiteX724" fmla="*/ 960 w 10000"/>
                <a:gd name="connsiteY724" fmla="*/ 8343 h 10000"/>
                <a:gd name="connsiteX725" fmla="*/ 927 w 10000"/>
                <a:gd name="connsiteY725" fmla="*/ 8380 h 10000"/>
                <a:gd name="connsiteX726" fmla="*/ 891 w 10000"/>
                <a:gd name="connsiteY726" fmla="*/ 8417 h 10000"/>
                <a:gd name="connsiteX727" fmla="*/ 874 w 10000"/>
                <a:gd name="connsiteY727" fmla="*/ 8436 h 10000"/>
                <a:gd name="connsiteX728" fmla="*/ 859 w 10000"/>
                <a:gd name="connsiteY728" fmla="*/ 8450 h 10000"/>
                <a:gd name="connsiteX729" fmla="*/ 838 w 10000"/>
                <a:gd name="connsiteY729" fmla="*/ 8462 h 10000"/>
                <a:gd name="connsiteX730" fmla="*/ 821 w 10000"/>
                <a:gd name="connsiteY730" fmla="*/ 8476 h 10000"/>
                <a:gd name="connsiteX731" fmla="*/ 742 w 10000"/>
                <a:gd name="connsiteY731" fmla="*/ 8562 h 10000"/>
                <a:gd name="connsiteX732" fmla="*/ 672 w 10000"/>
                <a:gd name="connsiteY732" fmla="*/ 8644 h 10000"/>
                <a:gd name="connsiteX733" fmla="*/ 639 w 10000"/>
                <a:gd name="connsiteY733" fmla="*/ 8684 h 10000"/>
                <a:gd name="connsiteX734" fmla="*/ 609 w 10000"/>
                <a:gd name="connsiteY734" fmla="*/ 8731 h 10000"/>
                <a:gd name="connsiteX735" fmla="*/ 583 w 10000"/>
                <a:gd name="connsiteY735" fmla="*/ 8777 h 10000"/>
                <a:gd name="connsiteX736" fmla="*/ 556 w 10000"/>
                <a:gd name="connsiteY736" fmla="*/ 8831 h 10000"/>
                <a:gd name="connsiteX737" fmla="*/ 545 w 10000"/>
                <a:gd name="connsiteY737" fmla="*/ 8852 h 10000"/>
                <a:gd name="connsiteX738" fmla="*/ 525 w 10000"/>
                <a:gd name="connsiteY738" fmla="*/ 8885 h 10000"/>
                <a:gd name="connsiteX739" fmla="*/ 503 w 10000"/>
                <a:gd name="connsiteY739" fmla="*/ 8925 h 10000"/>
                <a:gd name="connsiteX740" fmla="*/ 480 w 10000"/>
                <a:gd name="connsiteY740" fmla="*/ 8962 h 10000"/>
                <a:gd name="connsiteX741" fmla="*/ 465 w 10000"/>
                <a:gd name="connsiteY741" fmla="*/ 8981 h 10000"/>
                <a:gd name="connsiteX742" fmla="*/ 455 w 10000"/>
                <a:gd name="connsiteY742" fmla="*/ 8993 h 10000"/>
                <a:gd name="connsiteX743" fmla="*/ 444 w 10000"/>
                <a:gd name="connsiteY743" fmla="*/ 9000 h 10000"/>
                <a:gd name="connsiteX744" fmla="*/ 434 w 10000"/>
                <a:gd name="connsiteY744" fmla="*/ 9007 h 10000"/>
                <a:gd name="connsiteX745" fmla="*/ 432 w 10000"/>
                <a:gd name="connsiteY745" fmla="*/ 9007 h 10000"/>
                <a:gd name="connsiteX746" fmla="*/ 429 w 10000"/>
                <a:gd name="connsiteY746" fmla="*/ 9004 h 10000"/>
                <a:gd name="connsiteX747" fmla="*/ 427 w 10000"/>
                <a:gd name="connsiteY747" fmla="*/ 8997 h 10000"/>
                <a:gd name="connsiteX748" fmla="*/ 427 w 10000"/>
                <a:gd name="connsiteY748" fmla="*/ 8993 h 10000"/>
                <a:gd name="connsiteX749" fmla="*/ 424 w 10000"/>
                <a:gd name="connsiteY749" fmla="*/ 8976 h 10000"/>
                <a:gd name="connsiteX750" fmla="*/ 427 w 10000"/>
                <a:gd name="connsiteY750" fmla="*/ 8948 h 10000"/>
                <a:gd name="connsiteX751" fmla="*/ 437 w 10000"/>
                <a:gd name="connsiteY751" fmla="*/ 8913 h 10000"/>
                <a:gd name="connsiteX752" fmla="*/ 455 w 10000"/>
                <a:gd name="connsiteY752" fmla="*/ 8859 h 10000"/>
                <a:gd name="connsiteX753" fmla="*/ 462 w 10000"/>
                <a:gd name="connsiteY753" fmla="*/ 8834 h 10000"/>
                <a:gd name="connsiteX754" fmla="*/ 470 w 10000"/>
                <a:gd name="connsiteY754" fmla="*/ 8810 h 10000"/>
                <a:gd name="connsiteX755" fmla="*/ 472 w 10000"/>
                <a:gd name="connsiteY755" fmla="*/ 8794 h 10000"/>
                <a:gd name="connsiteX756" fmla="*/ 472 w 10000"/>
                <a:gd name="connsiteY756" fmla="*/ 8780 h 10000"/>
                <a:gd name="connsiteX757" fmla="*/ 462 w 10000"/>
                <a:gd name="connsiteY757" fmla="*/ 8784 h 10000"/>
                <a:gd name="connsiteX758" fmla="*/ 452 w 10000"/>
                <a:gd name="connsiteY758" fmla="*/ 8787 h 10000"/>
                <a:gd name="connsiteX759" fmla="*/ 437 w 10000"/>
                <a:gd name="connsiteY759" fmla="*/ 8794 h 10000"/>
                <a:gd name="connsiteX760" fmla="*/ 424 w 10000"/>
                <a:gd name="connsiteY760" fmla="*/ 8803 h 10000"/>
                <a:gd name="connsiteX761" fmla="*/ 394 w 10000"/>
                <a:gd name="connsiteY761" fmla="*/ 8829 h 10000"/>
                <a:gd name="connsiteX762" fmla="*/ 364 w 10000"/>
                <a:gd name="connsiteY762" fmla="*/ 8859 h 10000"/>
                <a:gd name="connsiteX763" fmla="*/ 311 w 10000"/>
                <a:gd name="connsiteY763" fmla="*/ 8922 h 10000"/>
                <a:gd name="connsiteX764" fmla="*/ 268 w 10000"/>
                <a:gd name="connsiteY764" fmla="*/ 8964 h 10000"/>
                <a:gd name="connsiteX765" fmla="*/ 205 w 10000"/>
                <a:gd name="connsiteY765" fmla="*/ 9016 h 10000"/>
                <a:gd name="connsiteX766" fmla="*/ 146 w 10000"/>
                <a:gd name="connsiteY766" fmla="*/ 9053 h 10000"/>
                <a:gd name="connsiteX767" fmla="*/ 139 w 10000"/>
                <a:gd name="connsiteY767" fmla="*/ 9063 h 10000"/>
                <a:gd name="connsiteX768" fmla="*/ 129 w 10000"/>
                <a:gd name="connsiteY768" fmla="*/ 9077 h 10000"/>
                <a:gd name="connsiteX769" fmla="*/ 126 w 10000"/>
                <a:gd name="connsiteY769" fmla="*/ 9086 h 10000"/>
                <a:gd name="connsiteX770" fmla="*/ 126 w 10000"/>
                <a:gd name="connsiteY770" fmla="*/ 9102 h 10000"/>
                <a:gd name="connsiteX771" fmla="*/ 129 w 10000"/>
                <a:gd name="connsiteY771" fmla="*/ 9116 h 10000"/>
                <a:gd name="connsiteX772" fmla="*/ 139 w 10000"/>
                <a:gd name="connsiteY772" fmla="*/ 9135 h 10000"/>
                <a:gd name="connsiteX773" fmla="*/ 149 w 10000"/>
                <a:gd name="connsiteY773" fmla="*/ 9151 h 10000"/>
                <a:gd name="connsiteX774" fmla="*/ 164 w 10000"/>
                <a:gd name="connsiteY774" fmla="*/ 9175 h 10000"/>
                <a:gd name="connsiteX775" fmla="*/ 184 w 10000"/>
                <a:gd name="connsiteY775" fmla="*/ 9196 h 10000"/>
                <a:gd name="connsiteX776" fmla="*/ 207 w 10000"/>
                <a:gd name="connsiteY776" fmla="*/ 9215 h 10000"/>
                <a:gd name="connsiteX777" fmla="*/ 227 w 10000"/>
                <a:gd name="connsiteY777" fmla="*/ 9233 h 10000"/>
                <a:gd name="connsiteX778" fmla="*/ 253 w 10000"/>
                <a:gd name="connsiteY778" fmla="*/ 9250 h 10000"/>
                <a:gd name="connsiteX779" fmla="*/ 303 w 10000"/>
                <a:gd name="connsiteY779" fmla="*/ 9282 h 10000"/>
                <a:gd name="connsiteX780" fmla="*/ 351 w 10000"/>
                <a:gd name="connsiteY780" fmla="*/ 9315 h 10000"/>
                <a:gd name="connsiteX781" fmla="*/ 414 w 10000"/>
                <a:gd name="connsiteY781" fmla="*/ 9364 h 10000"/>
                <a:gd name="connsiteX782" fmla="*/ 480 w 10000"/>
                <a:gd name="connsiteY782" fmla="*/ 9416 h 10000"/>
                <a:gd name="connsiteX783" fmla="*/ 513 w 10000"/>
                <a:gd name="connsiteY783" fmla="*/ 9437 h 10000"/>
                <a:gd name="connsiteX784" fmla="*/ 548 w 10000"/>
                <a:gd name="connsiteY784" fmla="*/ 9462 h 10000"/>
                <a:gd name="connsiteX785" fmla="*/ 581 w 10000"/>
                <a:gd name="connsiteY785" fmla="*/ 9483 h 10000"/>
                <a:gd name="connsiteX786" fmla="*/ 614 w 10000"/>
                <a:gd name="connsiteY786" fmla="*/ 9502 h 10000"/>
                <a:gd name="connsiteX787" fmla="*/ 641 w 10000"/>
                <a:gd name="connsiteY787" fmla="*/ 9525 h 10000"/>
                <a:gd name="connsiteX788" fmla="*/ 672 w 10000"/>
                <a:gd name="connsiteY788" fmla="*/ 9549 h 10000"/>
                <a:gd name="connsiteX789" fmla="*/ 702 w 10000"/>
                <a:gd name="connsiteY789" fmla="*/ 9568 h 10000"/>
                <a:gd name="connsiteX790" fmla="*/ 737 w 10000"/>
                <a:gd name="connsiteY790" fmla="*/ 9589 h 10000"/>
                <a:gd name="connsiteX791" fmla="*/ 770 w 10000"/>
                <a:gd name="connsiteY791" fmla="*/ 9605 h 10000"/>
                <a:gd name="connsiteX792" fmla="*/ 808 w 10000"/>
                <a:gd name="connsiteY792" fmla="*/ 9617 h 10000"/>
                <a:gd name="connsiteX793" fmla="*/ 843 w 10000"/>
                <a:gd name="connsiteY793" fmla="*/ 9624 h 10000"/>
                <a:gd name="connsiteX794" fmla="*/ 884 w 10000"/>
                <a:gd name="connsiteY794" fmla="*/ 9628 h 10000"/>
                <a:gd name="connsiteX795" fmla="*/ 902 w 10000"/>
                <a:gd name="connsiteY795" fmla="*/ 9628 h 10000"/>
                <a:gd name="connsiteX796" fmla="*/ 914 w 10000"/>
                <a:gd name="connsiteY796" fmla="*/ 9631 h 10000"/>
                <a:gd name="connsiteX797" fmla="*/ 932 w 10000"/>
                <a:gd name="connsiteY797" fmla="*/ 9638 h 10000"/>
                <a:gd name="connsiteX798" fmla="*/ 942 w 10000"/>
                <a:gd name="connsiteY798" fmla="*/ 9642 h 10000"/>
                <a:gd name="connsiteX799" fmla="*/ 967 w 10000"/>
                <a:gd name="connsiteY799" fmla="*/ 9652 h 10000"/>
                <a:gd name="connsiteX800" fmla="*/ 987 w 10000"/>
                <a:gd name="connsiteY800" fmla="*/ 9668 h 10000"/>
                <a:gd name="connsiteX801" fmla="*/ 1005 w 10000"/>
                <a:gd name="connsiteY801" fmla="*/ 9682 h 10000"/>
                <a:gd name="connsiteX802" fmla="*/ 1025 w 10000"/>
                <a:gd name="connsiteY802" fmla="*/ 9698 h 10000"/>
                <a:gd name="connsiteX803" fmla="*/ 1045 w 10000"/>
                <a:gd name="connsiteY803" fmla="*/ 9712 h 10000"/>
                <a:gd name="connsiteX804" fmla="*/ 1073 w 10000"/>
                <a:gd name="connsiteY804" fmla="*/ 9724 h 10000"/>
                <a:gd name="connsiteX805" fmla="*/ 1098 w 10000"/>
                <a:gd name="connsiteY805" fmla="*/ 9738 h 10000"/>
                <a:gd name="connsiteX806" fmla="*/ 1121 w 10000"/>
                <a:gd name="connsiteY806" fmla="*/ 9750 h 10000"/>
                <a:gd name="connsiteX807" fmla="*/ 1141 w 10000"/>
                <a:gd name="connsiteY807" fmla="*/ 9762 h 10000"/>
                <a:gd name="connsiteX808" fmla="*/ 1159 w 10000"/>
                <a:gd name="connsiteY808" fmla="*/ 9776 h 10000"/>
                <a:gd name="connsiteX809" fmla="*/ 1172 w 10000"/>
                <a:gd name="connsiteY809" fmla="*/ 9787 h 10000"/>
                <a:gd name="connsiteX810" fmla="*/ 1182 w 10000"/>
                <a:gd name="connsiteY810" fmla="*/ 9804 h 10000"/>
                <a:gd name="connsiteX811" fmla="*/ 1194 w 10000"/>
                <a:gd name="connsiteY811" fmla="*/ 9818 h 10000"/>
                <a:gd name="connsiteX812" fmla="*/ 1202 w 10000"/>
                <a:gd name="connsiteY812" fmla="*/ 9834 h 10000"/>
                <a:gd name="connsiteX813" fmla="*/ 1212 w 10000"/>
                <a:gd name="connsiteY813" fmla="*/ 9869 h 10000"/>
                <a:gd name="connsiteX814" fmla="*/ 1220 w 10000"/>
                <a:gd name="connsiteY814" fmla="*/ 9906 h 10000"/>
                <a:gd name="connsiteX815" fmla="*/ 1230 w 10000"/>
                <a:gd name="connsiteY815" fmla="*/ 9951 h 10000"/>
                <a:gd name="connsiteX816" fmla="*/ 1237 w 10000"/>
                <a:gd name="connsiteY816" fmla="*/ 10000 h 10000"/>
                <a:gd name="connsiteX817" fmla="*/ 1237 w 10000"/>
                <a:gd name="connsiteY81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816 w 10000"/>
                <a:gd name="connsiteY707" fmla="*/ 8527 h 10000"/>
                <a:gd name="connsiteX708" fmla="*/ 1525 w 10000"/>
                <a:gd name="connsiteY708" fmla="*/ 8186 h 10000"/>
                <a:gd name="connsiteX709" fmla="*/ 1500 w 10000"/>
                <a:gd name="connsiteY709" fmla="*/ 8191 h 10000"/>
                <a:gd name="connsiteX710" fmla="*/ 1472 w 10000"/>
                <a:gd name="connsiteY710" fmla="*/ 8198 h 10000"/>
                <a:gd name="connsiteX711" fmla="*/ 1434 w 10000"/>
                <a:gd name="connsiteY711" fmla="*/ 8223 h 10000"/>
                <a:gd name="connsiteX712" fmla="*/ 1149 w 10000"/>
                <a:gd name="connsiteY712" fmla="*/ 8256 h 10000"/>
                <a:gd name="connsiteX713" fmla="*/ 1139 w 10000"/>
                <a:gd name="connsiteY713" fmla="*/ 8249 h 10000"/>
                <a:gd name="connsiteX714" fmla="*/ 1126 w 10000"/>
                <a:gd name="connsiteY714" fmla="*/ 8240 h 10000"/>
                <a:gd name="connsiteX715" fmla="*/ 1114 w 10000"/>
                <a:gd name="connsiteY715" fmla="*/ 8240 h 10000"/>
                <a:gd name="connsiteX716" fmla="*/ 1091 w 10000"/>
                <a:gd name="connsiteY716" fmla="*/ 8242 h 10000"/>
                <a:gd name="connsiteX717" fmla="*/ 1071 w 10000"/>
                <a:gd name="connsiteY717" fmla="*/ 8252 h 10000"/>
                <a:gd name="connsiteX718" fmla="*/ 1048 w 10000"/>
                <a:gd name="connsiteY718" fmla="*/ 8261 h 10000"/>
                <a:gd name="connsiteX719" fmla="*/ 1030 w 10000"/>
                <a:gd name="connsiteY719" fmla="*/ 8273 h 10000"/>
                <a:gd name="connsiteX720" fmla="*/ 1010 w 10000"/>
                <a:gd name="connsiteY720" fmla="*/ 8287 h 10000"/>
                <a:gd name="connsiteX721" fmla="*/ 995 w 10000"/>
                <a:gd name="connsiteY721" fmla="*/ 8303 h 10000"/>
                <a:gd name="connsiteX722" fmla="*/ 975 w 10000"/>
                <a:gd name="connsiteY722" fmla="*/ 8322 h 10000"/>
                <a:gd name="connsiteX723" fmla="*/ 960 w 10000"/>
                <a:gd name="connsiteY723" fmla="*/ 8343 h 10000"/>
                <a:gd name="connsiteX724" fmla="*/ 927 w 10000"/>
                <a:gd name="connsiteY724" fmla="*/ 8380 h 10000"/>
                <a:gd name="connsiteX725" fmla="*/ 891 w 10000"/>
                <a:gd name="connsiteY725" fmla="*/ 8417 h 10000"/>
                <a:gd name="connsiteX726" fmla="*/ 874 w 10000"/>
                <a:gd name="connsiteY726" fmla="*/ 8436 h 10000"/>
                <a:gd name="connsiteX727" fmla="*/ 859 w 10000"/>
                <a:gd name="connsiteY727" fmla="*/ 8450 h 10000"/>
                <a:gd name="connsiteX728" fmla="*/ 838 w 10000"/>
                <a:gd name="connsiteY728" fmla="*/ 8462 h 10000"/>
                <a:gd name="connsiteX729" fmla="*/ 821 w 10000"/>
                <a:gd name="connsiteY729" fmla="*/ 8476 h 10000"/>
                <a:gd name="connsiteX730" fmla="*/ 742 w 10000"/>
                <a:gd name="connsiteY730" fmla="*/ 8562 h 10000"/>
                <a:gd name="connsiteX731" fmla="*/ 672 w 10000"/>
                <a:gd name="connsiteY731" fmla="*/ 8644 h 10000"/>
                <a:gd name="connsiteX732" fmla="*/ 639 w 10000"/>
                <a:gd name="connsiteY732" fmla="*/ 8684 h 10000"/>
                <a:gd name="connsiteX733" fmla="*/ 609 w 10000"/>
                <a:gd name="connsiteY733" fmla="*/ 8731 h 10000"/>
                <a:gd name="connsiteX734" fmla="*/ 583 w 10000"/>
                <a:gd name="connsiteY734" fmla="*/ 8777 h 10000"/>
                <a:gd name="connsiteX735" fmla="*/ 556 w 10000"/>
                <a:gd name="connsiteY735" fmla="*/ 8831 h 10000"/>
                <a:gd name="connsiteX736" fmla="*/ 545 w 10000"/>
                <a:gd name="connsiteY736" fmla="*/ 8852 h 10000"/>
                <a:gd name="connsiteX737" fmla="*/ 525 w 10000"/>
                <a:gd name="connsiteY737" fmla="*/ 8885 h 10000"/>
                <a:gd name="connsiteX738" fmla="*/ 503 w 10000"/>
                <a:gd name="connsiteY738" fmla="*/ 8925 h 10000"/>
                <a:gd name="connsiteX739" fmla="*/ 480 w 10000"/>
                <a:gd name="connsiteY739" fmla="*/ 8962 h 10000"/>
                <a:gd name="connsiteX740" fmla="*/ 465 w 10000"/>
                <a:gd name="connsiteY740" fmla="*/ 8981 h 10000"/>
                <a:gd name="connsiteX741" fmla="*/ 455 w 10000"/>
                <a:gd name="connsiteY741" fmla="*/ 8993 h 10000"/>
                <a:gd name="connsiteX742" fmla="*/ 444 w 10000"/>
                <a:gd name="connsiteY742" fmla="*/ 9000 h 10000"/>
                <a:gd name="connsiteX743" fmla="*/ 434 w 10000"/>
                <a:gd name="connsiteY743" fmla="*/ 9007 h 10000"/>
                <a:gd name="connsiteX744" fmla="*/ 432 w 10000"/>
                <a:gd name="connsiteY744" fmla="*/ 9007 h 10000"/>
                <a:gd name="connsiteX745" fmla="*/ 429 w 10000"/>
                <a:gd name="connsiteY745" fmla="*/ 9004 h 10000"/>
                <a:gd name="connsiteX746" fmla="*/ 427 w 10000"/>
                <a:gd name="connsiteY746" fmla="*/ 8997 h 10000"/>
                <a:gd name="connsiteX747" fmla="*/ 427 w 10000"/>
                <a:gd name="connsiteY747" fmla="*/ 8993 h 10000"/>
                <a:gd name="connsiteX748" fmla="*/ 424 w 10000"/>
                <a:gd name="connsiteY748" fmla="*/ 8976 h 10000"/>
                <a:gd name="connsiteX749" fmla="*/ 427 w 10000"/>
                <a:gd name="connsiteY749" fmla="*/ 8948 h 10000"/>
                <a:gd name="connsiteX750" fmla="*/ 437 w 10000"/>
                <a:gd name="connsiteY750" fmla="*/ 8913 h 10000"/>
                <a:gd name="connsiteX751" fmla="*/ 455 w 10000"/>
                <a:gd name="connsiteY751" fmla="*/ 8859 h 10000"/>
                <a:gd name="connsiteX752" fmla="*/ 462 w 10000"/>
                <a:gd name="connsiteY752" fmla="*/ 8834 h 10000"/>
                <a:gd name="connsiteX753" fmla="*/ 470 w 10000"/>
                <a:gd name="connsiteY753" fmla="*/ 8810 h 10000"/>
                <a:gd name="connsiteX754" fmla="*/ 472 w 10000"/>
                <a:gd name="connsiteY754" fmla="*/ 8794 h 10000"/>
                <a:gd name="connsiteX755" fmla="*/ 472 w 10000"/>
                <a:gd name="connsiteY755" fmla="*/ 8780 h 10000"/>
                <a:gd name="connsiteX756" fmla="*/ 462 w 10000"/>
                <a:gd name="connsiteY756" fmla="*/ 8784 h 10000"/>
                <a:gd name="connsiteX757" fmla="*/ 452 w 10000"/>
                <a:gd name="connsiteY757" fmla="*/ 8787 h 10000"/>
                <a:gd name="connsiteX758" fmla="*/ 437 w 10000"/>
                <a:gd name="connsiteY758" fmla="*/ 8794 h 10000"/>
                <a:gd name="connsiteX759" fmla="*/ 424 w 10000"/>
                <a:gd name="connsiteY759" fmla="*/ 8803 h 10000"/>
                <a:gd name="connsiteX760" fmla="*/ 394 w 10000"/>
                <a:gd name="connsiteY760" fmla="*/ 8829 h 10000"/>
                <a:gd name="connsiteX761" fmla="*/ 364 w 10000"/>
                <a:gd name="connsiteY761" fmla="*/ 8859 h 10000"/>
                <a:gd name="connsiteX762" fmla="*/ 311 w 10000"/>
                <a:gd name="connsiteY762" fmla="*/ 8922 h 10000"/>
                <a:gd name="connsiteX763" fmla="*/ 268 w 10000"/>
                <a:gd name="connsiteY763" fmla="*/ 8964 h 10000"/>
                <a:gd name="connsiteX764" fmla="*/ 205 w 10000"/>
                <a:gd name="connsiteY764" fmla="*/ 9016 h 10000"/>
                <a:gd name="connsiteX765" fmla="*/ 146 w 10000"/>
                <a:gd name="connsiteY765" fmla="*/ 9053 h 10000"/>
                <a:gd name="connsiteX766" fmla="*/ 139 w 10000"/>
                <a:gd name="connsiteY766" fmla="*/ 9063 h 10000"/>
                <a:gd name="connsiteX767" fmla="*/ 129 w 10000"/>
                <a:gd name="connsiteY767" fmla="*/ 9077 h 10000"/>
                <a:gd name="connsiteX768" fmla="*/ 126 w 10000"/>
                <a:gd name="connsiteY768" fmla="*/ 9086 h 10000"/>
                <a:gd name="connsiteX769" fmla="*/ 126 w 10000"/>
                <a:gd name="connsiteY769" fmla="*/ 9102 h 10000"/>
                <a:gd name="connsiteX770" fmla="*/ 129 w 10000"/>
                <a:gd name="connsiteY770" fmla="*/ 9116 h 10000"/>
                <a:gd name="connsiteX771" fmla="*/ 139 w 10000"/>
                <a:gd name="connsiteY771" fmla="*/ 9135 h 10000"/>
                <a:gd name="connsiteX772" fmla="*/ 149 w 10000"/>
                <a:gd name="connsiteY772" fmla="*/ 9151 h 10000"/>
                <a:gd name="connsiteX773" fmla="*/ 164 w 10000"/>
                <a:gd name="connsiteY773" fmla="*/ 9175 h 10000"/>
                <a:gd name="connsiteX774" fmla="*/ 184 w 10000"/>
                <a:gd name="connsiteY774" fmla="*/ 9196 h 10000"/>
                <a:gd name="connsiteX775" fmla="*/ 207 w 10000"/>
                <a:gd name="connsiteY775" fmla="*/ 9215 h 10000"/>
                <a:gd name="connsiteX776" fmla="*/ 227 w 10000"/>
                <a:gd name="connsiteY776" fmla="*/ 9233 h 10000"/>
                <a:gd name="connsiteX777" fmla="*/ 253 w 10000"/>
                <a:gd name="connsiteY777" fmla="*/ 9250 h 10000"/>
                <a:gd name="connsiteX778" fmla="*/ 303 w 10000"/>
                <a:gd name="connsiteY778" fmla="*/ 9282 h 10000"/>
                <a:gd name="connsiteX779" fmla="*/ 351 w 10000"/>
                <a:gd name="connsiteY779" fmla="*/ 9315 h 10000"/>
                <a:gd name="connsiteX780" fmla="*/ 414 w 10000"/>
                <a:gd name="connsiteY780" fmla="*/ 9364 h 10000"/>
                <a:gd name="connsiteX781" fmla="*/ 480 w 10000"/>
                <a:gd name="connsiteY781" fmla="*/ 9416 h 10000"/>
                <a:gd name="connsiteX782" fmla="*/ 513 w 10000"/>
                <a:gd name="connsiteY782" fmla="*/ 9437 h 10000"/>
                <a:gd name="connsiteX783" fmla="*/ 548 w 10000"/>
                <a:gd name="connsiteY783" fmla="*/ 9462 h 10000"/>
                <a:gd name="connsiteX784" fmla="*/ 581 w 10000"/>
                <a:gd name="connsiteY784" fmla="*/ 9483 h 10000"/>
                <a:gd name="connsiteX785" fmla="*/ 614 w 10000"/>
                <a:gd name="connsiteY785" fmla="*/ 9502 h 10000"/>
                <a:gd name="connsiteX786" fmla="*/ 641 w 10000"/>
                <a:gd name="connsiteY786" fmla="*/ 9525 h 10000"/>
                <a:gd name="connsiteX787" fmla="*/ 672 w 10000"/>
                <a:gd name="connsiteY787" fmla="*/ 9549 h 10000"/>
                <a:gd name="connsiteX788" fmla="*/ 702 w 10000"/>
                <a:gd name="connsiteY788" fmla="*/ 9568 h 10000"/>
                <a:gd name="connsiteX789" fmla="*/ 737 w 10000"/>
                <a:gd name="connsiteY789" fmla="*/ 9589 h 10000"/>
                <a:gd name="connsiteX790" fmla="*/ 770 w 10000"/>
                <a:gd name="connsiteY790" fmla="*/ 9605 h 10000"/>
                <a:gd name="connsiteX791" fmla="*/ 808 w 10000"/>
                <a:gd name="connsiteY791" fmla="*/ 9617 h 10000"/>
                <a:gd name="connsiteX792" fmla="*/ 843 w 10000"/>
                <a:gd name="connsiteY792" fmla="*/ 9624 h 10000"/>
                <a:gd name="connsiteX793" fmla="*/ 884 w 10000"/>
                <a:gd name="connsiteY793" fmla="*/ 9628 h 10000"/>
                <a:gd name="connsiteX794" fmla="*/ 902 w 10000"/>
                <a:gd name="connsiteY794" fmla="*/ 9628 h 10000"/>
                <a:gd name="connsiteX795" fmla="*/ 914 w 10000"/>
                <a:gd name="connsiteY795" fmla="*/ 9631 h 10000"/>
                <a:gd name="connsiteX796" fmla="*/ 932 w 10000"/>
                <a:gd name="connsiteY796" fmla="*/ 9638 h 10000"/>
                <a:gd name="connsiteX797" fmla="*/ 942 w 10000"/>
                <a:gd name="connsiteY797" fmla="*/ 9642 h 10000"/>
                <a:gd name="connsiteX798" fmla="*/ 967 w 10000"/>
                <a:gd name="connsiteY798" fmla="*/ 9652 h 10000"/>
                <a:gd name="connsiteX799" fmla="*/ 987 w 10000"/>
                <a:gd name="connsiteY799" fmla="*/ 9668 h 10000"/>
                <a:gd name="connsiteX800" fmla="*/ 1005 w 10000"/>
                <a:gd name="connsiteY800" fmla="*/ 9682 h 10000"/>
                <a:gd name="connsiteX801" fmla="*/ 1025 w 10000"/>
                <a:gd name="connsiteY801" fmla="*/ 9698 h 10000"/>
                <a:gd name="connsiteX802" fmla="*/ 1045 w 10000"/>
                <a:gd name="connsiteY802" fmla="*/ 9712 h 10000"/>
                <a:gd name="connsiteX803" fmla="*/ 1073 w 10000"/>
                <a:gd name="connsiteY803" fmla="*/ 9724 h 10000"/>
                <a:gd name="connsiteX804" fmla="*/ 1098 w 10000"/>
                <a:gd name="connsiteY804" fmla="*/ 9738 h 10000"/>
                <a:gd name="connsiteX805" fmla="*/ 1121 w 10000"/>
                <a:gd name="connsiteY805" fmla="*/ 9750 h 10000"/>
                <a:gd name="connsiteX806" fmla="*/ 1141 w 10000"/>
                <a:gd name="connsiteY806" fmla="*/ 9762 h 10000"/>
                <a:gd name="connsiteX807" fmla="*/ 1159 w 10000"/>
                <a:gd name="connsiteY807" fmla="*/ 9776 h 10000"/>
                <a:gd name="connsiteX808" fmla="*/ 1172 w 10000"/>
                <a:gd name="connsiteY808" fmla="*/ 9787 h 10000"/>
                <a:gd name="connsiteX809" fmla="*/ 1182 w 10000"/>
                <a:gd name="connsiteY809" fmla="*/ 9804 h 10000"/>
                <a:gd name="connsiteX810" fmla="*/ 1194 w 10000"/>
                <a:gd name="connsiteY810" fmla="*/ 9818 h 10000"/>
                <a:gd name="connsiteX811" fmla="*/ 1202 w 10000"/>
                <a:gd name="connsiteY811" fmla="*/ 9834 h 10000"/>
                <a:gd name="connsiteX812" fmla="*/ 1212 w 10000"/>
                <a:gd name="connsiteY812" fmla="*/ 9869 h 10000"/>
                <a:gd name="connsiteX813" fmla="*/ 1220 w 10000"/>
                <a:gd name="connsiteY813" fmla="*/ 9906 h 10000"/>
                <a:gd name="connsiteX814" fmla="*/ 1230 w 10000"/>
                <a:gd name="connsiteY814" fmla="*/ 9951 h 10000"/>
                <a:gd name="connsiteX815" fmla="*/ 1237 w 10000"/>
                <a:gd name="connsiteY815" fmla="*/ 10000 h 10000"/>
                <a:gd name="connsiteX816" fmla="*/ 1237 w 10000"/>
                <a:gd name="connsiteY81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2311 w 10000"/>
                <a:gd name="connsiteY706" fmla="*/ 7277 h 10000"/>
                <a:gd name="connsiteX707" fmla="*/ 1525 w 10000"/>
                <a:gd name="connsiteY707" fmla="*/ 8186 h 10000"/>
                <a:gd name="connsiteX708" fmla="*/ 1500 w 10000"/>
                <a:gd name="connsiteY708" fmla="*/ 8191 h 10000"/>
                <a:gd name="connsiteX709" fmla="*/ 1472 w 10000"/>
                <a:gd name="connsiteY709" fmla="*/ 8198 h 10000"/>
                <a:gd name="connsiteX710" fmla="*/ 1434 w 10000"/>
                <a:gd name="connsiteY710" fmla="*/ 8223 h 10000"/>
                <a:gd name="connsiteX711" fmla="*/ 1149 w 10000"/>
                <a:gd name="connsiteY711" fmla="*/ 8256 h 10000"/>
                <a:gd name="connsiteX712" fmla="*/ 1139 w 10000"/>
                <a:gd name="connsiteY712" fmla="*/ 8249 h 10000"/>
                <a:gd name="connsiteX713" fmla="*/ 1126 w 10000"/>
                <a:gd name="connsiteY713" fmla="*/ 8240 h 10000"/>
                <a:gd name="connsiteX714" fmla="*/ 1114 w 10000"/>
                <a:gd name="connsiteY714" fmla="*/ 8240 h 10000"/>
                <a:gd name="connsiteX715" fmla="*/ 1091 w 10000"/>
                <a:gd name="connsiteY715" fmla="*/ 8242 h 10000"/>
                <a:gd name="connsiteX716" fmla="*/ 1071 w 10000"/>
                <a:gd name="connsiteY716" fmla="*/ 8252 h 10000"/>
                <a:gd name="connsiteX717" fmla="*/ 1048 w 10000"/>
                <a:gd name="connsiteY717" fmla="*/ 8261 h 10000"/>
                <a:gd name="connsiteX718" fmla="*/ 1030 w 10000"/>
                <a:gd name="connsiteY718" fmla="*/ 8273 h 10000"/>
                <a:gd name="connsiteX719" fmla="*/ 1010 w 10000"/>
                <a:gd name="connsiteY719" fmla="*/ 8287 h 10000"/>
                <a:gd name="connsiteX720" fmla="*/ 995 w 10000"/>
                <a:gd name="connsiteY720" fmla="*/ 8303 h 10000"/>
                <a:gd name="connsiteX721" fmla="*/ 975 w 10000"/>
                <a:gd name="connsiteY721" fmla="*/ 8322 h 10000"/>
                <a:gd name="connsiteX722" fmla="*/ 960 w 10000"/>
                <a:gd name="connsiteY722" fmla="*/ 8343 h 10000"/>
                <a:gd name="connsiteX723" fmla="*/ 927 w 10000"/>
                <a:gd name="connsiteY723" fmla="*/ 8380 h 10000"/>
                <a:gd name="connsiteX724" fmla="*/ 891 w 10000"/>
                <a:gd name="connsiteY724" fmla="*/ 8417 h 10000"/>
                <a:gd name="connsiteX725" fmla="*/ 874 w 10000"/>
                <a:gd name="connsiteY725" fmla="*/ 8436 h 10000"/>
                <a:gd name="connsiteX726" fmla="*/ 859 w 10000"/>
                <a:gd name="connsiteY726" fmla="*/ 8450 h 10000"/>
                <a:gd name="connsiteX727" fmla="*/ 838 w 10000"/>
                <a:gd name="connsiteY727" fmla="*/ 8462 h 10000"/>
                <a:gd name="connsiteX728" fmla="*/ 821 w 10000"/>
                <a:gd name="connsiteY728" fmla="*/ 8476 h 10000"/>
                <a:gd name="connsiteX729" fmla="*/ 742 w 10000"/>
                <a:gd name="connsiteY729" fmla="*/ 8562 h 10000"/>
                <a:gd name="connsiteX730" fmla="*/ 672 w 10000"/>
                <a:gd name="connsiteY730" fmla="*/ 8644 h 10000"/>
                <a:gd name="connsiteX731" fmla="*/ 639 w 10000"/>
                <a:gd name="connsiteY731" fmla="*/ 8684 h 10000"/>
                <a:gd name="connsiteX732" fmla="*/ 609 w 10000"/>
                <a:gd name="connsiteY732" fmla="*/ 8731 h 10000"/>
                <a:gd name="connsiteX733" fmla="*/ 583 w 10000"/>
                <a:gd name="connsiteY733" fmla="*/ 8777 h 10000"/>
                <a:gd name="connsiteX734" fmla="*/ 556 w 10000"/>
                <a:gd name="connsiteY734" fmla="*/ 8831 h 10000"/>
                <a:gd name="connsiteX735" fmla="*/ 545 w 10000"/>
                <a:gd name="connsiteY735" fmla="*/ 8852 h 10000"/>
                <a:gd name="connsiteX736" fmla="*/ 525 w 10000"/>
                <a:gd name="connsiteY736" fmla="*/ 8885 h 10000"/>
                <a:gd name="connsiteX737" fmla="*/ 503 w 10000"/>
                <a:gd name="connsiteY737" fmla="*/ 8925 h 10000"/>
                <a:gd name="connsiteX738" fmla="*/ 480 w 10000"/>
                <a:gd name="connsiteY738" fmla="*/ 8962 h 10000"/>
                <a:gd name="connsiteX739" fmla="*/ 465 w 10000"/>
                <a:gd name="connsiteY739" fmla="*/ 8981 h 10000"/>
                <a:gd name="connsiteX740" fmla="*/ 455 w 10000"/>
                <a:gd name="connsiteY740" fmla="*/ 8993 h 10000"/>
                <a:gd name="connsiteX741" fmla="*/ 444 w 10000"/>
                <a:gd name="connsiteY741" fmla="*/ 9000 h 10000"/>
                <a:gd name="connsiteX742" fmla="*/ 434 w 10000"/>
                <a:gd name="connsiteY742" fmla="*/ 9007 h 10000"/>
                <a:gd name="connsiteX743" fmla="*/ 432 w 10000"/>
                <a:gd name="connsiteY743" fmla="*/ 9007 h 10000"/>
                <a:gd name="connsiteX744" fmla="*/ 429 w 10000"/>
                <a:gd name="connsiteY744" fmla="*/ 9004 h 10000"/>
                <a:gd name="connsiteX745" fmla="*/ 427 w 10000"/>
                <a:gd name="connsiteY745" fmla="*/ 8997 h 10000"/>
                <a:gd name="connsiteX746" fmla="*/ 427 w 10000"/>
                <a:gd name="connsiteY746" fmla="*/ 8993 h 10000"/>
                <a:gd name="connsiteX747" fmla="*/ 424 w 10000"/>
                <a:gd name="connsiteY747" fmla="*/ 8976 h 10000"/>
                <a:gd name="connsiteX748" fmla="*/ 427 w 10000"/>
                <a:gd name="connsiteY748" fmla="*/ 8948 h 10000"/>
                <a:gd name="connsiteX749" fmla="*/ 437 w 10000"/>
                <a:gd name="connsiteY749" fmla="*/ 8913 h 10000"/>
                <a:gd name="connsiteX750" fmla="*/ 455 w 10000"/>
                <a:gd name="connsiteY750" fmla="*/ 8859 h 10000"/>
                <a:gd name="connsiteX751" fmla="*/ 462 w 10000"/>
                <a:gd name="connsiteY751" fmla="*/ 8834 h 10000"/>
                <a:gd name="connsiteX752" fmla="*/ 470 w 10000"/>
                <a:gd name="connsiteY752" fmla="*/ 8810 h 10000"/>
                <a:gd name="connsiteX753" fmla="*/ 472 w 10000"/>
                <a:gd name="connsiteY753" fmla="*/ 8794 h 10000"/>
                <a:gd name="connsiteX754" fmla="*/ 472 w 10000"/>
                <a:gd name="connsiteY754" fmla="*/ 8780 h 10000"/>
                <a:gd name="connsiteX755" fmla="*/ 462 w 10000"/>
                <a:gd name="connsiteY755" fmla="*/ 8784 h 10000"/>
                <a:gd name="connsiteX756" fmla="*/ 452 w 10000"/>
                <a:gd name="connsiteY756" fmla="*/ 8787 h 10000"/>
                <a:gd name="connsiteX757" fmla="*/ 437 w 10000"/>
                <a:gd name="connsiteY757" fmla="*/ 8794 h 10000"/>
                <a:gd name="connsiteX758" fmla="*/ 424 w 10000"/>
                <a:gd name="connsiteY758" fmla="*/ 8803 h 10000"/>
                <a:gd name="connsiteX759" fmla="*/ 394 w 10000"/>
                <a:gd name="connsiteY759" fmla="*/ 8829 h 10000"/>
                <a:gd name="connsiteX760" fmla="*/ 364 w 10000"/>
                <a:gd name="connsiteY760" fmla="*/ 8859 h 10000"/>
                <a:gd name="connsiteX761" fmla="*/ 311 w 10000"/>
                <a:gd name="connsiteY761" fmla="*/ 8922 h 10000"/>
                <a:gd name="connsiteX762" fmla="*/ 268 w 10000"/>
                <a:gd name="connsiteY762" fmla="*/ 8964 h 10000"/>
                <a:gd name="connsiteX763" fmla="*/ 205 w 10000"/>
                <a:gd name="connsiteY763" fmla="*/ 9016 h 10000"/>
                <a:gd name="connsiteX764" fmla="*/ 146 w 10000"/>
                <a:gd name="connsiteY764" fmla="*/ 9053 h 10000"/>
                <a:gd name="connsiteX765" fmla="*/ 139 w 10000"/>
                <a:gd name="connsiteY765" fmla="*/ 9063 h 10000"/>
                <a:gd name="connsiteX766" fmla="*/ 129 w 10000"/>
                <a:gd name="connsiteY766" fmla="*/ 9077 h 10000"/>
                <a:gd name="connsiteX767" fmla="*/ 126 w 10000"/>
                <a:gd name="connsiteY767" fmla="*/ 9086 h 10000"/>
                <a:gd name="connsiteX768" fmla="*/ 126 w 10000"/>
                <a:gd name="connsiteY768" fmla="*/ 9102 h 10000"/>
                <a:gd name="connsiteX769" fmla="*/ 129 w 10000"/>
                <a:gd name="connsiteY769" fmla="*/ 9116 h 10000"/>
                <a:gd name="connsiteX770" fmla="*/ 139 w 10000"/>
                <a:gd name="connsiteY770" fmla="*/ 9135 h 10000"/>
                <a:gd name="connsiteX771" fmla="*/ 149 w 10000"/>
                <a:gd name="connsiteY771" fmla="*/ 9151 h 10000"/>
                <a:gd name="connsiteX772" fmla="*/ 164 w 10000"/>
                <a:gd name="connsiteY772" fmla="*/ 9175 h 10000"/>
                <a:gd name="connsiteX773" fmla="*/ 184 w 10000"/>
                <a:gd name="connsiteY773" fmla="*/ 9196 h 10000"/>
                <a:gd name="connsiteX774" fmla="*/ 207 w 10000"/>
                <a:gd name="connsiteY774" fmla="*/ 9215 h 10000"/>
                <a:gd name="connsiteX775" fmla="*/ 227 w 10000"/>
                <a:gd name="connsiteY775" fmla="*/ 9233 h 10000"/>
                <a:gd name="connsiteX776" fmla="*/ 253 w 10000"/>
                <a:gd name="connsiteY776" fmla="*/ 9250 h 10000"/>
                <a:gd name="connsiteX777" fmla="*/ 303 w 10000"/>
                <a:gd name="connsiteY777" fmla="*/ 9282 h 10000"/>
                <a:gd name="connsiteX778" fmla="*/ 351 w 10000"/>
                <a:gd name="connsiteY778" fmla="*/ 9315 h 10000"/>
                <a:gd name="connsiteX779" fmla="*/ 414 w 10000"/>
                <a:gd name="connsiteY779" fmla="*/ 9364 h 10000"/>
                <a:gd name="connsiteX780" fmla="*/ 480 w 10000"/>
                <a:gd name="connsiteY780" fmla="*/ 9416 h 10000"/>
                <a:gd name="connsiteX781" fmla="*/ 513 w 10000"/>
                <a:gd name="connsiteY781" fmla="*/ 9437 h 10000"/>
                <a:gd name="connsiteX782" fmla="*/ 548 w 10000"/>
                <a:gd name="connsiteY782" fmla="*/ 9462 h 10000"/>
                <a:gd name="connsiteX783" fmla="*/ 581 w 10000"/>
                <a:gd name="connsiteY783" fmla="*/ 9483 h 10000"/>
                <a:gd name="connsiteX784" fmla="*/ 614 w 10000"/>
                <a:gd name="connsiteY784" fmla="*/ 9502 h 10000"/>
                <a:gd name="connsiteX785" fmla="*/ 641 w 10000"/>
                <a:gd name="connsiteY785" fmla="*/ 9525 h 10000"/>
                <a:gd name="connsiteX786" fmla="*/ 672 w 10000"/>
                <a:gd name="connsiteY786" fmla="*/ 9549 h 10000"/>
                <a:gd name="connsiteX787" fmla="*/ 702 w 10000"/>
                <a:gd name="connsiteY787" fmla="*/ 9568 h 10000"/>
                <a:gd name="connsiteX788" fmla="*/ 737 w 10000"/>
                <a:gd name="connsiteY788" fmla="*/ 9589 h 10000"/>
                <a:gd name="connsiteX789" fmla="*/ 770 w 10000"/>
                <a:gd name="connsiteY789" fmla="*/ 9605 h 10000"/>
                <a:gd name="connsiteX790" fmla="*/ 808 w 10000"/>
                <a:gd name="connsiteY790" fmla="*/ 9617 h 10000"/>
                <a:gd name="connsiteX791" fmla="*/ 843 w 10000"/>
                <a:gd name="connsiteY791" fmla="*/ 9624 h 10000"/>
                <a:gd name="connsiteX792" fmla="*/ 884 w 10000"/>
                <a:gd name="connsiteY792" fmla="*/ 9628 h 10000"/>
                <a:gd name="connsiteX793" fmla="*/ 902 w 10000"/>
                <a:gd name="connsiteY793" fmla="*/ 9628 h 10000"/>
                <a:gd name="connsiteX794" fmla="*/ 914 w 10000"/>
                <a:gd name="connsiteY794" fmla="*/ 9631 h 10000"/>
                <a:gd name="connsiteX795" fmla="*/ 932 w 10000"/>
                <a:gd name="connsiteY795" fmla="*/ 9638 h 10000"/>
                <a:gd name="connsiteX796" fmla="*/ 942 w 10000"/>
                <a:gd name="connsiteY796" fmla="*/ 9642 h 10000"/>
                <a:gd name="connsiteX797" fmla="*/ 967 w 10000"/>
                <a:gd name="connsiteY797" fmla="*/ 9652 h 10000"/>
                <a:gd name="connsiteX798" fmla="*/ 987 w 10000"/>
                <a:gd name="connsiteY798" fmla="*/ 9668 h 10000"/>
                <a:gd name="connsiteX799" fmla="*/ 1005 w 10000"/>
                <a:gd name="connsiteY799" fmla="*/ 9682 h 10000"/>
                <a:gd name="connsiteX800" fmla="*/ 1025 w 10000"/>
                <a:gd name="connsiteY800" fmla="*/ 9698 h 10000"/>
                <a:gd name="connsiteX801" fmla="*/ 1045 w 10000"/>
                <a:gd name="connsiteY801" fmla="*/ 9712 h 10000"/>
                <a:gd name="connsiteX802" fmla="*/ 1073 w 10000"/>
                <a:gd name="connsiteY802" fmla="*/ 9724 h 10000"/>
                <a:gd name="connsiteX803" fmla="*/ 1098 w 10000"/>
                <a:gd name="connsiteY803" fmla="*/ 9738 h 10000"/>
                <a:gd name="connsiteX804" fmla="*/ 1121 w 10000"/>
                <a:gd name="connsiteY804" fmla="*/ 9750 h 10000"/>
                <a:gd name="connsiteX805" fmla="*/ 1141 w 10000"/>
                <a:gd name="connsiteY805" fmla="*/ 9762 h 10000"/>
                <a:gd name="connsiteX806" fmla="*/ 1159 w 10000"/>
                <a:gd name="connsiteY806" fmla="*/ 9776 h 10000"/>
                <a:gd name="connsiteX807" fmla="*/ 1172 w 10000"/>
                <a:gd name="connsiteY807" fmla="*/ 9787 h 10000"/>
                <a:gd name="connsiteX808" fmla="*/ 1182 w 10000"/>
                <a:gd name="connsiteY808" fmla="*/ 9804 h 10000"/>
                <a:gd name="connsiteX809" fmla="*/ 1194 w 10000"/>
                <a:gd name="connsiteY809" fmla="*/ 9818 h 10000"/>
                <a:gd name="connsiteX810" fmla="*/ 1202 w 10000"/>
                <a:gd name="connsiteY810" fmla="*/ 9834 h 10000"/>
                <a:gd name="connsiteX811" fmla="*/ 1212 w 10000"/>
                <a:gd name="connsiteY811" fmla="*/ 9869 h 10000"/>
                <a:gd name="connsiteX812" fmla="*/ 1220 w 10000"/>
                <a:gd name="connsiteY812" fmla="*/ 9906 h 10000"/>
                <a:gd name="connsiteX813" fmla="*/ 1230 w 10000"/>
                <a:gd name="connsiteY813" fmla="*/ 9951 h 10000"/>
                <a:gd name="connsiteX814" fmla="*/ 1237 w 10000"/>
                <a:gd name="connsiteY814" fmla="*/ 10000 h 10000"/>
                <a:gd name="connsiteX815" fmla="*/ 1237 w 10000"/>
                <a:gd name="connsiteY81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53 w 10000"/>
                <a:gd name="connsiteY704" fmla="*/ 7270 h 10000"/>
                <a:gd name="connsiteX705" fmla="*/ 2285 w 10000"/>
                <a:gd name="connsiteY705" fmla="*/ 7265 h 10000"/>
                <a:gd name="connsiteX706" fmla="*/ 1525 w 10000"/>
                <a:gd name="connsiteY706" fmla="*/ 8186 h 10000"/>
                <a:gd name="connsiteX707" fmla="*/ 1500 w 10000"/>
                <a:gd name="connsiteY707" fmla="*/ 8191 h 10000"/>
                <a:gd name="connsiteX708" fmla="*/ 1472 w 10000"/>
                <a:gd name="connsiteY708" fmla="*/ 8198 h 10000"/>
                <a:gd name="connsiteX709" fmla="*/ 1434 w 10000"/>
                <a:gd name="connsiteY709" fmla="*/ 8223 h 10000"/>
                <a:gd name="connsiteX710" fmla="*/ 1149 w 10000"/>
                <a:gd name="connsiteY710" fmla="*/ 8256 h 10000"/>
                <a:gd name="connsiteX711" fmla="*/ 1139 w 10000"/>
                <a:gd name="connsiteY711" fmla="*/ 8249 h 10000"/>
                <a:gd name="connsiteX712" fmla="*/ 1126 w 10000"/>
                <a:gd name="connsiteY712" fmla="*/ 8240 h 10000"/>
                <a:gd name="connsiteX713" fmla="*/ 1114 w 10000"/>
                <a:gd name="connsiteY713" fmla="*/ 8240 h 10000"/>
                <a:gd name="connsiteX714" fmla="*/ 1091 w 10000"/>
                <a:gd name="connsiteY714" fmla="*/ 8242 h 10000"/>
                <a:gd name="connsiteX715" fmla="*/ 1071 w 10000"/>
                <a:gd name="connsiteY715" fmla="*/ 8252 h 10000"/>
                <a:gd name="connsiteX716" fmla="*/ 1048 w 10000"/>
                <a:gd name="connsiteY716" fmla="*/ 8261 h 10000"/>
                <a:gd name="connsiteX717" fmla="*/ 1030 w 10000"/>
                <a:gd name="connsiteY717" fmla="*/ 8273 h 10000"/>
                <a:gd name="connsiteX718" fmla="*/ 1010 w 10000"/>
                <a:gd name="connsiteY718" fmla="*/ 8287 h 10000"/>
                <a:gd name="connsiteX719" fmla="*/ 995 w 10000"/>
                <a:gd name="connsiteY719" fmla="*/ 8303 h 10000"/>
                <a:gd name="connsiteX720" fmla="*/ 975 w 10000"/>
                <a:gd name="connsiteY720" fmla="*/ 8322 h 10000"/>
                <a:gd name="connsiteX721" fmla="*/ 960 w 10000"/>
                <a:gd name="connsiteY721" fmla="*/ 8343 h 10000"/>
                <a:gd name="connsiteX722" fmla="*/ 927 w 10000"/>
                <a:gd name="connsiteY722" fmla="*/ 8380 h 10000"/>
                <a:gd name="connsiteX723" fmla="*/ 891 w 10000"/>
                <a:gd name="connsiteY723" fmla="*/ 8417 h 10000"/>
                <a:gd name="connsiteX724" fmla="*/ 874 w 10000"/>
                <a:gd name="connsiteY724" fmla="*/ 8436 h 10000"/>
                <a:gd name="connsiteX725" fmla="*/ 859 w 10000"/>
                <a:gd name="connsiteY725" fmla="*/ 8450 h 10000"/>
                <a:gd name="connsiteX726" fmla="*/ 838 w 10000"/>
                <a:gd name="connsiteY726" fmla="*/ 8462 h 10000"/>
                <a:gd name="connsiteX727" fmla="*/ 821 w 10000"/>
                <a:gd name="connsiteY727" fmla="*/ 8476 h 10000"/>
                <a:gd name="connsiteX728" fmla="*/ 742 w 10000"/>
                <a:gd name="connsiteY728" fmla="*/ 8562 h 10000"/>
                <a:gd name="connsiteX729" fmla="*/ 672 w 10000"/>
                <a:gd name="connsiteY729" fmla="*/ 8644 h 10000"/>
                <a:gd name="connsiteX730" fmla="*/ 639 w 10000"/>
                <a:gd name="connsiteY730" fmla="*/ 8684 h 10000"/>
                <a:gd name="connsiteX731" fmla="*/ 609 w 10000"/>
                <a:gd name="connsiteY731" fmla="*/ 8731 h 10000"/>
                <a:gd name="connsiteX732" fmla="*/ 583 w 10000"/>
                <a:gd name="connsiteY732" fmla="*/ 8777 h 10000"/>
                <a:gd name="connsiteX733" fmla="*/ 556 w 10000"/>
                <a:gd name="connsiteY733" fmla="*/ 8831 h 10000"/>
                <a:gd name="connsiteX734" fmla="*/ 545 w 10000"/>
                <a:gd name="connsiteY734" fmla="*/ 8852 h 10000"/>
                <a:gd name="connsiteX735" fmla="*/ 525 w 10000"/>
                <a:gd name="connsiteY735" fmla="*/ 8885 h 10000"/>
                <a:gd name="connsiteX736" fmla="*/ 503 w 10000"/>
                <a:gd name="connsiteY736" fmla="*/ 8925 h 10000"/>
                <a:gd name="connsiteX737" fmla="*/ 480 w 10000"/>
                <a:gd name="connsiteY737" fmla="*/ 8962 h 10000"/>
                <a:gd name="connsiteX738" fmla="*/ 465 w 10000"/>
                <a:gd name="connsiteY738" fmla="*/ 8981 h 10000"/>
                <a:gd name="connsiteX739" fmla="*/ 455 w 10000"/>
                <a:gd name="connsiteY739" fmla="*/ 8993 h 10000"/>
                <a:gd name="connsiteX740" fmla="*/ 444 w 10000"/>
                <a:gd name="connsiteY740" fmla="*/ 9000 h 10000"/>
                <a:gd name="connsiteX741" fmla="*/ 434 w 10000"/>
                <a:gd name="connsiteY741" fmla="*/ 9007 h 10000"/>
                <a:gd name="connsiteX742" fmla="*/ 432 w 10000"/>
                <a:gd name="connsiteY742" fmla="*/ 9007 h 10000"/>
                <a:gd name="connsiteX743" fmla="*/ 429 w 10000"/>
                <a:gd name="connsiteY743" fmla="*/ 9004 h 10000"/>
                <a:gd name="connsiteX744" fmla="*/ 427 w 10000"/>
                <a:gd name="connsiteY744" fmla="*/ 8997 h 10000"/>
                <a:gd name="connsiteX745" fmla="*/ 427 w 10000"/>
                <a:gd name="connsiteY745" fmla="*/ 8993 h 10000"/>
                <a:gd name="connsiteX746" fmla="*/ 424 w 10000"/>
                <a:gd name="connsiteY746" fmla="*/ 8976 h 10000"/>
                <a:gd name="connsiteX747" fmla="*/ 427 w 10000"/>
                <a:gd name="connsiteY747" fmla="*/ 8948 h 10000"/>
                <a:gd name="connsiteX748" fmla="*/ 437 w 10000"/>
                <a:gd name="connsiteY748" fmla="*/ 8913 h 10000"/>
                <a:gd name="connsiteX749" fmla="*/ 455 w 10000"/>
                <a:gd name="connsiteY749" fmla="*/ 8859 h 10000"/>
                <a:gd name="connsiteX750" fmla="*/ 462 w 10000"/>
                <a:gd name="connsiteY750" fmla="*/ 8834 h 10000"/>
                <a:gd name="connsiteX751" fmla="*/ 470 w 10000"/>
                <a:gd name="connsiteY751" fmla="*/ 8810 h 10000"/>
                <a:gd name="connsiteX752" fmla="*/ 472 w 10000"/>
                <a:gd name="connsiteY752" fmla="*/ 8794 h 10000"/>
                <a:gd name="connsiteX753" fmla="*/ 472 w 10000"/>
                <a:gd name="connsiteY753" fmla="*/ 8780 h 10000"/>
                <a:gd name="connsiteX754" fmla="*/ 462 w 10000"/>
                <a:gd name="connsiteY754" fmla="*/ 8784 h 10000"/>
                <a:gd name="connsiteX755" fmla="*/ 452 w 10000"/>
                <a:gd name="connsiteY755" fmla="*/ 8787 h 10000"/>
                <a:gd name="connsiteX756" fmla="*/ 437 w 10000"/>
                <a:gd name="connsiteY756" fmla="*/ 8794 h 10000"/>
                <a:gd name="connsiteX757" fmla="*/ 424 w 10000"/>
                <a:gd name="connsiteY757" fmla="*/ 8803 h 10000"/>
                <a:gd name="connsiteX758" fmla="*/ 394 w 10000"/>
                <a:gd name="connsiteY758" fmla="*/ 8829 h 10000"/>
                <a:gd name="connsiteX759" fmla="*/ 364 w 10000"/>
                <a:gd name="connsiteY759" fmla="*/ 8859 h 10000"/>
                <a:gd name="connsiteX760" fmla="*/ 311 w 10000"/>
                <a:gd name="connsiteY760" fmla="*/ 8922 h 10000"/>
                <a:gd name="connsiteX761" fmla="*/ 268 w 10000"/>
                <a:gd name="connsiteY761" fmla="*/ 8964 h 10000"/>
                <a:gd name="connsiteX762" fmla="*/ 205 w 10000"/>
                <a:gd name="connsiteY762" fmla="*/ 9016 h 10000"/>
                <a:gd name="connsiteX763" fmla="*/ 146 w 10000"/>
                <a:gd name="connsiteY763" fmla="*/ 9053 h 10000"/>
                <a:gd name="connsiteX764" fmla="*/ 139 w 10000"/>
                <a:gd name="connsiteY764" fmla="*/ 9063 h 10000"/>
                <a:gd name="connsiteX765" fmla="*/ 129 w 10000"/>
                <a:gd name="connsiteY765" fmla="*/ 9077 h 10000"/>
                <a:gd name="connsiteX766" fmla="*/ 126 w 10000"/>
                <a:gd name="connsiteY766" fmla="*/ 9086 h 10000"/>
                <a:gd name="connsiteX767" fmla="*/ 126 w 10000"/>
                <a:gd name="connsiteY767" fmla="*/ 9102 h 10000"/>
                <a:gd name="connsiteX768" fmla="*/ 129 w 10000"/>
                <a:gd name="connsiteY768" fmla="*/ 9116 h 10000"/>
                <a:gd name="connsiteX769" fmla="*/ 139 w 10000"/>
                <a:gd name="connsiteY769" fmla="*/ 9135 h 10000"/>
                <a:gd name="connsiteX770" fmla="*/ 149 w 10000"/>
                <a:gd name="connsiteY770" fmla="*/ 9151 h 10000"/>
                <a:gd name="connsiteX771" fmla="*/ 164 w 10000"/>
                <a:gd name="connsiteY771" fmla="*/ 9175 h 10000"/>
                <a:gd name="connsiteX772" fmla="*/ 184 w 10000"/>
                <a:gd name="connsiteY772" fmla="*/ 9196 h 10000"/>
                <a:gd name="connsiteX773" fmla="*/ 207 w 10000"/>
                <a:gd name="connsiteY773" fmla="*/ 9215 h 10000"/>
                <a:gd name="connsiteX774" fmla="*/ 227 w 10000"/>
                <a:gd name="connsiteY774" fmla="*/ 9233 h 10000"/>
                <a:gd name="connsiteX775" fmla="*/ 253 w 10000"/>
                <a:gd name="connsiteY775" fmla="*/ 9250 h 10000"/>
                <a:gd name="connsiteX776" fmla="*/ 303 w 10000"/>
                <a:gd name="connsiteY776" fmla="*/ 9282 h 10000"/>
                <a:gd name="connsiteX777" fmla="*/ 351 w 10000"/>
                <a:gd name="connsiteY777" fmla="*/ 9315 h 10000"/>
                <a:gd name="connsiteX778" fmla="*/ 414 w 10000"/>
                <a:gd name="connsiteY778" fmla="*/ 9364 h 10000"/>
                <a:gd name="connsiteX779" fmla="*/ 480 w 10000"/>
                <a:gd name="connsiteY779" fmla="*/ 9416 h 10000"/>
                <a:gd name="connsiteX780" fmla="*/ 513 w 10000"/>
                <a:gd name="connsiteY780" fmla="*/ 9437 h 10000"/>
                <a:gd name="connsiteX781" fmla="*/ 548 w 10000"/>
                <a:gd name="connsiteY781" fmla="*/ 9462 h 10000"/>
                <a:gd name="connsiteX782" fmla="*/ 581 w 10000"/>
                <a:gd name="connsiteY782" fmla="*/ 9483 h 10000"/>
                <a:gd name="connsiteX783" fmla="*/ 614 w 10000"/>
                <a:gd name="connsiteY783" fmla="*/ 9502 h 10000"/>
                <a:gd name="connsiteX784" fmla="*/ 641 w 10000"/>
                <a:gd name="connsiteY784" fmla="*/ 9525 h 10000"/>
                <a:gd name="connsiteX785" fmla="*/ 672 w 10000"/>
                <a:gd name="connsiteY785" fmla="*/ 9549 h 10000"/>
                <a:gd name="connsiteX786" fmla="*/ 702 w 10000"/>
                <a:gd name="connsiteY786" fmla="*/ 9568 h 10000"/>
                <a:gd name="connsiteX787" fmla="*/ 737 w 10000"/>
                <a:gd name="connsiteY787" fmla="*/ 9589 h 10000"/>
                <a:gd name="connsiteX788" fmla="*/ 770 w 10000"/>
                <a:gd name="connsiteY788" fmla="*/ 9605 h 10000"/>
                <a:gd name="connsiteX789" fmla="*/ 808 w 10000"/>
                <a:gd name="connsiteY789" fmla="*/ 9617 h 10000"/>
                <a:gd name="connsiteX790" fmla="*/ 843 w 10000"/>
                <a:gd name="connsiteY790" fmla="*/ 9624 h 10000"/>
                <a:gd name="connsiteX791" fmla="*/ 884 w 10000"/>
                <a:gd name="connsiteY791" fmla="*/ 9628 h 10000"/>
                <a:gd name="connsiteX792" fmla="*/ 902 w 10000"/>
                <a:gd name="connsiteY792" fmla="*/ 9628 h 10000"/>
                <a:gd name="connsiteX793" fmla="*/ 914 w 10000"/>
                <a:gd name="connsiteY793" fmla="*/ 9631 h 10000"/>
                <a:gd name="connsiteX794" fmla="*/ 932 w 10000"/>
                <a:gd name="connsiteY794" fmla="*/ 9638 h 10000"/>
                <a:gd name="connsiteX795" fmla="*/ 942 w 10000"/>
                <a:gd name="connsiteY795" fmla="*/ 9642 h 10000"/>
                <a:gd name="connsiteX796" fmla="*/ 967 w 10000"/>
                <a:gd name="connsiteY796" fmla="*/ 9652 h 10000"/>
                <a:gd name="connsiteX797" fmla="*/ 987 w 10000"/>
                <a:gd name="connsiteY797" fmla="*/ 9668 h 10000"/>
                <a:gd name="connsiteX798" fmla="*/ 1005 w 10000"/>
                <a:gd name="connsiteY798" fmla="*/ 9682 h 10000"/>
                <a:gd name="connsiteX799" fmla="*/ 1025 w 10000"/>
                <a:gd name="connsiteY799" fmla="*/ 9698 h 10000"/>
                <a:gd name="connsiteX800" fmla="*/ 1045 w 10000"/>
                <a:gd name="connsiteY800" fmla="*/ 9712 h 10000"/>
                <a:gd name="connsiteX801" fmla="*/ 1073 w 10000"/>
                <a:gd name="connsiteY801" fmla="*/ 9724 h 10000"/>
                <a:gd name="connsiteX802" fmla="*/ 1098 w 10000"/>
                <a:gd name="connsiteY802" fmla="*/ 9738 h 10000"/>
                <a:gd name="connsiteX803" fmla="*/ 1121 w 10000"/>
                <a:gd name="connsiteY803" fmla="*/ 9750 h 10000"/>
                <a:gd name="connsiteX804" fmla="*/ 1141 w 10000"/>
                <a:gd name="connsiteY804" fmla="*/ 9762 h 10000"/>
                <a:gd name="connsiteX805" fmla="*/ 1159 w 10000"/>
                <a:gd name="connsiteY805" fmla="*/ 9776 h 10000"/>
                <a:gd name="connsiteX806" fmla="*/ 1172 w 10000"/>
                <a:gd name="connsiteY806" fmla="*/ 9787 h 10000"/>
                <a:gd name="connsiteX807" fmla="*/ 1182 w 10000"/>
                <a:gd name="connsiteY807" fmla="*/ 9804 h 10000"/>
                <a:gd name="connsiteX808" fmla="*/ 1194 w 10000"/>
                <a:gd name="connsiteY808" fmla="*/ 9818 h 10000"/>
                <a:gd name="connsiteX809" fmla="*/ 1202 w 10000"/>
                <a:gd name="connsiteY809" fmla="*/ 9834 h 10000"/>
                <a:gd name="connsiteX810" fmla="*/ 1212 w 10000"/>
                <a:gd name="connsiteY810" fmla="*/ 9869 h 10000"/>
                <a:gd name="connsiteX811" fmla="*/ 1220 w 10000"/>
                <a:gd name="connsiteY811" fmla="*/ 9906 h 10000"/>
                <a:gd name="connsiteX812" fmla="*/ 1230 w 10000"/>
                <a:gd name="connsiteY812" fmla="*/ 9951 h 10000"/>
                <a:gd name="connsiteX813" fmla="*/ 1237 w 10000"/>
                <a:gd name="connsiteY813" fmla="*/ 10000 h 10000"/>
                <a:gd name="connsiteX814" fmla="*/ 1237 w 10000"/>
                <a:gd name="connsiteY81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15 w 10000"/>
                <a:gd name="connsiteY703" fmla="*/ 7281 h 10000"/>
                <a:gd name="connsiteX704" fmla="*/ 2285 w 10000"/>
                <a:gd name="connsiteY704" fmla="*/ 7265 h 10000"/>
                <a:gd name="connsiteX705" fmla="*/ 1525 w 10000"/>
                <a:gd name="connsiteY705" fmla="*/ 8186 h 10000"/>
                <a:gd name="connsiteX706" fmla="*/ 1500 w 10000"/>
                <a:gd name="connsiteY706" fmla="*/ 8191 h 10000"/>
                <a:gd name="connsiteX707" fmla="*/ 1472 w 10000"/>
                <a:gd name="connsiteY707" fmla="*/ 8198 h 10000"/>
                <a:gd name="connsiteX708" fmla="*/ 1434 w 10000"/>
                <a:gd name="connsiteY708" fmla="*/ 8223 h 10000"/>
                <a:gd name="connsiteX709" fmla="*/ 1149 w 10000"/>
                <a:gd name="connsiteY709" fmla="*/ 8256 h 10000"/>
                <a:gd name="connsiteX710" fmla="*/ 1139 w 10000"/>
                <a:gd name="connsiteY710" fmla="*/ 8249 h 10000"/>
                <a:gd name="connsiteX711" fmla="*/ 1126 w 10000"/>
                <a:gd name="connsiteY711" fmla="*/ 8240 h 10000"/>
                <a:gd name="connsiteX712" fmla="*/ 1114 w 10000"/>
                <a:gd name="connsiteY712" fmla="*/ 8240 h 10000"/>
                <a:gd name="connsiteX713" fmla="*/ 1091 w 10000"/>
                <a:gd name="connsiteY713" fmla="*/ 8242 h 10000"/>
                <a:gd name="connsiteX714" fmla="*/ 1071 w 10000"/>
                <a:gd name="connsiteY714" fmla="*/ 8252 h 10000"/>
                <a:gd name="connsiteX715" fmla="*/ 1048 w 10000"/>
                <a:gd name="connsiteY715" fmla="*/ 8261 h 10000"/>
                <a:gd name="connsiteX716" fmla="*/ 1030 w 10000"/>
                <a:gd name="connsiteY716" fmla="*/ 8273 h 10000"/>
                <a:gd name="connsiteX717" fmla="*/ 1010 w 10000"/>
                <a:gd name="connsiteY717" fmla="*/ 8287 h 10000"/>
                <a:gd name="connsiteX718" fmla="*/ 995 w 10000"/>
                <a:gd name="connsiteY718" fmla="*/ 8303 h 10000"/>
                <a:gd name="connsiteX719" fmla="*/ 975 w 10000"/>
                <a:gd name="connsiteY719" fmla="*/ 8322 h 10000"/>
                <a:gd name="connsiteX720" fmla="*/ 960 w 10000"/>
                <a:gd name="connsiteY720" fmla="*/ 8343 h 10000"/>
                <a:gd name="connsiteX721" fmla="*/ 927 w 10000"/>
                <a:gd name="connsiteY721" fmla="*/ 8380 h 10000"/>
                <a:gd name="connsiteX722" fmla="*/ 891 w 10000"/>
                <a:gd name="connsiteY722" fmla="*/ 8417 h 10000"/>
                <a:gd name="connsiteX723" fmla="*/ 874 w 10000"/>
                <a:gd name="connsiteY723" fmla="*/ 8436 h 10000"/>
                <a:gd name="connsiteX724" fmla="*/ 859 w 10000"/>
                <a:gd name="connsiteY724" fmla="*/ 8450 h 10000"/>
                <a:gd name="connsiteX725" fmla="*/ 838 w 10000"/>
                <a:gd name="connsiteY725" fmla="*/ 8462 h 10000"/>
                <a:gd name="connsiteX726" fmla="*/ 821 w 10000"/>
                <a:gd name="connsiteY726" fmla="*/ 8476 h 10000"/>
                <a:gd name="connsiteX727" fmla="*/ 742 w 10000"/>
                <a:gd name="connsiteY727" fmla="*/ 8562 h 10000"/>
                <a:gd name="connsiteX728" fmla="*/ 672 w 10000"/>
                <a:gd name="connsiteY728" fmla="*/ 8644 h 10000"/>
                <a:gd name="connsiteX729" fmla="*/ 639 w 10000"/>
                <a:gd name="connsiteY729" fmla="*/ 8684 h 10000"/>
                <a:gd name="connsiteX730" fmla="*/ 609 w 10000"/>
                <a:gd name="connsiteY730" fmla="*/ 8731 h 10000"/>
                <a:gd name="connsiteX731" fmla="*/ 583 w 10000"/>
                <a:gd name="connsiteY731" fmla="*/ 8777 h 10000"/>
                <a:gd name="connsiteX732" fmla="*/ 556 w 10000"/>
                <a:gd name="connsiteY732" fmla="*/ 8831 h 10000"/>
                <a:gd name="connsiteX733" fmla="*/ 545 w 10000"/>
                <a:gd name="connsiteY733" fmla="*/ 8852 h 10000"/>
                <a:gd name="connsiteX734" fmla="*/ 525 w 10000"/>
                <a:gd name="connsiteY734" fmla="*/ 8885 h 10000"/>
                <a:gd name="connsiteX735" fmla="*/ 503 w 10000"/>
                <a:gd name="connsiteY735" fmla="*/ 8925 h 10000"/>
                <a:gd name="connsiteX736" fmla="*/ 480 w 10000"/>
                <a:gd name="connsiteY736" fmla="*/ 8962 h 10000"/>
                <a:gd name="connsiteX737" fmla="*/ 465 w 10000"/>
                <a:gd name="connsiteY737" fmla="*/ 8981 h 10000"/>
                <a:gd name="connsiteX738" fmla="*/ 455 w 10000"/>
                <a:gd name="connsiteY738" fmla="*/ 8993 h 10000"/>
                <a:gd name="connsiteX739" fmla="*/ 444 w 10000"/>
                <a:gd name="connsiteY739" fmla="*/ 9000 h 10000"/>
                <a:gd name="connsiteX740" fmla="*/ 434 w 10000"/>
                <a:gd name="connsiteY740" fmla="*/ 9007 h 10000"/>
                <a:gd name="connsiteX741" fmla="*/ 432 w 10000"/>
                <a:gd name="connsiteY741" fmla="*/ 9007 h 10000"/>
                <a:gd name="connsiteX742" fmla="*/ 429 w 10000"/>
                <a:gd name="connsiteY742" fmla="*/ 9004 h 10000"/>
                <a:gd name="connsiteX743" fmla="*/ 427 w 10000"/>
                <a:gd name="connsiteY743" fmla="*/ 8997 h 10000"/>
                <a:gd name="connsiteX744" fmla="*/ 427 w 10000"/>
                <a:gd name="connsiteY744" fmla="*/ 8993 h 10000"/>
                <a:gd name="connsiteX745" fmla="*/ 424 w 10000"/>
                <a:gd name="connsiteY745" fmla="*/ 8976 h 10000"/>
                <a:gd name="connsiteX746" fmla="*/ 427 w 10000"/>
                <a:gd name="connsiteY746" fmla="*/ 8948 h 10000"/>
                <a:gd name="connsiteX747" fmla="*/ 437 w 10000"/>
                <a:gd name="connsiteY747" fmla="*/ 8913 h 10000"/>
                <a:gd name="connsiteX748" fmla="*/ 455 w 10000"/>
                <a:gd name="connsiteY748" fmla="*/ 8859 h 10000"/>
                <a:gd name="connsiteX749" fmla="*/ 462 w 10000"/>
                <a:gd name="connsiteY749" fmla="*/ 8834 h 10000"/>
                <a:gd name="connsiteX750" fmla="*/ 470 w 10000"/>
                <a:gd name="connsiteY750" fmla="*/ 8810 h 10000"/>
                <a:gd name="connsiteX751" fmla="*/ 472 w 10000"/>
                <a:gd name="connsiteY751" fmla="*/ 8794 h 10000"/>
                <a:gd name="connsiteX752" fmla="*/ 472 w 10000"/>
                <a:gd name="connsiteY752" fmla="*/ 8780 h 10000"/>
                <a:gd name="connsiteX753" fmla="*/ 462 w 10000"/>
                <a:gd name="connsiteY753" fmla="*/ 8784 h 10000"/>
                <a:gd name="connsiteX754" fmla="*/ 452 w 10000"/>
                <a:gd name="connsiteY754" fmla="*/ 8787 h 10000"/>
                <a:gd name="connsiteX755" fmla="*/ 437 w 10000"/>
                <a:gd name="connsiteY755" fmla="*/ 8794 h 10000"/>
                <a:gd name="connsiteX756" fmla="*/ 424 w 10000"/>
                <a:gd name="connsiteY756" fmla="*/ 8803 h 10000"/>
                <a:gd name="connsiteX757" fmla="*/ 394 w 10000"/>
                <a:gd name="connsiteY757" fmla="*/ 8829 h 10000"/>
                <a:gd name="connsiteX758" fmla="*/ 364 w 10000"/>
                <a:gd name="connsiteY758" fmla="*/ 8859 h 10000"/>
                <a:gd name="connsiteX759" fmla="*/ 311 w 10000"/>
                <a:gd name="connsiteY759" fmla="*/ 8922 h 10000"/>
                <a:gd name="connsiteX760" fmla="*/ 268 w 10000"/>
                <a:gd name="connsiteY760" fmla="*/ 8964 h 10000"/>
                <a:gd name="connsiteX761" fmla="*/ 205 w 10000"/>
                <a:gd name="connsiteY761" fmla="*/ 9016 h 10000"/>
                <a:gd name="connsiteX762" fmla="*/ 146 w 10000"/>
                <a:gd name="connsiteY762" fmla="*/ 9053 h 10000"/>
                <a:gd name="connsiteX763" fmla="*/ 139 w 10000"/>
                <a:gd name="connsiteY763" fmla="*/ 9063 h 10000"/>
                <a:gd name="connsiteX764" fmla="*/ 129 w 10000"/>
                <a:gd name="connsiteY764" fmla="*/ 9077 h 10000"/>
                <a:gd name="connsiteX765" fmla="*/ 126 w 10000"/>
                <a:gd name="connsiteY765" fmla="*/ 9086 h 10000"/>
                <a:gd name="connsiteX766" fmla="*/ 126 w 10000"/>
                <a:gd name="connsiteY766" fmla="*/ 9102 h 10000"/>
                <a:gd name="connsiteX767" fmla="*/ 129 w 10000"/>
                <a:gd name="connsiteY767" fmla="*/ 9116 h 10000"/>
                <a:gd name="connsiteX768" fmla="*/ 139 w 10000"/>
                <a:gd name="connsiteY768" fmla="*/ 9135 h 10000"/>
                <a:gd name="connsiteX769" fmla="*/ 149 w 10000"/>
                <a:gd name="connsiteY769" fmla="*/ 9151 h 10000"/>
                <a:gd name="connsiteX770" fmla="*/ 164 w 10000"/>
                <a:gd name="connsiteY770" fmla="*/ 9175 h 10000"/>
                <a:gd name="connsiteX771" fmla="*/ 184 w 10000"/>
                <a:gd name="connsiteY771" fmla="*/ 9196 h 10000"/>
                <a:gd name="connsiteX772" fmla="*/ 207 w 10000"/>
                <a:gd name="connsiteY772" fmla="*/ 9215 h 10000"/>
                <a:gd name="connsiteX773" fmla="*/ 227 w 10000"/>
                <a:gd name="connsiteY773" fmla="*/ 9233 h 10000"/>
                <a:gd name="connsiteX774" fmla="*/ 253 w 10000"/>
                <a:gd name="connsiteY774" fmla="*/ 9250 h 10000"/>
                <a:gd name="connsiteX775" fmla="*/ 303 w 10000"/>
                <a:gd name="connsiteY775" fmla="*/ 9282 h 10000"/>
                <a:gd name="connsiteX776" fmla="*/ 351 w 10000"/>
                <a:gd name="connsiteY776" fmla="*/ 9315 h 10000"/>
                <a:gd name="connsiteX777" fmla="*/ 414 w 10000"/>
                <a:gd name="connsiteY777" fmla="*/ 9364 h 10000"/>
                <a:gd name="connsiteX778" fmla="*/ 480 w 10000"/>
                <a:gd name="connsiteY778" fmla="*/ 9416 h 10000"/>
                <a:gd name="connsiteX779" fmla="*/ 513 w 10000"/>
                <a:gd name="connsiteY779" fmla="*/ 9437 h 10000"/>
                <a:gd name="connsiteX780" fmla="*/ 548 w 10000"/>
                <a:gd name="connsiteY780" fmla="*/ 9462 h 10000"/>
                <a:gd name="connsiteX781" fmla="*/ 581 w 10000"/>
                <a:gd name="connsiteY781" fmla="*/ 9483 h 10000"/>
                <a:gd name="connsiteX782" fmla="*/ 614 w 10000"/>
                <a:gd name="connsiteY782" fmla="*/ 9502 h 10000"/>
                <a:gd name="connsiteX783" fmla="*/ 641 w 10000"/>
                <a:gd name="connsiteY783" fmla="*/ 9525 h 10000"/>
                <a:gd name="connsiteX784" fmla="*/ 672 w 10000"/>
                <a:gd name="connsiteY784" fmla="*/ 9549 h 10000"/>
                <a:gd name="connsiteX785" fmla="*/ 702 w 10000"/>
                <a:gd name="connsiteY785" fmla="*/ 9568 h 10000"/>
                <a:gd name="connsiteX786" fmla="*/ 737 w 10000"/>
                <a:gd name="connsiteY786" fmla="*/ 9589 h 10000"/>
                <a:gd name="connsiteX787" fmla="*/ 770 w 10000"/>
                <a:gd name="connsiteY787" fmla="*/ 9605 h 10000"/>
                <a:gd name="connsiteX788" fmla="*/ 808 w 10000"/>
                <a:gd name="connsiteY788" fmla="*/ 9617 h 10000"/>
                <a:gd name="connsiteX789" fmla="*/ 843 w 10000"/>
                <a:gd name="connsiteY789" fmla="*/ 9624 h 10000"/>
                <a:gd name="connsiteX790" fmla="*/ 884 w 10000"/>
                <a:gd name="connsiteY790" fmla="*/ 9628 h 10000"/>
                <a:gd name="connsiteX791" fmla="*/ 902 w 10000"/>
                <a:gd name="connsiteY791" fmla="*/ 9628 h 10000"/>
                <a:gd name="connsiteX792" fmla="*/ 914 w 10000"/>
                <a:gd name="connsiteY792" fmla="*/ 9631 h 10000"/>
                <a:gd name="connsiteX793" fmla="*/ 932 w 10000"/>
                <a:gd name="connsiteY793" fmla="*/ 9638 h 10000"/>
                <a:gd name="connsiteX794" fmla="*/ 942 w 10000"/>
                <a:gd name="connsiteY794" fmla="*/ 9642 h 10000"/>
                <a:gd name="connsiteX795" fmla="*/ 967 w 10000"/>
                <a:gd name="connsiteY795" fmla="*/ 9652 h 10000"/>
                <a:gd name="connsiteX796" fmla="*/ 987 w 10000"/>
                <a:gd name="connsiteY796" fmla="*/ 9668 h 10000"/>
                <a:gd name="connsiteX797" fmla="*/ 1005 w 10000"/>
                <a:gd name="connsiteY797" fmla="*/ 9682 h 10000"/>
                <a:gd name="connsiteX798" fmla="*/ 1025 w 10000"/>
                <a:gd name="connsiteY798" fmla="*/ 9698 h 10000"/>
                <a:gd name="connsiteX799" fmla="*/ 1045 w 10000"/>
                <a:gd name="connsiteY799" fmla="*/ 9712 h 10000"/>
                <a:gd name="connsiteX800" fmla="*/ 1073 w 10000"/>
                <a:gd name="connsiteY800" fmla="*/ 9724 h 10000"/>
                <a:gd name="connsiteX801" fmla="*/ 1098 w 10000"/>
                <a:gd name="connsiteY801" fmla="*/ 9738 h 10000"/>
                <a:gd name="connsiteX802" fmla="*/ 1121 w 10000"/>
                <a:gd name="connsiteY802" fmla="*/ 9750 h 10000"/>
                <a:gd name="connsiteX803" fmla="*/ 1141 w 10000"/>
                <a:gd name="connsiteY803" fmla="*/ 9762 h 10000"/>
                <a:gd name="connsiteX804" fmla="*/ 1159 w 10000"/>
                <a:gd name="connsiteY804" fmla="*/ 9776 h 10000"/>
                <a:gd name="connsiteX805" fmla="*/ 1172 w 10000"/>
                <a:gd name="connsiteY805" fmla="*/ 9787 h 10000"/>
                <a:gd name="connsiteX806" fmla="*/ 1182 w 10000"/>
                <a:gd name="connsiteY806" fmla="*/ 9804 h 10000"/>
                <a:gd name="connsiteX807" fmla="*/ 1194 w 10000"/>
                <a:gd name="connsiteY807" fmla="*/ 9818 h 10000"/>
                <a:gd name="connsiteX808" fmla="*/ 1202 w 10000"/>
                <a:gd name="connsiteY808" fmla="*/ 9834 h 10000"/>
                <a:gd name="connsiteX809" fmla="*/ 1212 w 10000"/>
                <a:gd name="connsiteY809" fmla="*/ 9869 h 10000"/>
                <a:gd name="connsiteX810" fmla="*/ 1220 w 10000"/>
                <a:gd name="connsiteY810" fmla="*/ 9906 h 10000"/>
                <a:gd name="connsiteX811" fmla="*/ 1230 w 10000"/>
                <a:gd name="connsiteY811" fmla="*/ 9951 h 10000"/>
                <a:gd name="connsiteX812" fmla="*/ 1237 w 10000"/>
                <a:gd name="connsiteY812" fmla="*/ 10000 h 10000"/>
                <a:gd name="connsiteX813" fmla="*/ 1237 w 10000"/>
                <a:gd name="connsiteY81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20 w 10000"/>
                <a:gd name="connsiteY700" fmla="*/ 7368 h 10000"/>
                <a:gd name="connsiteX701" fmla="*/ 2088 w 10000"/>
                <a:gd name="connsiteY701" fmla="*/ 7340 h 10000"/>
                <a:gd name="connsiteX702" fmla="*/ 2169 w 10000"/>
                <a:gd name="connsiteY702" fmla="*/ 7295 h 10000"/>
                <a:gd name="connsiteX703" fmla="*/ 2285 w 10000"/>
                <a:gd name="connsiteY703" fmla="*/ 7265 h 10000"/>
                <a:gd name="connsiteX704" fmla="*/ 1525 w 10000"/>
                <a:gd name="connsiteY704" fmla="*/ 8186 h 10000"/>
                <a:gd name="connsiteX705" fmla="*/ 1500 w 10000"/>
                <a:gd name="connsiteY705" fmla="*/ 8191 h 10000"/>
                <a:gd name="connsiteX706" fmla="*/ 1472 w 10000"/>
                <a:gd name="connsiteY706" fmla="*/ 8198 h 10000"/>
                <a:gd name="connsiteX707" fmla="*/ 1434 w 10000"/>
                <a:gd name="connsiteY707" fmla="*/ 8223 h 10000"/>
                <a:gd name="connsiteX708" fmla="*/ 1149 w 10000"/>
                <a:gd name="connsiteY708" fmla="*/ 8256 h 10000"/>
                <a:gd name="connsiteX709" fmla="*/ 1139 w 10000"/>
                <a:gd name="connsiteY709" fmla="*/ 8249 h 10000"/>
                <a:gd name="connsiteX710" fmla="*/ 1126 w 10000"/>
                <a:gd name="connsiteY710" fmla="*/ 8240 h 10000"/>
                <a:gd name="connsiteX711" fmla="*/ 1114 w 10000"/>
                <a:gd name="connsiteY711" fmla="*/ 8240 h 10000"/>
                <a:gd name="connsiteX712" fmla="*/ 1091 w 10000"/>
                <a:gd name="connsiteY712" fmla="*/ 8242 h 10000"/>
                <a:gd name="connsiteX713" fmla="*/ 1071 w 10000"/>
                <a:gd name="connsiteY713" fmla="*/ 8252 h 10000"/>
                <a:gd name="connsiteX714" fmla="*/ 1048 w 10000"/>
                <a:gd name="connsiteY714" fmla="*/ 8261 h 10000"/>
                <a:gd name="connsiteX715" fmla="*/ 1030 w 10000"/>
                <a:gd name="connsiteY715" fmla="*/ 8273 h 10000"/>
                <a:gd name="connsiteX716" fmla="*/ 1010 w 10000"/>
                <a:gd name="connsiteY716" fmla="*/ 8287 h 10000"/>
                <a:gd name="connsiteX717" fmla="*/ 995 w 10000"/>
                <a:gd name="connsiteY717" fmla="*/ 8303 h 10000"/>
                <a:gd name="connsiteX718" fmla="*/ 975 w 10000"/>
                <a:gd name="connsiteY718" fmla="*/ 8322 h 10000"/>
                <a:gd name="connsiteX719" fmla="*/ 960 w 10000"/>
                <a:gd name="connsiteY719" fmla="*/ 8343 h 10000"/>
                <a:gd name="connsiteX720" fmla="*/ 927 w 10000"/>
                <a:gd name="connsiteY720" fmla="*/ 8380 h 10000"/>
                <a:gd name="connsiteX721" fmla="*/ 891 w 10000"/>
                <a:gd name="connsiteY721" fmla="*/ 8417 h 10000"/>
                <a:gd name="connsiteX722" fmla="*/ 874 w 10000"/>
                <a:gd name="connsiteY722" fmla="*/ 8436 h 10000"/>
                <a:gd name="connsiteX723" fmla="*/ 859 w 10000"/>
                <a:gd name="connsiteY723" fmla="*/ 8450 h 10000"/>
                <a:gd name="connsiteX724" fmla="*/ 838 w 10000"/>
                <a:gd name="connsiteY724" fmla="*/ 8462 h 10000"/>
                <a:gd name="connsiteX725" fmla="*/ 821 w 10000"/>
                <a:gd name="connsiteY725" fmla="*/ 8476 h 10000"/>
                <a:gd name="connsiteX726" fmla="*/ 742 w 10000"/>
                <a:gd name="connsiteY726" fmla="*/ 8562 h 10000"/>
                <a:gd name="connsiteX727" fmla="*/ 672 w 10000"/>
                <a:gd name="connsiteY727" fmla="*/ 8644 h 10000"/>
                <a:gd name="connsiteX728" fmla="*/ 639 w 10000"/>
                <a:gd name="connsiteY728" fmla="*/ 8684 h 10000"/>
                <a:gd name="connsiteX729" fmla="*/ 609 w 10000"/>
                <a:gd name="connsiteY729" fmla="*/ 8731 h 10000"/>
                <a:gd name="connsiteX730" fmla="*/ 583 w 10000"/>
                <a:gd name="connsiteY730" fmla="*/ 8777 h 10000"/>
                <a:gd name="connsiteX731" fmla="*/ 556 w 10000"/>
                <a:gd name="connsiteY731" fmla="*/ 8831 h 10000"/>
                <a:gd name="connsiteX732" fmla="*/ 545 w 10000"/>
                <a:gd name="connsiteY732" fmla="*/ 8852 h 10000"/>
                <a:gd name="connsiteX733" fmla="*/ 525 w 10000"/>
                <a:gd name="connsiteY733" fmla="*/ 8885 h 10000"/>
                <a:gd name="connsiteX734" fmla="*/ 503 w 10000"/>
                <a:gd name="connsiteY734" fmla="*/ 8925 h 10000"/>
                <a:gd name="connsiteX735" fmla="*/ 480 w 10000"/>
                <a:gd name="connsiteY735" fmla="*/ 8962 h 10000"/>
                <a:gd name="connsiteX736" fmla="*/ 465 w 10000"/>
                <a:gd name="connsiteY736" fmla="*/ 8981 h 10000"/>
                <a:gd name="connsiteX737" fmla="*/ 455 w 10000"/>
                <a:gd name="connsiteY737" fmla="*/ 8993 h 10000"/>
                <a:gd name="connsiteX738" fmla="*/ 444 w 10000"/>
                <a:gd name="connsiteY738" fmla="*/ 9000 h 10000"/>
                <a:gd name="connsiteX739" fmla="*/ 434 w 10000"/>
                <a:gd name="connsiteY739" fmla="*/ 9007 h 10000"/>
                <a:gd name="connsiteX740" fmla="*/ 432 w 10000"/>
                <a:gd name="connsiteY740" fmla="*/ 9007 h 10000"/>
                <a:gd name="connsiteX741" fmla="*/ 429 w 10000"/>
                <a:gd name="connsiteY741" fmla="*/ 9004 h 10000"/>
                <a:gd name="connsiteX742" fmla="*/ 427 w 10000"/>
                <a:gd name="connsiteY742" fmla="*/ 8997 h 10000"/>
                <a:gd name="connsiteX743" fmla="*/ 427 w 10000"/>
                <a:gd name="connsiteY743" fmla="*/ 8993 h 10000"/>
                <a:gd name="connsiteX744" fmla="*/ 424 w 10000"/>
                <a:gd name="connsiteY744" fmla="*/ 8976 h 10000"/>
                <a:gd name="connsiteX745" fmla="*/ 427 w 10000"/>
                <a:gd name="connsiteY745" fmla="*/ 8948 h 10000"/>
                <a:gd name="connsiteX746" fmla="*/ 437 w 10000"/>
                <a:gd name="connsiteY746" fmla="*/ 8913 h 10000"/>
                <a:gd name="connsiteX747" fmla="*/ 455 w 10000"/>
                <a:gd name="connsiteY747" fmla="*/ 8859 h 10000"/>
                <a:gd name="connsiteX748" fmla="*/ 462 w 10000"/>
                <a:gd name="connsiteY748" fmla="*/ 8834 h 10000"/>
                <a:gd name="connsiteX749" fmla="*/ 470 w 10000"/>
                <a:gd name="connsiteY749" fmla="*/ 8810 h 10000"/>
                <a:gd name="connsiteX750" fmla="*/ 472 w 10000"/>
                <a:gd name="connsiteY750" fmla="*/ 8794 h 10000"/>
                <a:gd name="connsiteX751" fmla="*/ 472 w 10000"/>
                <a:gd name="connsiteY751" fmla="*/ 8780 h 10000"/>
                <a:gd name="connsiteX752" fmla="*/ 462 w 10000"/>
                <a:gd name="connsiteY752" fmla="*/ 8784 h 10000"/>
                <a:gd name="connsiteX753" fmla="*/ 452 w 10000"/>
                <a:gd name="connsiteY753" fmla="*/ 8787 h 10000"/>
                <a:gd name="connsiteX754" fmla="*/ 437 w 10000"/>
                <a:gd name="connsiteY754" fmla="*/ 8794 h 10000"/>
                <a:gd name="connsiteX755" fmla="*/ 424 w 10000"/>
                <a:gd name="connsiteY755" fmla="*/ 8803 h 10000"/>
                <a:gd name="connsiteX756" fmla="*/ 394 w 10000"/>
                <a:gd name="connsiteY756" fmla="*/ 8829 h 10000"/>
                <a:gd name="connsiteX757" fmla="*/ 364 w 10000"/>
                <a:gd name="connsiteY757" fmla="*/ 8859 h 10000"/>
                <a:gd name="connsiteX758" fmla="*/ 311 w 10000"/>
                <a:gd name="connsiteY758" fmla="*/ 8922 h 10000"/>
                <a:gd name="connsiteX759" fmla="*/ 268 w 10000"/>
                <a:gd name="connsiteY759" fmla="*/ 8964 h 10000"/>
                <a:gd name="connsiteX760" fmla="*/ 205 w 10000"/>
                <a:gd name="connsiteY760" fmla="*/ 9016 h 10000"/>
                <a:gd name="connsiteX761" fmla="*/ 146 w 10000"/>
                <a:gd name="connsiteY761" fmla="*/ 9053 h 10000"/>
                <a:gd name="connsiteX762" fmla="*/ 139 w 10000"/>
                <a:gd name="connsiteY762" fmla="*/ 9063 h 10000"/>
                <a:gd name="connsiteX763" fmla="*/ 129 w 10000"/>
                <a:gd name="connsiteY763" fmla="*/ 9077 h 10000"/>
                <a:gd name="connsiteX764" fmla="*/ 126 w 10000"/>
                <a:gd name="connsiteY764" fmla="*/ 9086 h 10000"/>
                <a:gd name="connsiteX765" fmla="*/ 126 w 10000"/>
                <a:gd name="connsiteY765" fmla="*/ 9102 h 10000"/>
                <a:gd name="connsiteX766" fmla="*/ 129 w 10000"/>
                <a:gd name="connsiteY766" fmla="*/ 9116 h 10000"/>
                <a:gd name="connsiteX767" fmla="*/ 139 w 10000"/>
                <a:gd name="connsiteY767" fmla="*/ 9135 h 10000"/>
                <a:gd name="connsiteX768" fmla="*/ 149 w 10000"/>
                <a:gd name="connsiteY768" fmla="*/ 9151 h 10000"/>
                <a:gd name="connsiteX769" fmla="*/ 164 w 10000"/>
                <a:gd name="connsiteY769" fmla="*/ 9175 h 10000"/>
                <a:gd name="connsiteX770" fmla="*/ 184 w 10000"/>
                <a:gd name="connsiteY770" fmla="*/ 9196 h 10000"/>
                <a:gd name="connsiteX771" fmla="*/ 207 w 10000"/>
                <a:gd name="connsiteY771" fmla="*/ 9215 h 10000"/>
                <a:gd name="connsiteX772" fmla="*/ 227 w 10000"/>
                <a:gd name="connsiteY772" fmla="*/ 9233 h 10000"/>
                <a:gd name="connsiteX773" fmla="*/ 253 w 10000"/>
                <a:gd name="connsiteY773" fmla="*/ 9250 h 10000"/>
                <a:gd name="connsiteX774" fmla="*/ 303 w 10000"/>
                <a:gd name="connsiteY774" fmla="*/ 9282 h 10000"/>
                <a:gd name="connsiteX775" fmla="*/ 351 w 10000"/>
                <a:gd name="connsiteY775" fmla="*/ 9315 h 10000"/>
                <a:gd name="connsiteX776" fmla="*/ 414 w 10000"/>
                <a:gd name="connsiteY776" fmla="*/ 9364 h 10000"/>
                <a:gd name="connsiteX777" fmla="*/ 480 w 10000"/>
                <a:gd name="connsiteY777" fmla="*/ 9416 h 10000"/>
                <a:gd name="connsiteX778" fmla="*/ 513 w 10000"/>
                <a:gd name="connsiteY778" fmla="*/ 9437 h 10000"/>
                <a:gd name="connsiteX779" fmla="*/ 548 w 10000"/>
                <a:gd name="connsiteY779" fmla="*/ 9462 h 10000"/>
                <a:gd name="connsiteX780" fmla="*/ 581 w 10000"/>
                <a:gd name="connsiteY780" fmla="*/ 9483 h 10000"/>
                <a:gd name="connsiteX781" fmla="*/ 614 w 10000"/>
                <a:gd name="connsiteY781" fmla="*/ 9502 h 10000"/>
                <a:gd name="connsiteX782" fmla="*/ 641 w 10000"/>
                <a:gd name="connsiteY782" fmla="*/ 9525 h 10000"/>
                <a:gd name="connsiteX783" fmla="*/ 672 w 10000"/>
                <a:gd name="connsiteY783" fmla="*/ 9549 h 10000"/>
                <a:gd name="connsiteX784" fmla="*/ 702 w 10000"/>
                <a:gd name="connsiteY784" fmla="*/ 9568 h 10000"/>
                <a:gd name="connsiteX785" fmla="*/ 737 w 10000"/>
                <a:gd name="connsiteY785" fmla="*/ 9589 h 10000"/>
                <a:gd name="connsiteX786" fmla="*/ 770 w 10000"/>
                <a:gd name="connsiteY786" fmla="*/ 9605 h 10000"/>
                <a:gd name="connsiteX787" fmla="*/ 808 w 10000"/>
                <a:gd name="connsiteY787" fmla="*/ 9617 h 10000"/>
                <a:gd name="connsiteX788" fmla="*/ 843 w 10000"/>
                <a:gd name="connsiteY788" fmla="*/ 9624 h 10000"/>
                <a:gd name="connsiteX789" fmla="*/ 884 w 10000"/>
                <a:gd name="connsiteY789" fmla="*/ 9628 h 10000"/>
                <a:gd name="connsiteX790" fmla="*/ 902 w 10000"/>
                <a:gd name="connsiteY790" fmla="*/ 9628 h 10000"/>
                <a:gd name="connsiteX791" fmla="*/ 914 w 10000"/>
                <a:gd name="connsiteY791" fmla="*/ 9631 h 10000"/>
                <a:gd name="connsiteX792" fmla="*/ 932 w 10000"/>
                <a:gd name="connsiteY792" fmla="*/ 9638 h 10000"/>
                <a:gd name="connsiteX793" fmla="*/ 942 w 10000"/>
                <a:gd name="connsiteY793" fmla="*/ 9642 h 10000"/>
                <a:gd name="connsiteX794" fmla="*/ 967 w 10000"/>
                <a:gd name="connsiteY794" fmla="*/ 9652 h 10000"/>
                <a:gd name="connsiteX795" fmla="*/ 987 w 10000"/>
                <a:gd name="connsiteY795" fmla="*/ 9668 h 10000"/>
                <a:gd name="connsiteX796" fmla="*/ 1005 w 10000"/>
                <a:gd name="connsiteY796" fmla="*/ 9682 h 10000"/>
                <a:gd name="connsiteX797" fmla="*/ 1025 w 10000"/>
                <a:gd name="connsiteY797" fmla="*/ 9698 h 10000"/>
                <a:gd name="connsiteX798" fmla="*/ 1045 w 10000"/>
                <a:gd name="connsiteY798" fmla="*/ 9712 h 10000"/>
                <a:gd name="connsiteX799" fmla="*/ 1073 w 10000"/>
                <a:gd name="connsiteY799" fmla="*/ 9724 h 10000"/>
                <a:gd name="connsiteX800" fmla="*/ 1098 w 10000"/>
                <a:gd name="connsiteY800" fmla="*/ 9738 h 10000"/>
                <a:gd name="connsiteX801" fmla="*/ 1121 w 10000"/>
                <a:gd name="connsiteY801" fmla="*/ 9750 h 10000"/>
                <a:gd name="connsiteX802" fmla="*/ 1141 w 10000"/>
                <a:gd name="connsiteY802" fmla="*/ 9762 h 10000"/>
                <a:gd name="connsiteX803" fmla="*/ 1159 w 10000"/>
                <a:gd name="connsiteY803" fmla="*/ 9776 h 10000"/>
                <a:gd name="connsiteX804" fmla="*/ 1172 w 10000"/>
                <a:gd name="connsiteY804" fmla="*/ 9787 h 10000"/>
                <a:gd name="connsiteX805" fmla="*/ 1182 w 10000"/>
                <a:gd name="connsiteY805" fmla="*/ 9804 h 10000"/>
                <a:gd name="connsiteX806" fmla="*/ 1194 w 10000"/>
                <a:gd name="connsiteY806" fmla="*/ 9818 h 10000"/>
                <a:gd name="connsiteX807" fmla="*/ 1202 w 10000"/>
                <a:gd name="connsiteY807" fmla="*/ 9834 h 10000"/>
                <a:gd name="connsiteX808" fmla="*/ 1212 w 10000"/>
                <a:gd name="connsiteY808" fmla="*/ 9869 h 10000"/>
                <a:gd name="connsiteX809" fmla="*/ 1220 w 10000"/>
                <a:gd name="connsiteY809" fmla="*/ 9906 h 10000"/>
                <a:gd name="connsiteX810" fmla="*/ 1230 w 10000"/>
                <a:gd name="connsiteY810" fmla="*/ 9951 h 10000"/>
                <a:gd name="connsiteX811" fmla="*/ 1237 w 10000"/>
                <a:gd name="connsiteY811" fmla="*/ 10000 h 10000"/>
                <a:gd name="connsiteX812" fmla="*/ 1237 w 10000"/>
                <a:gd name="connsiteY81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88 w 10000"/>
                <a:gd name="connsiteY700" fmla="*/ 7340 h 10000"/>
                <a:gd name="connsiteX701" fmla="*/ 2169 w 10000"/>
                <a:gd name="connsiteY701" fmla="*/ 7295 h 10000"/>
                <a:gd name="connsiteX702" fmla="*/ 2285 w 10000"/>
                <a:gd name="connsiteY702" fmla="*/ 7265 h 10000"/>
                <a:gd name="connsiteX703" fmla="*/ 1525 w 10000"/>
                <a:gd name="connsiteY703" fmla="*/ 8186 h 10000"/>
                <a:gd name="connsiteX704" fmla="*/ 1500 w 10000"/>
                <a:gd name="connsiteY704" fmla="*/ 8191 h 10000"/>
                <a:gd name="connsiteX705" fmla="*/ 1472 w 10000"/>
                <a:gd name="connsiteY705" fmla="*/ 8198 h 10000"/>
                <a:gd name="connsiteX706" fmla="*/ 1434 w 10000"/>
                <a:gd name="connsiteY706" fmla="*/ 8223 h 10000"/>
                <a:gd name="connsiteX707" fmla="*/ 1149 w 10000"/>
                <a:gd name="connsiteY707" fmla="*/ 8256 h 10000"/>
                <a:gd name="connsiteX708" fmla="*/ 1139 w 10000"/>
                <a:gd name="connsiteY708" fmla="*/ 8249 h 10000"/>
                <a:gd name="connsiteX709" fmla="*/ 1126 w 10000"/>
                <a:gd name="connsiteY709" fmla="*/ 8240 h 10000"/>
                <a:gd name="connsiteX710" fmla="*/ 1114 w 10000"/>
                <a:gd name="connsiteY710" fmla="*/ 8240 h 10000"/>
                <a:gd name="connsiteX711" fmla="*/ 1091 w 10000"/>
                <a:gd name="connsiteY711" fmla="*/ 8242 h 10000"/>
                <a:gd name="connsiteX712" fmla="*/ 1071 w 10000"/>
                <a:gd name="connsiteY712" fmla="*/ 8252 h 10000"/>
                <a:gd name="connsiteX713" fmla="*/ 1048 w 10000"/>
                <a:gd name="connsiteY713" fmla="*/ 8261 h 10000"/>
                <a:gd name="connsiteX714" fmla="*/ 1030 w 10000"/>
                <a:gd name="connsiteY714" fmla="*/ 8273 h 10000"/>
                <a:gd name="connsiteX715" fmla="*/ 1010 w 10000"/>
                <a:gd name="connsiteY715" fmla="*/ 8287 h 10000"/>
                <a:gd name="connsiteX716" fmla="*/ 995 w 10000"/>
                <a:gd name="connsiteY716" fmla="*/ 8303 h 10000"/>
                <a:gd name="connsiteX717" fmla="*/ 975 w 10000"/>
                <a:gd name="connsiteY717" fmla="*/ 8322 h 10000"/>
                <a:gd name="connsiteX718" fmla="*/ 960 w 10000"/>
                <a:gd name="connsiteY718" fmla="*/ 8343 h 10000"/>
                <a:gd name="connsiteX719" fmla="*/ 927 w 10000"/>
                <a:gd name="connsiteY719" fmla="*/ 8380 h 10000"/>
                <a:gd name="connsiteX720" fmla="*/ 891 w 10000"/>
                <a:gd name="connsiteY720" fmla="*/ 8417 h 10000"/>
                <a:gd name="connsiteX721" fmla="*/ 874 w 10000"/>
                <a:gd name="connsiteY721" fmla="*/ 8436 h 10000"/>
                <a:gd name="connsiteX722" fmla="*/ 859 w 10000"/>
                <a:gd name="connsiteY722" fmla="*/ 8450 h 10000"/>
                <a:gd name="connsiteX723" fmla="*/ 838 w 10000"/>
                <a:gd name="connsiteY723" fmla="*/ 8462 h 10000"/>
                <a:gd name="connsiteX724" fmla="*/ 821 w 10000"/>
                <a:gd name="connsiteY724" fmla="*/ 8476 h 10000"/>
                <a:gd name="connsiteX725" fmla="*/ 742 w 10000"/>
                <a:gd name="connsiteY725" fmla="*/ 8562 h 10000"/>
                <a:gd name="connsiteX726" fmla="*/ 672 w 10000"/>
                <a:gd name="connsiteY726" fmla="*/ 8644 h 10000"/>
                <a:gd name="connsiteX727" fmla="*/ 639 w 10000"/>
                <a:gd name="connsiteY727" fmla="*/ 8684 h 10000"/>
                <a:gd name="connsiteX728" fmla="*/ 609 w 10000"/>
                <a:gd name="connsiteY728" fmla="*/ 8731 h 10000"/>
                <a:gd name="connsiteX729" fmla="*/ 583 w 10000"/>
                <a:gd name="connsiteY729" fmla="*/ 8777 h 10000"/>
                <a:gd name="connsiteX730" fmla="*/ 556 w 10000"/>
                <a:gd name="connsiteY730" fmla="*/ 8831 h 10000"/>
                <a:gd name="connsiteX731" fmla="*/ 545 w 10000"/>
                <a:gd name="connsiteY731" fmla="*/ 8852 h 10000"/>
                <a:gd name="connsiteX732" fmla="*/ 525 w 10000"/>
                <a:gd name="connsiteY732" fmla="*/ 8885 h 10000"/>
                <a:gd name="connsiteX733" fmla="*/ 503 w 10000"/>
                <a:gd name="connsiteY733" fmla="*/ 8925 h 10000"/>
                <a:gd name="connsiteX734" fmla="*/ 480 w 10000"/>
                <a:gd name="connsiteY734" fmla="*/ 8962 h 10000"/>
                <a:gd name="connsiteX735" fmla="*/ 465 w 10000"/>
                <a:gd name="connsiteY735" fmla="*/ 8981 h 10000"/>
                <a:gd name="connsiteX736" fmla="*/ 455 w 10000"/>
                <a:gd name="connsiteY736" fmla="*/ 8993 h 10000"/>
                <a:gd name="connsiteX737" fmla="*/ 444 w 10000"/>
                <a:gd name="connsiteY737" fmla="*/ 9000 h 10000"/>
                <a:gd name="connsiteX738" fmla="*/ 434 w 10000"/>
                <a:gd name="connsiteY738" fmla="*/ 9007 h 10000"/>
                <a:gd name="connsiteX739" fmla="*/ 432 w 10000"/>
                <a:gd name="connsiteY739" fmla="*/ 9007 h 10000"/>
                <a:gd name="connsiteX740" fmla="*/ 429 w 10000"/>
                <a:gd name="connsiteY740" fmla="*/ 9004 h 10000"/>
                <a:gd name="connsiteX741" fmla="*/ 427 w 10000"/>
                <a:gd name="connsiteY741" fmla="*/ 8997 h 10000"/>
                <a:gd name="connsiteX742" fmla="*/ 427 w 10000"/>
                <a:gd name="connsiteY742" fmla="*/ 8993 h 10000"/>
                <a:gd name="connsiteX743" fmla="*/ 424 w 10000"/>
                <a:gd name="connsiteY743" fmla="*/ 8976 h 10000"/>
                <a:gd name="connsiteX744" fmla="*/ 427 w 10000"/>
                <a:gd name="connsiteY744" fmla="*/ 8948 h 10000"/>
                <a:gd name="connsiteX745" fmla="*/ 437 w 10000"/>
                <a:gd name="connsiteY745" fmla="*/ 8913 h 10000"/>
                <a:gd name="connsiteX746" fmla="*/ 455 w 10000"/>
                <a:gd name="connsiteY746" fmla="*/ 8859 h 10000"/>
                <a:gd name="connsiteX747" fmla="*/ 462 w 10000"/>
                <a:gd name="connsiteY747" fmla="*/ 8834 h 10000"/>
                <a:gd name="connsiteX748" fmla="*/ 470 w 10000"/>
                <a:gd name="connsiteY748" fmla="*/ 8810 h 10000"/>
                <a:gd name="connsiteX749" fmla="*/ 472 w 10000"/>
                <a:gd name="connsiteY749" fmla="*/ 8794 h 10000"/>
                <a:gd name="connsiteX750" fmla="*/ 472 w 10000"/>
                <a:gd name="connsiteY750" fmla="*/ 8780 h 10000"/>
                <a:gd name="connsiteX751" fmla="*/ 462 w 10000"/>
                <a:gd name="connsiteY751" fmla="*/ 8784 h 10000"/>
                <a:gd name="connsiteX752" fmla="*/ 452 w 10000"/>
                <a:gd name="connsiteY752" fmla="*/ 8787 h 10000"/>
                <a:gd name="connsiteX753" fmla="*/ 437 w 10000"/>
                <a:gd name="connsiteY753" fmla="*/ 8794 h 10000"/>
                <a:gd name="connsiteX754" fmla="*/ 424 w 10000"/>
                <a:gd name="connsiteY754" fmla="*/ 8803 h 10000"/>
                <a:gd name="connsiteX755" fmla="*/ 394 w 10000"/>
                <a:gd name="connsiteY755" fmla="*/ 8829 h 10000"/>
                <a:gd name="connsiteX756" fmla="*/ 364 w 10000"/>
                <a:gd name="connsiteY756" fmla="*/ 8859 h 10000"/>
                <a:gd name="connsiteX757" fmla="*/ 311 w 10000"/>
                <a:gd name="connsiteY757" fmla="*/ 8922 h 10000"/>
                <a:gd name="connsiteX758" fmla="*/ 268 w 10000"/>
                <a:gd name="connsiteY758" fmla="*/ 8964 h 10000"/>
                <a:gd name="connsiteX759" fmla="*/ 205 w 10000"/>
                <a:gd name="connsiteY759" fmla="*/ 9016 h 10000"/>
                <a:gd name="connsiteX760" fmla="*/ 146 w 10000"/>
                <a:gd name="connsiteY760" fmla="*/ 9053 h 10000"/>
                <a:gd name="connsiteX761" fmla="*/ 139 w 10000"/>
                <a:gd name="connsiteY761" fmla="*/ 9063 h 10000"/>
                <a:gd name="connsiteX762" fmla="*/ 129 w 10000"/>
                <a:gd name="connsiteY762" fmla="*/ 9077 h 10000"/>
                <a:gd name="connsiteX763" fmla="*/ 126 w 10000"/>
                <a:gd name="connsiteY763" fmla="*/ 9086 h 10000"/>
                <a:gd name="connsiteX764" fmla="*/ 126 w 10000"/>
                <a:gd name="connsiteY764" fmla="*/ 9102 h 10000"/>
                <a:gd name="connsiteX765" fmla="*/ 129 w 10000"/>
                <a:gd name="connsiteY765" fmla="*/ 9116 h 10000"/>
                <a:gd name="connsiteX766" fmla="*/ 139 w 10000"/>
                <a:gd name="connsiteY766" fmla="*/ 9135 h 10000"/>
                <a:gd name="connsiteX767" fmla="*/ 149 w 10000"/>
                <a:gd name="connsiteY767" fmla="*/ 9151 h 10000"/>
                <a:gd name="connsiteX768" fmla="*/ 164 w 10000"/>
                <a:gd name="connsiteY768" fmla="*/ 9175 h 10000"/>
                <a:gd name="connsiteX769" fmla="*/ 184 w 10000"/>
                <a:gd name="connsiteY769" fmla="*/ 9196 h 10000"/>
                <a:gd name="connsiteX770" fmla="*/ 207 w 10000"/>
                <a:gd name="connsiteY770" fmla="*/ 9215 h 10000"/>
                <a:gd name="connsiteX771" fmla="*/ 227 w 10000"/>
                <a:gd name="connsiteY771" fmla="*/ 9233 h 10000"/>
                <a:gd name="connsiteX772" fmla="*/ 253 w 10000"/>
                <a:gd name="connsiteY772" fmla="*/ 9250 h 10000"/>
                <a:gd name="connsiteX773" fmla="*/ 303 w 10000"/>
                <a:gd name="connsiteY773" fmla="*/ 9282 h 10000"/>
                <a:gd name="connsiteX774" fmla="*/ 351 w 10000"/>
                <a:gd name="connsiteY774" fmla="*/ 9315 h 10000"/>
                <a:gd name="connsiteX775" fmla="*/ 414 w 10000"/>
                <a:gd name="connsiteY775" fmla="*/ 9364 h 10000"/>
                <a:gd name="connsiteX776" fmla="*/ 480 w 10000"/>
                <a:gd name="connsiteY776" fmla="*/ 9416 h 10000"/>
                <a:gd name="connsiteX777" fmla="*/ 513 w 10000"/>
                <a:gd name="connsiteY777" fmla="*/ 9437 h 10000"/>
                <a:gd name="connsiteX778" fmla="*/ 548 w 10000"/>
                <a:gd name="connsiteY778" fmla="*/ 9462 h 10000"/>
                <a:gd name="connsiteX779" fmla="*/ 581 w 10000"/>
                <a:gd name="connsiteY779" fmla="*/ 9483 h 10000"/>
                <a:gd name="connsiteX780" fmla="*/ 614 w 10000"/>
                <a:gd name="connsiteY780" fmla="*/ 9502 h 10000"/>
                <a:gd name="connsiteX781" fmla="*/ 641 w 10000"/>
                <a:gd name="connsiteY781" fmla="*/ 9525 h 10000"/>
                <a:gd name="connsiteX782" fmla="*/ 672 w 10000"/>
                <a:gd name="connsiteY782" fmla="*/ 9549 h 10000"/>
                <a:gd name="connsiteX783" fmla="*/ 702 w 10000"/>
                <a:gd name="connsiteY783" fmla="*/ 9568 h 10000"/>
                <a:gd name="connsiteX784" fmla="*/ 737 w 10000"/>
                <a:gd name="connsiteY784" fmla="*/ 9589 h 10000"/>
                <a:gd name="connsiteX785" fmla="*/ 770 w 10000"/>
                <a:gd name="connsiteY785" fmla="*/ 9605 h 10000"/>
                <a:gd name="connsiteX786" fmla="*/ 808 w 10000"/>
                <a:gd name="connsiteY786" fmla="*/ 9617 h 10000"/>
                <a:gd name="connsiteX787" fmla="*/ 843 w 10000"/>
                <a:gd name="connsiteY787" fmla="*/ 9624 h 10000"/>
                <a:gd name="connsiteX788" fmla="*/ 884 w 10000"/>
                <a:gd name="connsiteY788" fmla="*/ 9628 h 10000"/>
                <a:gd name="connsiteX789" fmla="*/ 902 w 10000"/>
                <a:gd name="connsiteY789" fmla="*/ 9628 h 10000"/>
                <a:gd name="connsiteX790" fmla="*/ 914 w 10000"/>
                <a:gd name="connsiteY790" fmla="*/ 9631 h 10000"/>
                <a:gd name="connsiteX791" fmla="*/ 932 w 10000"/>
                <a:gd name="connsiteY791" fmla="*/ 9638 h 10000"/>
                <a:gd name="connsiteX792" fmla="*/ 942 w 10000"/>
                <a:gd name="connsiteY792" fmla="*/ 9642 h 10000"/>
                <a:gd name="connsiteX793" fmla="*/ 967 w 10000"/>
                <a:gd name="connsiteY793" fmla="*/ 9652 h 10000"/>
                <a:gd name="connsiteX794" fmla="*/ 987 w 10000"/>
                <a:gd name="connsiteY794" fmla="*/ 9668 h 10000"/>
                <a:gd name="connsiteX795" fmla="*/ 1005 w 10000"/>
                <a:gd name="connsiteY795" fmla="*/ 9682 h 10000"/>
                <a:gd name="connsiteX796" fmla="*/ 1025 w 10000"/>
                <a:gd name="connsiteY796" fmla="*/ 9698 h 10000"/>
                <a:gd name="connsiteX797" fmla="*/ 1045 w 10000"/>
                <a:gd name="connsiteY797" fmla="*/ 9712 h 10000"/>
                <a:gd name="connsiteX798" fmla="*/ 1073 w 10000"/>
                <a:gd name="connsiteY798" fmla="*/ 9724 h 10000"/>
                <a:gd name="connsiteX799" fmla="*/ 1098 w 10000"/>
                <a:gd name="connsiteY799" fmla="*/ 9738 h 10000"/>
                <a:gd name="connsiteX800" fmla="*/ 1121 w 10000"/>
                <a:gd name="connsiteY800" fmla="*/ 9750 h 10000"/>
                <a:gd name="connsiteX801" fmla="*/ 1141 w 10000"/>
                <a:gd name="connsiteY801" fmla="*/ 9762 h 10000"/>
                <a:gd name="connsiteX802" fmla="*/ 1159 w 10000"/>
                <a:gd name="connsiteY802" fmla="*/ 9776 h 10000"/>
                <a:gd name="connsiteX803" fmla="*/ 1172 w 10000"/>
                <a:gd name="connsiteY803" fmla="*/ 9787 h 10000"/>
                <a:gd name="connsiteX804" fmla="*/ 1182 w 10000"/>
                <a:gd name="connsiteY804" fmla="*/ 9804 h 10000"/>
                <a:gd name="connsiteX805" fmla="*/ 1194 w 10000"/>
                <a:gd name="connsiteY805" fmla="*/ 9818 h 10000"/>
                <a:gd name="connsiteX806" fmla="*/ 1202 w 10000"/>
                <a:gd name="connsiteY806" fmla="*/ 9834 h 10000"/>
                <a:gd name="connsiteX807" fmla="*/ 1212 w 10000"/>
                <a:gd name="connsiteY807" fmla="*/ 9869 h 10000"/>
                <a:gd name="connsiteX808" fmla="*/ 1220 w 10000"/>
                <a:gd name="connsiteY808" fmla="*/ 9906 h 10000"/>
                <a:gd name="connsiteX809" fmla="*/ 1230 w 10000"/>
                <a:gd name="connsiteY809" fmla="*/ 9951 h 10000"/>
                <a:gd name="connsiteX810" fmla="*/ 1237 w 10000"/>
                <a:gd name="connsiteY810" fmla="*/ 10000 h 10000"/>
                <a:gd name="connsiteX811" fmla="*/ 1237 w 10000"/>
                <a:gd name="connsiteY81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88 w 10000"/>
                <a:gd name="connsiteY700" fmla="*/ 7340 h 10000"/>
                <a:gd name="connsiteX701" fmla="*/ 2285 w 10000"/>
                <a:gd name="connsiteY701" fmla="*/ 7265 h 10000"/>
                <a:gd name="connsiteX702" fmla="*/ 1525 w 10000"/>
                <a:gd name="connsiteY702" fmla="*/ 8186 h 10000"/>
                <a:gd name="connsiteX703" fmla="*/ 1500 w 10000"/>
                <a:gd name="connsiteY703" fmla="*/ 8191 h 10000"/>
                <a:gd name="connsiteX704" fmla="*/ 1472 w 10000"/>
                <a:gd name="connsiteY704" fmla="*/ 8198 h 10000"/>
                <a:gd name="connsiteX705" fmla="*/ 1434 w 10000"/>
                <a:gd name="connsiteY705" fmla="*/ 8223 h 10000"/>
                <a:gd name="connsiteX706" fmla="*/ 1149 w 10000"/>
                <a:gd name="connsiteY706" fmla="*/ 8256 h 10000"/>
                <a:gd name="connsiteX707" fmla="*/ 1139 w 10000"/>
                <a:gd name="connsiteY707" fmla="*/ 8249 h 10000"/>
                <a:gd name="connsiteX708" fmla="*/ 1126 w 10000"/>
                <a:gd name="connsiteY708" fmla="*/ 8240 h 10000"/>
                <a:gd name="connsiteX709" fmla="*/ 1114 w 10000"/>
                <a:gd name="connsiteY709" fmla="*/ 8240 h 10000"/>
                <a:gd name="connsiteX710" fmla="*/ 1091 w 10000"/>
                <a:gd name="connsiteY710" fmla="*/ 8242 h 10000"/>
                <a:gd name="connsiteX711" fmla="*/ 1071 w 10000"/>
                <a:gd name="connsiteY711" fmla="*/ 8252 h 10000"/>
                <a:gd name="connsiteX712" fmla="*/ 1048 w 10000"/>
                <a:gd name="connsiteY712" fmla="*/ 8261 h 10000"/>
                <a:gd name="connsiteX713" fmla="*/ 1030 w 10000"/>
                <a:gd name="connsiteY713" fmla="*/ 8273 h 10000"/>
                <a:gd name="connsiteX714" fmla="*/ 1010 w 10000"/>
                <a:gd name="connsiteY714" fmla="*/ 8287 h 10000"/>
                <a:gd name="connsiteX715" fmla="*/ 995 w 10000"/>
                <a:gd name="connsiteY715" fmla="*/ 8303 h 10000"/>
                <a:gd name="connsiteX716" fmla="*/ 975 w 10000"/>
                <a:gd name="connsiteY716" fmla="*/ 8322 h 10000"/>
                <a:gd name="connsiteX717" fmla="*/ 960 w 10000"/>
                <a:gd name="connsiteY717" fmla="*/ 8343 h 10000"/>
                <a:gd name="connsiteX718" fmla="*/ 927 w 10000"/>
                <a:gd name="connsiteY718" fmla="*/ 8380 h 10000"/>
                <a:gd name="connsiteX719" fmla="*/ 891 w 10000"/>
                <a:gd name="connsiteY719" fmla="*/ 8417 h 10000"/>
                <a:gd name="connsiteX720" fmla="*/ 874 w 10000"/>
                <a:gd name="connsiteY720" fmla="*/ 8436 h 10000"/>
                <a:gd name="connsiteX721" fmla="*/ 859 w 10000"/>
                <a:gd name="connsiteY721" fmla="*/ 8450 h 10000"/>
                <a:gd name="connsiteX722" fmla="*/ 838 w 10000"/>
                <a:gd name="connsiteY722" fmla="*/ 8462 h 10000"/>
                <a:gd name="connsiteX723" fmla="*/ 821 w 10000"/>
                <a:gd name="connsiteY723" fmla="*/ 8476 h 10000"/>
                <a:gd name="connsiteX724" fmla="*/ 742 w 10000"/>
                <a:gd name="connsiteY724" fmla="*/ 8562 h 10000"/>
                <a:gd name="connsiteX725" fmla="*/ 672 w 10000"/>
                <a:gd name="connsiteY725" fmla="*/ 8644 h 10000"/>
                <a:gd name="connsiteX726" fmla="*/ 639 w 10000"/>
                <a:gd name="connsiteY726" fmla="*/ 8684 h 10000"/>
                <a:gd name="connsiteX727" fmla="*/ 609 w 10000"/>
                <a:gd name="connsiteY727" fmla="*/ 8731 h 10000"/>
                <a:gd name="connsiteX728" fmla="*/ 583 w 10000"/>
                <a:gd name="connsiteY728" fmla="*/ 8777 h 10000"/>
                <a:gd name="connsiteX729" fmla="*/ 556 w 10000"/>
                <a:gd name="connsiteY729" fmla="*/ 8831 h 10000"/>
                <a:gd name="connsiteX730" fmla="*/ 545 w 10000"/>
                <a:gd name="connsiteY730" fmla="*/ 8852 h 10000"/>
                <a:gd name="connsiteX731" fmla="*/ 525 w 10000"/>
                <a:gd name="connsiteY731" fmla="*/ 8885 h 10000"/>
                <a:gd name="connsiteX732" fmla="*/ 503 w 10000"/>
                <a:gd name="connsiteY732" fmla="*/ 8925 h 10000"/>
                <a:gd name="connsiteX733" fmla="*/ 480 w 10000"/>
                <a:gd name="connsiteY733" fmla="*/ 8962 h 10000"/>
                <a:gd name="connsiteX734" fmla="*/ 465 w 10000"/>
                <a:gd name="connsiteY734" fmla="*/ 8981 h 10000"/>
                <a:gd name="connsiteX735" fmla="*/ 455 w 10000"/>
                <a:gd name="connsiteY735" fmla="*/ 8993 h 10000"/>
                <a:gd name="connsiteX736" fmla="*/ 444 w 10000"/>
                <a:gd name="connsiteY736" fmla="*/ 9000 h 10000"/>
                <a:gd name="connsiteX737" fmla="*/ 434 w 10000"/>
                <a:gd name="connsiteY737" fmla="*/ 9007 h 10000"/>
                <a:gd name="connsiteX738" fmla="*/ 432 w 10000"/>
                <a:gd name="connsiteY738" fmla="*/ 9007 h 10000"/>
                <a:gd name="connsiteX739" fmla="*/ 429 w 10000"/>
                <a:gd name="connsiteY739" fmla="*/ 9004 h 10000"/>
                <a:gd name="connsiteX740" fmla="*/ 427 w 10000"/>
                <a:gd name="connsiteY740" fmla="*/ 8997 h 10000"/>
                <a:gd name="connsiteX741" fmla="*/ 427 w 10000"/>
                <a:gd name="connsiteY741" fmla="*/ 8993 h 10000"/>
                <a:gd name="connsiteX742" fmla="*/ 424 w 10000"/>
                <a:gd name="connsiteY742" fmla="*/ 8976 h 10000"/>
                <a:gd name="connsiteX743" fmla="*/ 427 w 10000"/>
                <a:gd name="connsiteY743" fmla="*/ 8948 h 10000"/>
                <a:gd name="connsiteX744" fmla="*/ 437 w 10000"/>
                <a:gd name="connsiteY744" fmla="*/ 8913 h 10000"/>
                <a:gd name="connsiteX745" fmla="*/ 455 w 10000"/>
                <a:gd name="connsiteY745" fmla="*/ 8859 h 10000"/>
                <a:gd name="connsiteX746" fmla="*/ 462 w 10000"/>
                <a:gd name="connsiteY746" fmla="*/ 8834 h 10000"/>
                <a:gd name="connsiteX747" fmla="*/ 470 w 10000"/>
                <a:gd name="connsiteY747" fmla="*/ 8810 h 10000"/>
                <a:gd name="connsiteX748" fmla="*/ 472 w 10000"/>
                <a:gd name="connsiteY748" fmla="*/ 8794 h 10000"/>
                <a:gd name="connsiteX749" fmla="*/ 472 w 10000"/>
                <a:gd name="connsiteY749" fmla="*/ 8780 h 10000"/>
                <a:gd name="connsiteX750" fmla="*/ 462 w 10000"/>
                <a:gd name="connsiteY750" fmla="*/ 8784 h 10000"/>
                <a:gd name="connsiteX751" fmla="*/ 452 w 10000"/>
                <a:gd name="connsiteY751" fmla="*/ 8787 h 10000"/>
                <a:gd name="connsiteX752" fmla="*/ 437 w 10000"/>
                <a:gd name="connsiteY752" fmla="*/ 8794 h 10000"/>
                <a:gd name="connsiteX753" fmla="*/ 424 w 10000"/>
                <a:gd name="connsiteY753" fmla="*/ 8803 h 10000"/>
                <a:gd name="connsiteX754" fmla="*/ 394 w 10000"/>
                <a:gd name="connsiteY754" fmla="*/ 8829 h 10000"/>
                <a:gd name="connsiteX755" fmla="*/ 364 w 10000"/>
                <a:gd name="connsiteY755" fmla="*/ 8859 h 10000"/>
                <a:gd name="connsiteX756" fmla="*/ 311 w 10000"/>
                <a:gd name="connsiteY756" fmla="*/ 8922 h 10000"/>
                <a:gd name="connsiteX757" fmla="*/ 268 w 10000"/>
                <a:gd name="connsiteY757" fmla="*/ 8964 h 10000"/>
                <a:gd name="connsiteX758" fmla="*/ 205 w 10000"/>
                <a:gd name="connsiteY758" fmla="*/ 9016 h 10000"/>
                <a:gd name="connsiteX759" fmla="*/ 146 w 10000"/>
                <a:gd name="connsiteY759" fmla="*/ 9053 h 10000"/>
                <a:gd name="connsiteX760" fmla="*/ 139 w 10000"/>
                <a:gd name="connsiteY760" fmla="*/ 9063 h 10000"/>
                <a:gd name="connsiteX761" fmla="*/ 129 w 10000"/>
                <a:gd name="connsiteY761" fmla="*/ 9077 h 10000"/>
                <a:gd name="connsiteX762" fmla="*/ 126 w 10000"/>
                <a:gd name="connsiteY762" fmla="*/ 9086 h 10000"/>
                <a:gd name="connsiteX763" fmla="*/ 126 w 10000"/>
                <a:gd name="connsiteY763" fmla="*/ 9102 h 10000"/>
                <a:gd name="connsiteX764" fmla="*/ 129 w 10000"/>
                <a:gd name="connsiteY764" fmla="*/ 9116 h 10000"/>
                <a:gd name="connsiteX765" fmla="*/ 139 w 10000"/>
                <a:gd name="connsiteY765" fmla="*/ 9135 h 10000"/>
                <a:gd name="connsiteX766" fmla="*/ 149 w 10000"/>
                <a:gd name="connsiteY766" fmla="*/ 9151 h 10000"/>
                <a:gd name="connsiteX767" fmla="*/ 164 w 10000"/>
                <a:gd name="connsiteY767" fmla="*/ 9175 h 10000"/>
                <a:gd name="connsiteX768" fmla="*/ 184 w 10000"/>
                <a:gd name="connsiteY768" fmla="*/ 9196 h 10000"/>
                <a:gd name="connsiteX769" fmla="*/ 207 w 10000"/>
                <a:gd name="connsiteY769" fmla="*/ 9215 h 10000"/>
                <a:gd name="connsiteX770" fmla="*/ 227 w 10000"/>
                <a:gd name="connsiteY770" fmla="*/ 9233 h 10000"/>
                <a:gd name="connsiteX771" fmla="*/ 253 w 10000"/>
                <a:gd name="connsiteY771" fmla="*/ 9250 h 10000"/>
                <a:gd name="connsiteX772" fmla="*/ 303 w 10000"/>
                <a:gd name="connsiteY772" fmla="*/ 9282 h 10000"/>
                <a:gd name="connsiteX773" fmla="*/ 351 w 10000"/>
                <a:gd name="connsiteY773" fmla="*/ 9315 h 10000"/>
                <a:gd name="connsiteX774" fmla="*/ 414 w 10000"/>
                <a:gd name="connsiteY774" fmla="*/ 9364 h 10000"/>
                <a:gd name="connsiteX775" fmla="*/ 480 w 10000"/>
                <a:gd name="connsiteY775" fmla="*/ 9416 h 10000"/>
                <a:gd name="connsiteX776" fmla="*/ 513 w 10000"/>
                <a:gd name="connsiteY776" fmla="*/ 9437 h 10000"/>
                <a:gd name="connsiteX777" fmla="*/ 548 w 10000"/>
                <a:gd name="connsiteY777" fmla="*/ 9462 h 10000"/>
                <a:gd name="connsiteX778" fmla="*/ 581 w 10000"/>
                <a:gd name="connsiteY778" fmla="*/ 9483 h 10000"/>
                <a:gd name="connsiteX779" fmla="*/ 614 w 10000"/>
                <a:gd name="connsiteY779" fmla="*/ 9502 h 10000"/>
                <a:gd name="connsiteX780" fmla="*/ 641 w 10000"/>
                <a:gd name="connsiteY780" fmla="*/ 9525 h 10000"/>
                <a:gd name="connsiteX781" fmla="*/ 672 w 10000"/>
                <a:gd name="connsiteY781" fmla="*/ 9549 h 10000"/>
                <a:gd name="connsiteX782" fmla="*/ 702 w 10000"/>
                <a:gd name="connsiteY782" fmla="*/ 9568 h 10000"/>
                <a:gd name="connsiteX783" fmla="*/ 737 w 10000"/>
                <a:gd name="connsiteY783" fmla="*/ 9589 h 10000"/>
                <a:gd name="connsiteX784" fmla="*/ 770 w 10000"/>
                <a:gd name="connsiteY784" fmla="*/ 9605 h 10000"/>
                <a:gd name="connsiteX785" fmla="*/ 808 w 10000"/>
                <a:gd name="connsiteY785" fmla="*/ 9617 h 10000"/>
                <a:gd name="connsiteX786" fmla="*/ 843 w 10000"/>
                <a:gd name="connsiteY786" fmla="*/ 9624 h 10000"/>
                <a:gd name="connsiteX787" fmla="*/ 884 w 10000"/>
                <a:gd name="connsiteY787" fmla="*/ 9628 h 10000"/>
                <a:gd name="connsiteX788" fmla="*/ 902 w 10000"/>
                <a:gd name="connsiteY788" fmla="*/ 9628 h 10000"/>
                <a:gd name="connsiteX789" fmla="*/ 914 w 10000"/>
                <a:gd name="connsiteY789" fmla="*/ 9631 h 10000"/>
                <a:gd name="connsiteX790" fmla="*/ 932 w 10000"/>
                <a:gd name="connsiteY790" fmla="*/ 9638 h 10000"/>
                <a:gd name="connsiteX791" fmla="*/ 942 w 10000"/>
                <a:gd name="connsiteY791" fmla="*/ 9642 h 10000"/>
                <a:gd name="connsiteX792" fmla="*/ 967 w 10000"/>
                <a:gd name="connsiteY792" fmla="*/ 9652 h 10000"/>
                <a:gd name="connsiteX793" fmla="*/ 987 w 10000"/>
                <a:gd name="connsiteY793" fmla="*/ 9668 h 10000"/>
                <a:gd name="connsiteX794" fmla="*/ 1005 w 10000"/>
                <a:gd name="connsiteY794" fmla="*/ 9682 h 10000"/>
                <a:gd name="connsiteX795" fmla="*/ 1025 w 10000"/>
                <a:gd name="connsiteY795" fmla="*/ 9698 h 10000"/>
                <a:gd name="connsiteX796" fmla="*/ 1045 w 10000"/>
                <a:gd name="connsiteY796" fmla="*/ 9712 h 10000"/>
                <a:gd name="connsiteX797" fmla="*/ 1073 w 10000"/>
                <a:gd name="connsiteY797" fmla="*/ 9724 h 10000"/>
                <a:gd name="connsiteX798" fmla="*/ 1098 w 10000"/>
                <a:gd name="connsiteY798" fmla="*/ 9738 h 10000"/>
                <a:gd name="connsiteX799" fmla="*/ 1121 w 10000"/>
                <a:gd name="connsiteY799" fmla="*/ 9750 h 10000"/>
                <a:gd name="connsiteX800" fmla="*/ 1141 w 10000"/>
                <a:gd name="connsiteY800" fmla="*/ 9762 h 10000"/>
                <a:gd name="connsiteX801" fmla="*/ 1159 w 10000"/>
                <a:gd name="connsiteY801" fmla="*/ 9776 h 10000"/>
                <a:gd name="connsiteX802" fmla="*/ 1172 w 10000"/>
                <a:gd name="connsiteY802" fmla="*/ 9787 h 10000"/>
                <a:gd name="connsiteX803" fmla="*/ 1182 w 10000"/>
                <a:gd name="connsiteY803" fmla="*/ 9804 h 10000"/>
                <a:gd name="connsiteX804" fmla="*/ 1194 w 10000"/>
                <a:gd name="connsiteY804" fmla="*/ 9818 h 10000"/>
                <a:gd name="connsiteX805" fmla="*/ 1202 w 10000"/>
                <a:gd name="connsiteY805" fmla="*/ 9834 h 10000"/>
                <a:gd name="connsiteX806" fmla="*/ 1212 w 10000"/>
                <a:gd name="connsiteY806" fmla="*/ 9869 h 10000"/>
                <a:gd name="connsiteX807" fmla="*/ 1220 w 10000"/>
                <a:gd name="connsiteY807" fmla="*/ 9906 h 10000"/>
                <a:gd name="connsiteX808" fmla="*/ 1230 w 10000"/>
                <a:gd name="connsiteY808" fmla="*/ 9951 h 10000"/>
                <a:gd name="connsiteX809" fmla="*/ 1237 w 10000"/>
                <a:gd name="connsiteY809" fmla="*/ 10000 h 10000"/>
                <a:gd name="connsiteX810" fmla="*/ 1237 w 10000"/>
                <a:gd name="connsiteY810"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2088 w 10000"/>
                <a:gd name="connsiteY700" fmla="*/ 7340 h 10000"/>
                <a:gd name="connsiteX701" fmla="*/ 1525 w 10000"/>
                <a:gd name="connsiteY701" fmla="*/ 8186 h 10000"/>
                <a:gd name="connsiteX702" fmla="*/ 1500 w 10000"/>
                <a:gd name="connsiteY702" fmla="*/ 8191 h 10000"/>
                <a:gd name="connsiteX703" fmla="*/ 1472 w 10000"/>
                <a:gd name="connsiteY703" fmla="*/ 8198 h 10000"/>
                <a:gd name="connsiteX704" fmla="*/ 1434 w 10000"/>
                <a:gd name="connsiteY704" fmla="*/ 8223 h 10000"/>
                <a:gd name="connsiteX705" fmla="*/ 1149 w 10000"/>
                <a:gd name="connsiteY705" fmla="*/ 8256 h 10000"/>
                <a:gd name="connsiteX706" fmla="*/ 1139 w 10000"/>
                <a:gd name="connsiteY706" fmla="*/ 8249 h 10000"/>
                <a:gd name="connsiteX707" fmla="*/ 1126 w 10000"/>
                <a:gd name="connsiteY707" fmla="*/ 8240 h 10000"/>
                <a:gd name="connsiteX708" fmla="*/ 1114 w 10000"/>
                <a:gd name="connsiteY708" fmla="*/ 8240 h 10000"/>
                <a:gd name="connsiteX709" fmla="*/ 1091 w 10000"/>
                <a:gd name="connsiteY709" fmla="*/ 8242 h 10000"/>
                <a:gd name="connsiteX710" fmla="*/ 1071 w 10000"/>
                <a:gd name="connsiteY710" fmla="*/ 8252 h 10000"/>
                <a:gd name="connsiteX711" fmla="*/ 1048 w 10000"/>
                <a:gd name="connsiteY711" fmla="*/ 8261 h 10000"/>
                <a:gd name="connsiteX712" fmla="*/ 1030 w 10000"/>
                <a:gd name="connsiteY712" fmla="*/ 8273 h 10000"/>
                <a:gd name="connsiteX713" fmla="*/ 1010 w 10000"/>
                <a:gd name="connsiteY713" fmla="*/ 8287 h 10000"/>
                <a:gd name="connsiteX714" fmla="*/ 995 w 10000"/>
                <a:gd name="connsiteY714" fmla="*/ 8303 h 10000"/>
                <a:gd name="connsiteX715" fmla="*/ 975 w 10000"/>
                <a:gd name="connsiteY715" fmla="*/ 8322 h 10000"/>
                <a:gd name="connsiteX716" fmla="*/ 960 w 10000"/>
                <a:gd name="connsiteY716" fmla="*/ 8343 h 10000"/>
                <a:gd name="connsiteX717" fmla="*/ 927 w 10000"/>
                <a:gd name="connsiteY717" fmla="*/ 8380 h 10000"/>
                <a:gd name="connsiteX718" fmla="*/ 891 w 10000"/>
                <a:gd name="connsiteY718" fmla="*/ 8417 h 10000"/>
                <a:gd name="connsiteX719" fmla="*/ 874 w 10000"/>
                <a:gd name="connsiteY719" fmla="*/ 8436 h 10000"/>
                <a:gd name="connsiteX720" fmla="*/ 859 w 10000"/>
                <a:gd name="connsiteY720" fmla="*/ 8450 h 10000"/>
                <a:gd name="connsiteX721" fmla="*/ 838 w 10000"/>
                <a:gd name="connsiteY721" fmla="*/ 8462 h 10000"/>
                <a:gd name="connsiteX722" fmla="*/ 821 w 10000"/>
                <a:gd name="connsiteY722" fmla="*/ 8476 h 10000"/>
                <a:gd name="connsiteX723" fmla="*/ 742 w 10000"/>
                <a:gd name="connsiteY723" fmla="*/ 8562 h 10000"/>
                <a:gd name="connsiteX724" fmla="*/ 672 w 10000"/>
                <a:gd name="connsiteY724" fmla="*/ 8644 h 10000"/>
                <a:gd name="connsiteX725" fmla="*/ 639 w 10000"/>
                <a:gd name="connsiteY725" fmla="*/ 8684 h 10000"/>
                <a:gd name="connsiteX726" fmla="*/ 609 w 10000"/>
                <a:gd name="connsiteY726" fmla="*/ 8731 h 10000"/>
                <a:gd name="connsiteX727" fmla="*/ 583 w 10000"/>
                <a:gd name="connsiteY727" fmla="*/ 8777 h 10000"/>
                <a:gd name="connsiteX728" fmla="*/ 556 w 10000"/>
                <a:gd name="connsiteY728" fmla="*/ 8831 h 10000"/>
                <a:gd name="connsiteX729" fmla="*/ 545 w 10000"/>
                <a:gd name="connsiteY729" fmla="*/ 8852 h 10000"/>
                <a:gd name="connsiteX730" fmla="*/ 525 w 10000"/>
                <a:gd name="connsiteY730" fmla="*/ 8885 h 10000"/>
                <a:gd name="connsiteX731" fmla="*/ 503 w 10000"/>
                <a:gd name="connsiteY731" fmla="*/ 8925 h 10000"/>
                <a:gd name="connsiteX732" fmla="*/ 480 w 10000"/>
                <a:gd name="connsiteY732" fmla="*/ 8962 h 10000"/>
                <a:gd name="connsiteX733" fmla="*/ 465 w 10000"/>
                <a:gd name="connsiteY733" fmla="*/ 8981 h 10000"/>
                <a:gd name="connsiteX734" fmla="*/ 455 w 10000"/>
                <a:gd name="connsiteY734" fmla="*/ 8993 h 10000"/>
                <a:gd name="connsiteX735" fmla="*/ 444 w 10000"/>
                <a:gd name="connsiteY735" fmla="*/ 9000 h 10000"/>
                <a:gd name="connsiteX736" fmla="*/ 434 w 10000"/>
                <a:gd name="connsiteY736" fmla="*/ 9007 h 10000"/>
                <a:gd name="connsiteX737" fmla="*/ 432 w 10000"/>
                <a:gd name="connsiteY737" fmla="*/ 9007 h 10000"/>
                <a:gd name="connsiteX738" fmla="*/ 429 w 10000"/>
                <a:gd name="connsiteY738" fmla="*/ 9004 h 10000"/>
                <a:gd name="connsiteX739" fmla="*/ 427 w 10000"/>
                <a:gd name="connsiteY739" fmla="*/ 8997 h 10000"/>
                <a:gd name="connsiteX740" fmla="*/ 427 w 10000"/>
                <a:gd name="connsiteY740" fmla="*/ 8993 h 10000"/>
                <a:gd name="connsiteX741" fmla="*/ 424 w 10000"/>
                <a:gd name="connsiteY741" fmla="*/ 8976 h 10000"/>
                <a:gd name="connsiteX742" fmla="*/ 427 w 10000"/>
                <a:gd name="connsiteY742" fmla="*/ 8948 h 10000"/>
                <a:gd name="connsiteX743" fmla="*/ 437 w 10000"/>
                <a:gd name="connsiteY743" fmla="*/ 8913 h 10000"/>
                <a:gd name="connsiteX744" fmla="*/ 455 w 10000"/>
                <a:gd name="connsiteY744" fmla="*/ 8859 h 10000"/>
                <a:gd name="connsiteX745" fmla="*/ 462 w 10000"/>
                <a:gd name="connsiteY745" fmla="*/ 8834 h 10000"/>
                <a:gd name="connsiteX746" fmla="*/ 470 w 10000"/>
                <a:gd name="connsiteY746" fmla="*/ 8810 h 10000"/>
                <a:gd name="connsiteX747" fmla="*/ 472 w 10000"/>
                <a:gd name="connsiteY747" fmla="*/ 8794 h 10000"/>
                <a:gd name="connsiteX748" fmla="*/ 472 w 10000"/>
                <a:gd name="connsiteY748" fmla="*/ 8780 h 10000"/>
                <a:gd name="connsiteX749" fmla="*/ 462 w 10000"/>
                <a:gd name="connsiteY749" fmla="*/ 8784 h 10000"/>
                <a:gd name="connsiteX750" fmla="*/ 452 w 10000"/>
                <a:gd name="connsiteY750" fmla="*/ 8787 h 10000"/>
                <a:gd name="connsiteX751" fmla="*/ 437 w 10000"/>
                <a:gd name="connsiteY751" fmla="*/ 8794 h 10000"/>
                <a:gd name="connsiteX752" fmla="*/ 424 w 10000"/>
                <a:gd name="connsiteY752" fmla="*/ 8803 h 10000"/>
                <a:gd name="connsiteX753" fmla="*/ 394 w 10000"/>
                <a:gd name="connsiteY753" fmla="*/ 8829 h 10000"/>
                <a:gd name="connsiteX754" fmla="*/ 364 w 10000"/>
                <a:gd name="connsiteY754" fmla="*/ 8859 h 10000"/>
                <a:gd name="connsiteX755" fmla="*/ 311 w 10000"/>
                <a:gd name="connsiteY755" fmla="*/ 8922 h 10000"/>
                <a:gd name="connsiteX756" fmla="*/ 268 w 10000"/>
                <a:gd name="connsiteY756" fmla="*/ 8964 h 10000"/>
                <a:gd name="connsiteX757" fmla="*/ 205 w 10000"/>
                <a:gd name="connsiteY757" fmla="*/ 9016 h 10000"/>
                <a:gd name="connsiteX758" fmla="*/ 146 w 10000"/>
                <a:gd name="connsiteY758" fmla="*/ 9053 h 10000"/>
                <a:gd name="connsiteX759" fmla="*/ 139 w 10000"/>
                <a:gd name="connsiteY759" fmla="*/ 9063 h 10000"/>
                <a:gd name="connsiteX760" fmla="*/ 129 w 10000"/>
                <a:gd name="connsiteY760" fmla="*/ 9077 h 10000"/>
                <a:gd name="connsiteX761" fmla="*/ 126 w 10000"/>
                <a:gd name="connsiteY761" fmla="*/ 9086 h 10000"/>
                <a:gd name="connsiteX762" fmla="*/ 126 w 10000"/>
                <a:gd name="connsiteY762" fmla="*/ 9102 h 10000"/>
                <a:gd name="connsiteX763" fmla="*/ 129 w 10000"/>
                <a:gd name="connsiteY763" fmla="*/ 9116 h 10000"/>
                <a:gd name="connsiteX764" fmla="*/ 139 w 10000"/>
                <a:gd name="connsiteY764" fmla="*/ 9135 h 10000"/>
                <a:gd name="connsiteX765" fmla="*/ 149 w 10000"/>
                <a:gd name="connsiteY765" fmla="*/ 9151 h 10000"/>
                <a:gd name="connsiteX766" fmla="*/ 164 w 10000"/>
                <a:gd name="connsiteY766" fmla="*/ 9175 h 10000"/>
                <a:gd name="connsiteX767" fmla="*/ 184 w 10000"/>
                <a:gd name="connsiteY767" fmla="*/ 9196 h 10000"/>
                <a:gd name="connsiteX768" fmla="*/ 207 w 10000"/>
                <a:gd name="connsiteY768" fmla="*/ 9215 h 10000"/>
                <a:gd name="connsiteX769" fmla="*/ 227 w 10000"/>
                <a:gd name="connsiteY769" fmla="*/ 9233 h 10000"/>
                <a:gd name="connsiteX770" fmla="*/ 253 w 10000"/>
                <a:gd name="connsiteY770" fmla="*/ 9250 h 10000"/>
                <a:gd name="connsiteX771" fmla="*/ 303 w 10000"/>
                <a:gd name="connsiteY771" fmla="*/ 9282 h 10000"/>
                <a:gd name="connsiteX772" fmla="*/ 351 w 10000"/>
                <a:gd name="connsiteY772" fmla="*/ 9315 h 10000"/>
                <a:gd name="connsiteX773" fmla="*/ 414 w 10000"/>
                <a:gd name="connsiteY773" fmla="*/ 9364 h 10000"/>
                <a:gd name="connsiteX774" fmla="*/ 480 w 10000"/>
                <a:gd name="connsiteY774" fmla="*/ 9416 h 10000"/>
                <a:gd name="connsiteX775" fmla="*/ 513 w 10000"/>
                <a:gd name="connsiteY775" fmla="*/ 9437 h 10000"/>
                <a:gd name="connsiteX776" fmla="*/ 548 w 10000"/>
                <a:gd name="connsiteY776" fmla="*/ 9462 h 10000"/>
                <a:gd name="connsiteX777" fmla="*/ 581 w 10000"/>
                <a:gd name="connsiteY777" fmla="*/ 9483 h 10000"/>
                <a:gd name="connsiteX778" fmla="*/ 614 w 10000"/>
                <a:gd name="connsiteY778" fmla="*/ 9502 h 10000"/>
                <a:gd name="connsiteX779" fmla="*/ 641 w 10000"/>
                <a:gd name="connsiteY779" fmla="*/ 9525 h 10000"/>
                <a:gd name="connsiteX780" fmla="*/ 672 w 10000"/>
                <a:gd name="connsiteY780" fmla="*/ 9549 h 10000"/>
                <a:gd name="connsiteX781" fmla="*/ 702 w 10000"/>
                <a:gd name="connsiteY781" fmla="*/ 9568 h 10000"/>
                <a:gd name="connsiteX782" fmla="*/ 737 w 10000"/>
                <a:gd name="connsiteY782" fmla="*/ 9589 h 10000"/>
                <a:gd name="connsiteX783" fmla="*/ 770 w 10000"/>
                <a:gd name="connsiteY783" fmla="*/ 9605 h 10000"/>
                <a:gd name="connsiteX784" fmla="*/ 808 w 10000"/>
                <a:gd name="connsiteY784" fmla="*/ 9617 h 10000"/>
                <a:gd name="connsiteX785" fmla="*/ 843 w 10000"/>
                <a:gd name="connsiteY785" fmla="*/ 9624 h 10000"/>
                <a:gd name="connsiteX786" fmla="*/ 884 w 10000"/>
                <a:gd name="connsiteY786" fmla="*/ 9628 h 10000"/>
                <a:gd name="connsiteX787" fmla="*/ 902 w 10000"/>
                <a:gd name="connsiteY787" fmla="*/ 9628 h 10000"/>
                <a:gd name="connsiteX788" fmla="*/ 914 w 10000"/>
                <a:gd name="connsiteY788" fmla="*/ 9631 h 10000"/>
                <a:gd name="connsiteX789" fmla="*/ 932 w 10000"/>
                <a:gd name="connsiteY789" fmla="*/ 9638 h 10000"/>
                <a:gd name="connsiteX790" fmla="*/ 942 w 10000"/>
                <a:gd name="connsiteY790" fmla="*/ 9642 h 10000"/>
                <a:gd name="connsiteX791" fmla="*/ 967 w 10000"/>
                <a:gd name="connsiteY791" fmla="*/ 9652 h 10000"/>
                <a:gd name="connsiteX792" fmla="*/ 987 w 10000"/>
                <a:gd name="connsiteY792" fmla="*/ 9668 h 10000"/>
                <a:gd name="connsiteX793" fmla="*/ 1005 w 10000"/>
                <a:gd name="connsiteY793" fmla="*/ 9682 h 10000"/>
                <a:gd name="connsiteX794" fmla="*/ 1025 w 10000"/>
                <a:gd name="connsiteY794" fmla="*/ 9698 h 10000"/>
                <a:gd name="connsiteX795" fmla="*/ 1045 w 10000"/>
                <a:gd name="connsiteY795" fmla="*/ 9712 h 10000"/>
                <a:gd name="connsiteX796" fmla="*/ 1073 w 10000"/>
                <a:gd name="connsiteY796" fmla="*/ 9724 h 10000"/>
                <a:gd name="connsiteX797" fmla="*/ 1098 w 10000"/>
                <a:gd name="connsiteY797" fmla="*/ 9738 h 10000"/>
                <a:gd name="connsiteX798" fmla="*/ 1121 w 10000"/>
                <a:gd name="connsiteY798" fmla="*/ 9750 h 10000"/>
                <a:gd name="connsiteX799" fmla="*/ 1141 w 10000"/>
                <a:gd name="connsiteY799" fmla="*/ 9762 h 10000"/>
                <a:gd name="connsiteX800" fmla="*/ 1159 w 10000"/>
                <a:gd name="connsiteY800" fmla="*/ 9776 h 10000"/>
                <a:gd name="connsiteX801" fmla="*/ 1172 w 10000"/>
                <a:gd name="connsiteY801" fmla="*/ 9787 h 10000"/>
                <a:gd name="connsiteX802" fmla="*/ 1182 w 10000"/>
                <a:gd name="connsiteY802" fmla="*/ 9804 h 10000"/>
                <a:gd name="connsiteX803" fmla="*/ 1194 w 10000"/>
                <a:gd name="connsiteY803" fmla="*/ 9818 h 10000"/>
                <a:gd name="connsiteX804" fmla="*/ 1202 w 10000"/>
                <a:gd name="connsiteY804" fmla="*/ 9834 h 10000"/>
                <a:gd name="connsiteX805" fmla="*/ 1212 w 10000"/>
                <a:gd name="connsiteY805" fmla="*/ 9869 h 10000"/>
                <a:gd name="connsiteX806" fmla="*/ 1220 w 10000"/>
                <a:gd name="connsiteY806" fmla="*/ 9906 h 10000"/>
                <a:gd name="connsiteX807" fmla="*/ 1230 w 10000"/>
                <a:gd name="connsiteY807" fmla="*/ 9951 h 10000"/>
                <a:gd name="connsiteX808" fmla="*/ 1237 w 10000"/>
                <a:gd name="connsiteY808" fmla="*/ 10000 h 10000"/>
                <a:gd name="connsiteX809" fmla="*/ 1237 w 10000"/>
                <a:gd name="connsiteY809"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995 w 10000"/>
                <a:gd name="connsiteY699" fmla="*/ 7373 h 10000"/>
                <a:gd name="connsiteX700" fmla="*/ 1525 w 10000"/>
                <a:gd name="connsiteY700" fmla="*/ 8186 h 10000"/>
                <a:gd name="connsiteX701" fmla="*/ 1500 w 10000"/>
                <a:gd name="connsiteY701" fmla="*/ 8191 h 10000"/>
                <a:gd name="connsiteX702" fmla="*/ 1472 w 10000"/>
                <a:gd name="connsiteY702" fmla="*/ 8198 h 10000"/>
                <a:gd name="connsiteX703" fmla="*/ 1434 w 10000"/>
                <a:gd name="connsiteY703" fmla="*/ 8223 h 10000"/>
                <a:gd name="connsiteX704" fmla="*/ 1149 w 10000"/>
                <a:gd name="connsiteY704" fmla="*/ 8256 h 10000"/>
                <a:gd name="connsiteX705" fmla="*/ 1139 w 10000"/>
                <a:gd name="connsiteY705" fmla="*/ 8249 h 10000"/>
                <a:gd name="connsiteX706" fmla="*/ 1126 w 10000"/>
                <a:gd name="connsiteY706" fmla="*/ 8240 h 10000"/>
                <a:gd name="connsiteX707" fmla="*/ 1114 w 10000"/>
                <a:gd name="connsiteY707" fmla="*/ 8240 h 10000"/>
                <a:gd name="connsiteX708" fmla="*/ 1091 w 10000"/>
                <a:gd name="connsiteY708" fmla="*/ 8242 h 10000"/>
                <a:gd name="connsiteX709" fmla="*/ 1071 w 10000"/>
                <a:gd name="connsiteY709" fmla="*/ 8252 h 10000"/>
                <a:gd name="connsiteX710" fmla="*/ 1048 w 10000"/>
                <a:gd name="connsiteY710" fmla="*/ 8261 h 10000"/>
                <a:gd name="connsiteX711" fmla="*/ 1030 w 10000"/>
                <a:gd name="connsiteY711" fmla="*/ 8273 h 10000"/>
                <a:gd name="connsiteX712" fmla="*/ 1010 w 10000"/>
                <a:gd name="connsiteY712" fmla="*/ 8287 h 10000"/>
                <a:gd name="connsiteX713" fmla="*/ 995 w 10000"/>
                <a:gd name="connsiteY713" fmla="*/ 8303 h 10000"/>
                <a:gd name="connsiteX714" fmla="*/ 975 w 10000"/>
                <a:gd name="connsiteY714" fmla="*/ 8322 h 10000"/>
                <a:gd name="connsiteX715" fmla="*/ 960 w 10000"/>
                <a:gd name="connsiteY715" fmla="*/ 8343 h 10000"/>
                <a:gd name="connsiteX716" fmla="*/ 927 w 10000"/>
                <a:gd name="connsiteY716" fmla="*/ 8380 h 10000"/>
                <a:gd name="connsiteX717" fmla="*/ 891 w 10000"/>
                <a:gd name="connsiteY717" fmla="*/ 8417 h 10000"/>
                <a:gd name="connsiteX718" fmla="*/ 874 w 10000"/>
                <a:gd name="connsiteY718" fmla="*/ 8436 h 10000"/>
                <a:gd name="connsiteX719" fmla="*/ 859 w 10000"/>
                <a:gd name="connsiteY719" fmla="*/ 8450 h 10000"/>
                <a:gd name="connsiteX720" fmla="*/ 838 w 10000"/>
                <a:gd name="connsiteY720" fmla="*/ 8462 h 10000"/>
                <a:gd name="connsiteX721" fmla="*/ 821 w 10000"/>
                <a:gd name="connsiteY721" fmla="*/ 8476 h 10000"/>
                <a:gd name="connsiteX722" fmla="*/ 742 w 10000"/>
                <a:gd name="connsiteY722" fmla="*/ 8562 h 10000"/>
                <a:gd name="connsiteX723" fmla="*/ 672 w 10000"/>
                <a:gd name="connsiteY723" fmla="*/ 8644 h 10000"/>
                <a:gd name="connsiteX724" fmla="*/ 639 w 10000"/>
                <a:gd name="connsiteY724" fmla="*/ 8684 h 10000"/>
                <a:gd name="connsiteX725" fmla="*/ 609 w 10000"/>
                <a:gd name="connsiteY725" fmla="*/ 8731 h 10000"/>
                <a:gd name="connsiteX726" fmla="*/ 583 w 10000"/>
                <a:gd name="connsiteY726" fmla="*/ 8777 h 10000"/>
                <a:gd name="connsiteX727" fmla="*/ 556 w 10000"/>
                <a:gd name="connsiteY727" fmla="*/ 8831 h 10000"/>
                <a:gd name="connsiteX728" fmla="*/ 545 w 10000"/>
                <a:gd name="connsiteY728" fmla="*/ 8852 h 10000"/>
                <a:gd name="connsiteX729" fmla="*/ 525 w 10000"/>
                <a:gd name="connsiteY729" fmla="*/ 8885 h 10000"/>
                <a:gd name="connsiteX730" fmla="*/ 503 w 10000"/>
                <a:gd name="connsiteY730" fmla="*/ 8925 h 10000"/>
                <a:gd name="connsiteX731" fmla="*/ 480 w 10000"/>
                <a:gd name="connsiteY731" fmla="*/ 8962 h 10000"/>
                <a:gd name="connsiteX732" fmla="*/ 465 w 10000"/>
                <a:gd name="connsiteY732" fmla="*/ 8981 h 10000"/>
                <a:gd name="connsiteX733" fmla="*/ 455 w 10000"/>
                <a:gd name="connsiteY733" fmla="*/ 8993 h 10000"/>
                <a:gd name="connsiteX734" fmla="*/ 444 w 10000"/>
                <a:gd name="connsiteY734" fmla="*/ 9000 h 10000"/>
                <a:gd name="connsiteX735" fmla="*/ 434 w 10000"/>
                <a:gd name="connsiteY735" fmla="*/ 9007 h 10000"/>
                <a:gd name="connsiteX736" fmla="*/ 432 w 10000"/>
                <a:gd name="connsiteY736" fmla="*/ 9007 h 10000"/>
                <a:gd name="connsiteX737" fmla="*/ 429 w 10000"/>
                <a:gd name="connsiteY737" fmla="*/ 9004 h 10000"/>
                <a:gd name="connsiteX738" fmla="*/ 427 w 10000"/>
                <a:gd name="connsiteY738" fmla="*/ 8997 h 10000"/>
                <a:gd name="connsiteX739" fmla="*/ 427 w 10000"/>
                <a:gd name="connsiteY739" fmla="*/ 8993 h 10000"/>
                <a:gd name="connsiteX740" fmla="*/ 424 w 10000"/>
                <a:gd name="connsiteY740" fmla="*/ 8976 h 10000"/>
                <a:gd name="connsiteX741" fmla="*/ 427 w 10000"/>
                <a:gd name="connsiteY741" fmla="*/ 8948 h 10000"/>
                <a:gd name="connsiteX742" fmla="*/ 437 w 10000"/>
                <a:gd name="connsiteY742" fmla="*/ 8913 h 10000"/>
                <a:gd name="connsiteX743" fmla="*/ 455 w 10000"/>
                <a:gd name="connsiteY743" fmla="*/ 8859 h 10000"/>
                <a:gd name="connsiteX744" fmla="*/ 462 w 10000"/>
                <a:gd name="connsiteY744" fmla="*/ 8834 h 10000"/>
                <a:gd name="connsiteX745" fmla="*/ 470 w 10000"/>
                <a:gd name="connsiteY745" fmla="*/ 8810 h 10000"/>
                <a:gd name="connsiteX746" fmla="*/ 472 w 10000"/>
                <a:gd name="connsiteY746" fmla="*/ 8794 h 10000"/>
                <a:gd name="connsiteX747" fmla="*/ 472 w 10000"/>
                <a:gd name="connsiteY747" fmla="*/ 8780 h 10000"/>
                <a:gd name="connsiteX748" fmla="*/ 462 w 10000"/>
                <a:gd name="connsiteY748" fmla="*/ 8784 h 10000"/>
                <a:gd name="connsiteX749" fmla="*/ 452 w 10000"/>
                <a:gd name="connsiteY749" fmla="*/ 8787 h 10000"/>
                <a:gd name="connsiteX750" fmla="*/ 437 w 10000"/>
                <a:gd name="connsiteY750" fmla="*/ 8794 h 10000"/>
                <a:gd name="connsiteX751" fmla="*/ 424 w 10000"/>
                <a:gd name="connsiteY751" fmla="*/ 8803 h 10000"/>
                <a:gd name="connsiteX752" fmla="*/ 394 w 10000"/>
                <a:gd name="connsiteY752" fmla="*/ 8829 h 10000"/>
                <a:gd name="connsiteX753" fmla="*/ 364 w 10000"/>
                <a:gd name="connsiteY753" fmla="*/ 8859 h 10000"/>
                <a:gd name="connsiteX754" fmla="*/ 311 w 10000"/>
                <a:gd name="connsiteY754" fmla="*/ 8922 h 10000"/>
                <a:gd name="connsiteX755" fmla="*/ 268 w 10000"/>
                <a:gd name="connsiteY755" fmla="*/ 8964 h 10000"/>
                <a:gd name="connsiteX756" fmla="*/ 205 w 10000"/>
                <a:gd name="connsiteY756" fmla="*/ 9016 h 10000"/>
                <a:gd name="connsiteX757" fmla="*/ 146 w 10000"/>
                <a:gd name="connsiteY757" fmla="*/ 9053 h 10000"/>
                <a:gd name="connsiteX758" fmla="*/ 139 w 10000"/>
                <a:gd name="connsiteY758" fmla="*/ 9063 h 10000"/>
                <a:gd name="connsiteX759" fmla="*/ 129 w 10000"/>
                <a:gd name="connsiteY759" fmla="*/ 9077 h 10000"/>
                <a:gd name="connsiteX760" fmla="*/ 126 w 10000"/>
                <a:gd name="connsiteY760" fmla="*/ 9086 h 10000"/>
                <a:gd name="connsiteX761" fmla="*/ 126 w 10000"/>
                <a:gd name="connsiteY761" fmla="*/ 9102 h 10000"/>
                <a:gd name="connsiteX762" fmla="*/ 129 w 10000"/>
                <a:gd name="connsiteY762" fmla="*/ 9116 h 10000"/>
                <a:gd name="connsiteX763" fmla="*/ 139 w 10000"/>
                <a:gd name="connsiteY763" fmla="*/ 9135 h 10000"/>
                <a:gd name="connsiteX764" fmla="*/ 149 w 10000"/>
                <a:gd name="connsiteY764" fmla="*/ 9151 h 10000"/>
                <a:gd name="connsiteX765" fmla="*/ 164 w 10000"/>
                <a:gd name="connsiteY765" fmla="*/ 9175 h 10000"/>
                <a:gd name="connsiteX766" fmla="*/ 184 w 10000"/>
                <a:gd name="connsiteY766" fmla="*/ 9196 h 10000"/>
                <a:gd name="connsiteX767" fmla="*/ 207 w 10000"/>
                <a:gd name="connsiteY767" fmla="*/ 9215 h 10000"/>
                <a:gd name="connsiteX768" fmla="*/ 227 w 10000"/>
                <a:gd name="connsiteY768" fmla="*/ 9233 h 10000"/>
                <a:gd name="connsiteX769" fmla="*/ 253 w 10000"/>
                <a:gd name="connsiteY769" fmla="*/ 9250 h 10000"/>
                <a:gd name="connsiteX770" fmla="*/ 303 w 10000"/>
                <a:gd name="connsiteY770" fmla="*/ 9282 h 10000"/>
                <a:gd name="connsiteX771" fmla="*/ 351 w 10000"/>
                <a:gd name="connsiteY771" fmla="*/ 9315 h 10000"/>
                <a:gd name="connsiteX772" fmla="*/ 414 w 10000"/>
                <a:gd name="connsiteY772" fmla="*/ 9364 h 10000"/>
                <a:gd name="connsiteX773" fmla="*/ 480 w 10000"/>
                <a:gd name="connsiteY773" fmla="*/ 9416 h 10000"/>
                <a:gd name="connsiteX774" fmla="*/ 513 w 10000"/>
                <a:gd name="connsiteY774" fmla="*/ 9437 h 10000"/>
                <a:gd name="connsiteX775" fmla="*/ 548 w 10000"/>
                <a:gd name="connsiteY775" fmla="*/ 9462 h 10000"/>
                <a:gd name="connsiteX776" fmla="*/ 581 w 10000"/>
                <a:gd name="connsiteY776" fmla="*/ 9483 h 10000"/>
                <a:gd name="connsiteX777" fmla="*/ 614 w 10000"/>
                <a:gd name="connsiteY777" fmla="*/ 9502 h 10000"/>
                <a:gd name="connsiteX778" fmla="*/ 641 w 10000"/>
                <a:gd name="connsiteY778" fmla="*/ 9525 h 10000"/>
                <a:gd name="connsiteX779" fmla="*/ 672 w 10000"/>
                <a:gd name="connsiteY779" fmla="*/ 9549 h 10000"/>
                <a:gd name="connsiteX780" fmla="*/ 702 w 10000"/>
                <a:gd name="connsiteY780" fmla="*/ 9568 h 10000"/>
                <a:gd name="connsiteX781" fmla="*/ 737 w 10000"/>
                <a:gd name="connsiteY781" fmla="*/ 9589 h 10000"/>
                <a:gd name="connsiteX782" fmla="*/ 770 w 10000"/>
                <a:gd name="connsiteY782" fmla="*/ 9605 h 10000"/>
                <a:gd name="connsiteX783" fmla="*/ 808 w 10000"/>
                <a:gd name="connsiteY783" fmla="*/ 9617 h 10000"/>
                <a:gd name="connsiteX784" fmla="*/ 843 w 10000"/>
                <a:gd name="connsiteY784" fmla="*/ 9624 h 10000"/>
                <a:gd name="connsiteX785" fmla="*/ 884 w 10000"/>
                <a:gd name="connsiteY785" fmla="*/ 9628 h 10000"/>
                <a:gd name="connsiteX786" fmla="*/ 902 w 10000"/>
                <a:gd name="connsiteY786" fmla="*/ 9628 h 10000"/>
                <a:gd name="connsiteX787" fmla="*/ 914 w 10000"/>
                <a:gd name="connsiteY787" fmla="*/ 9631 h 10000"/>
                <a:gd name="connsiteX788" fmla="*/ 932 w 10000"/>
                <a:gd name="connsiteY788" fmla="*/ 9638 h 10000"/>
                <a:gd name="connsiteX789" fmla="*/ 942 w 10000"/>
                <a:gd name="connsiteY789" fmla="*/ 9642 h 10000"/>
                <a:gd name="connsiteX790" fmla="*/ 967 w 10000"/>
                <a:gd name="connsiteY790" fmla="*/ 9652 h 10000"/>
                <a:gd name="connsiteX791" fmla="*/ 987 w 10000"/>
                <a:gd name="connsiteY791" fmla="*/ 9668 h 10000"/>
                <a:gd name="connsiteX792" fmla="*/ 1005 w 10000"/>
                <a:gd name="connsiteY792" fmla="*/ 9682 h 10000"/>
                <a:gd name="connsiteX793" fmla="*/ 1025 w 10000"/>
                <a:gd name="connsiteY793" fmla="*/ 9698 h 10000"/>
                <a:gd name="connsiteX794" fmla="*/ 1045 w 10000"/>
                <a:gd name="connsiteY794" fmla="*/ 9712 h 10000"/>
                <a:gd name="connsiteX795" fmla="*/ 1073 w 10000"/>
                <a:gd name="connsiteY795" fmla="*/ 9724 h 10000"/>
                <a:gd name="connsiteX796" fmla="*/ 1098 w 10000"/>
                <a:gd name="connsiteY796" fmla="*/ 9738 h 10000"/>
                <a:gd name="connsiteX797" fmla="*/ 1121 w 10000"/>
                <a:gd name="connsiteY797" fmla="*/ 9750 h 10000"/>
                <a:gd name="connsiteX798" fmla="*/ 1141 w 10000"/>
                <a:gd name="connsiteY798" fmla="*/ 9762 h 10000"/>
                <a:gd name="connsiteX799" fmla="*/ 1159 w 10000"/>
                <a:gd name="connsiteY799" fmla="*/ 9776 h 10000"/>
                <a:gd name="connsiteX800" fmla="*/ 1172 w 10000"/>
                <a:gd name="connsiteY800" fmla="*/ 9787 h 10000"/>
                <a:gd name="connsiteX801" fmla="*/ 1182 w 10000"/>
                <a:gd name="connsiteY801" fmla="*/ 9804 h 10000"/>
                <a:gd name="connsiteX802" fmla="*/ 1194 w 10000"/>
                <a:gd name="connsiteY802" fmla="*/ 9818 h 10000"/>
                <a:gd name="connsiteX803" fmla="*/ 1202 w 10000"/>
                <a:gd name="connsiteY803" fmla="*/ 9834 h 10000"/>
                <a:gd name="connsiteX804" fmla="*/ 1212 w 10000"/>
                <a:gd name="connsiteY804" fmla="*/ 9869 h 10000"/>
                <a:gd name="connsiteX805" fmla="*/ 1220 w 10000"/>
                <a:gd name="connsiteY805" fmla="*/ 9906 h 10000"/>
                <a:gd name="connsiteX806" fmla="*/ 1230 w 10000"/>
                <a:gd name="connsiteY806" fmla="*/ 9951 h 10000"/>
                <a:gd name="connsiteX807" fmla="*/ 1237 w 10000"/>
                <a:gd name="connsiteY807" fmla="*/ 10000 h 10000"/>
                <a:gd name="connsiteX808" fmla="*/ 1237 w 10000"/>
                <a:gd name="connsiteY808"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972 w 10000"/>
                <a:gd name="connsiteY698" fmla="*/ 7373 h 10000"/>
                <a:gd name="connsiteX699" fmla="*/ 1525 w 10000"/>
                <a:gd name="connsiteY699" fmla="*/ 8186 h 10000"/>
                <a:gd name="connsiteX700" fmla="*/ 1500 w 10000"/>
                <a:gd name="connsiteY700" fmla="*/ 8191 h 10000"/>
                <a:gd name="connsiteX701" fmla="*/ 1472 w 10000"/>
                <a:gd name="connsiteY701" fmla="*/ 8198 h 10000"/>
                <a:gd name="connsiteX702" fmla="*/ 1434 w 10000"/>
                <a:gd name="connsiteY702" fmla="*/ 8223 h 10000"/>
                <a:gd name="connsiteX703" fmla="*/ 1149 w 10000"/>
                <a:gd name="connsiteY703" fmla="*/ 8256 h 10000"/>
                <a:gd name="connsiteX704" fmla="*/ 1139 w 10000"/>
                <a:gd name="connsiteY704" fmla="*/ 8249 h 10000"/>
                <a:gd name="connsiteX705" fmla="*/ 1126 w 10000"/>
                <a:gd name="connsiteY705" fmla="*/ 8240 h 10000"/>
                <a:gd name="connsiteX706" fmla="*/ 1114 w 10000"/>
                <a:gd name="connsiteY706" fmla="*/ 8240 h 10000"/>
                <a:gd name="connsiteX707" fmla="*/ 1091 w 10000"/>
                <a:gd name="connsiteY707" fmla="*/ 8242 h 10000"/>
                <a:gd name="connsiteX708" fmla="*/ 1071 w 10000"/>
                <a:gd name="connsiteY708" fmla="*/ 8252 h 10000"/>
                <a:gd name="connsiteX709" fmla="*/ 1048 w 10000"/>
                <a:gd name="connsiteY709" fmla="*/ 8261 h 10000"/>
                <a:gd name="connsiteX710" fmla="*/ 1030 w 10000"/>
                <a:gd name="connsiteY710" fmla="*/ 8273 h 10000"/>
                <a:gd name="connsiteX711" fmla="*/ 1010 w 10000"/>
                <a:gd name="connsiteY711" fmla="*/ 8287 h 10000"/>
                <a:gd name="connsiteX712" fmla="*/ 995 w 10000"/>
                <a:gd name="connsiteY712" fmla="*/ 8303 h 10000"/>
                <a:gd name="connsiteX713" fmla="*/ 975 w 10000"/>
                <a:gd name="connsiteY713" fmla="*/ 8322 h 10000"/>
                <a:gd name="connsiteX714" fmla="*/ 960 w 10000"/>
                <a:gd name="connsiteY714" fmla="*/ 8343 h 10000"/>
                <a:gd name="connsiteX715" fmla="*/ 927 w 10000"/>
                <a:gd name="connsiteY715" fmla="*/ 8380 h 10000"/>
                <a:gd name="connsiteX716" fmla="*/ 891 w 10000"/>
                <a:gd name="connsiteY716" fmla="*/ 8417 h 10000"/>
                <a:gd name="connsiteX717" fmla="*/ 874 w 10000"/>
                <a:gd name="connsiteY717" fmla="*/ 8436 h 10000"/>
                <a:gd name="connsiteX718" fmla="*/ 859 w 10000"/>
                <a:gd name="connsiteY718" fmla="*/ 8450 h 10000"/>
                <a:gd name="connsiteX719" fmla="*/ 838 w 10000"/>
                <a:gd name="connsiteY719" fmla="*/ 8462 h 10000"/>
                <a:gd name="connsiteX720" fmla="*/ 821 w 10000"/>
                <a:gd name="connsiteY720" fmla="*/ 8476 h 10000"/>
                <a:gd name="connsiteX721" fmla="*/ 742 w 10000"/>
                <a:gd name="connsiteY721" fmla="*/ 8562 h 10000"/>
                <a:gd name="connsiteX722" fmla="*/ 672 w 10000"/>
                <a:gd name="connsiteY722" fmla="*/ 8644 h 10000"/>
                <a:gd name="connsiteX723" fmla="*/ 639 w 10000"/>
                <a:gd name="connsiteY723" fmla="*/ 8684 h 10000"/>
                <a:gd name="connsiteX724" fmla="*/ 609 w 10000"/>
                <a:gd name="connsiteY724" fmla="*/ 8731 h 10000"/>
                <a:gd name="connsiteX725" fmla="*/ 583 w 10000"/>
                <a:gd name="connsiteY725" fmla="*/ 8777 h 10000"/>
                <a:gd name="connsiteX726" fmla="*/ 556 w 10000"/>
                <a:gd name="connsiteY726" fmla="*/ 8831 h 10000"/>
                <a:gd name="connsiteX727" fmla="*/ 545 w 10000"/>
                <a:gd name="connsiteY727" fmla="*/ 8852 h 10000"/>
                <a:gd name="connsiteX728" fmla="*/ 525 w 10000"/>
                <a:gd name="connsiteY728" fmla="*/ 8885 h 10000"/>
                <a:gd name="connsiteX729" fmla="*/ 503 w 10000"/>
                <a:gd name="connsiteY729" fmla="*/ 8925 h 10000"/>
                <a:gd name="connsiteX730" fmla="*/ 480 w 10000"/>
                <a:gd name="connsiteY730" fmla="*/ 8962 h 10000"/>
                <a:gd name="connsiteX731" fmla="*/ 465 w 10000"/>
                <a:gd name="connsiteY731" fmla="*/ 8981 h 10000"/>
                <a:gd name="connsiteX732" fmla="*/ 455 w 10000"/>
                <a:gd name="connsiteY732" fmla="*/ 8993 h 10000"/>
                <a:gd name="connsiteX733" fmla="*/ 444 w 10000"/>
                <a:gd name="connsiteY733" fmla="*/ 9000 h 10000"/>
                <a:gd name="connsiteX734" fmla="*/ 434 w 10000"/>
                <a:gd name="connsiteY734" fmla="*/ 9007 h 10000"/>
                <a:gd name="connsiteX735" fmla="*/ 432 w 10000"/>
                <a:gd name="connsiteY735" fmla="*/ 9007 h 10000"/>
                <a:gd name="connsiteX736" fmla="*/ 429 w 10000"/>
                <a:gd name="connsiteY736" fmla="*/ 9004 h 10000"/>
                <a:gd name="connsiteX737" fmla="*/ 427 w 10000"/>
                <a:gd name="connsiteY737" fmla="*/ 8997 h 10000"/>
                <a:gd name="connsiteX738" fmla="*/ 427 w 10000"/>
                <a:gd name="connsiteY738" fmla="*/ 8993 h 10000"/>
                <a:gd name="connsiteX739" fmla="*/ 424 w 10000"/>
                <a:gd name="connsiteY739" fmla="*/ 8976 h 10000"/>
                <a:gd name="connsiteX740" fmla="*/ 427 w 10000"/>
                <a:gd name="connsiteY740" fmla="*/ 8948 h 10000"/>
                <a:gd name="connsiteX741" fmla="*/ 437 w 10000"/>
                <a:gd name="connsiteY741" fmla="*/ 8913 h 10000"/>
                <a:gd name="connsiteX742" fmla="*/ 455 w 10000"/>
                <a:gd name="connsiteY742" fmla="*/ 8859 h 10000"/>
                <a:gd name="connsiteX743" fmla="*/ 462 w 10000"/>
                <a:gd name="connsiteY743" fmla="*/ 8834 h 10000"/>
                <a:gd name="connsiteX744" fmla="*/ 470 w 10000"/>
                <a:gd name="connsiteY744" fmla="*/ 8810 h 10000"/>
                <a:gd name="connsiteX745" fmla="*/ 472 w 10000"/>
                <a:gd name="connsiteY745" fmla="*/ 8794 h 10000"/>
                <a:gd name="connsiteX746" fmla="*/ 472 w 10000"/>
                <a:gd name="connsiteY746" fmla="*/ 8780 h 10000"/>
                <a:gd name="connsiteX747" fmla="*/ 462 w 10000"/>
                <a:gd name="connsiteY747" fmla="*/ 8784 h 10000"/>
                <a:gd name="connsiteX748" fmla="*/ 452 w 10000"/>
                <a:gd name="connsiteY748" fmla="*/ 8787 h 10000"/>
                <a:gd name="connsiteX749" fmla="*/ 437 w 10000"/>
                <a:gd name="connsiteY749" fmla="*/ 8794 h 10000"/>
                <a:gd name="connsiteX750" fmla="*/ 424 w 10000"/>
                <a:gd name="connsiteY750" fmla="*/ 8803 h 10000"/>
                <a:gd name="connsiteX751" fmla="*/ 394 w 10000"/>
                <a:gd name="connsiteY751" fmla="*/ 8829 h 10000"/>
                <a:gd name="connsiteX752" fmla="*/ 364 w 10000"/>
                <a:gd name="connsiteY752" fmla="*/ 8859 h 10000"/>
                <a:gd name="connsiteX753" fmla="*/ 311 w 10000"/>
                <a:gd name="connsiteY753" fmla="*/ 8922 h 10000"/>
                <a:gd name="connsiteX754" fmla="*/ 268 w 10000"/>
                <a:gd name="connsiteY754" fmla="*/ 8964 h 10000"/>
                <a:gd name="connsiteX755" fmla="*/ 205 w 10000"/>
                <a:gd name="connsiteY755" fmla="*/ 9016 h 10000"/>
                <a:gd name="connsiteX756" fmla="*/ 146 w 10000"/>
                <a:gd name="connsiteY756" fmla="*/ 9053 h 10000"/>
                <a:gd name="connsiteX757" fmla="*/ 139 w 10000"/>
                <a:gd name="connsiteY757" fmla="*/ 9063 h 10000"/>
                <a:gd name="connsiteX758" fmla="*/ 129 w 10000"/>
                <a:gd name="connsiteY758" fmla="*/ 9077 h 10000"/>
                <a:gd name="connsiteX759" fmla="*/ 126 w 10000"/>
                <a:gd name="connsiteY759" fmla="*/ 9086 h 10000"/>
                <a:gd name="connsiteX760" fmla="*/ 126 w 10000"/>
                <a:gd name="connsiteY760" fmla="*/ 9102 h 10000"/>
                <a:gd name="connsiteX761" fmla="*/ 129 w 10000"/>
                <a:gd name="connsiteY761" fmla="*/ 9116 h 10000"/>
                <a:gd name="connsiteX762" fmla="*/ 139 w 10000"/>
                <a:gd name="connsiteY762" fmla="*/ 9135 h 10000"/>
                <a:gd name="connsiteX763" fmla="*/ 149 w 10000"/>
                <a:gd name="connsiteY763" fmla="*/ 9151 h 10000"/>
                <a:gd name="connsiteX764" fmla="*/ 164 w 10000"/>
                <a:gd name="connsiteY764" fmla="*/ 9175 h 10000"/>
                <a:gd name="connsiteX765" fmla="*/ 184 w 10000"/>
                <a:gd name="connsiteY765" fmla="*/ 9196 h 10000"/>
                <a:gd name="connsiteX766" fmla="*/ 207 w 10000"/>
                <a:gd name="connsiteY766" fmla="*/ 9215 h 10000"/>
                <a:gd name="connsiteX767" fmla="*/ 227 w 10000"/>
                <a:gd name="connsiteY767" fmla="*/ 9233 h 10000"/>
                <a:gd name="connsiteX768" fmla="*/ 253 w 10000"/>
                <a:gd name="connsiteY768" fmla="*/ 9250 h 10000"/>
                <a:gd name="connsiteX769" fmla="*/ 303 w 10000"/>
                <a:gd name="connsiteY769" fmla="*/ 9282 h 10000"/>
                <a:gd name="connsiteX770" fmla="*/ 351 w 10000"/>
                <a:gd name="connsiteY770" fmla="*/ 9315 h 10000"/>
                <a:gd name="connsiteX771" fmla="*/ 414 w 10000"/>
                <a:gd name="connsiteY771" fmla="*/ 9364 h 10000"/>
                <a:gd name="connsiteX772" fmla="*/ 480 w 10000"/>
                <a:gd name="connsiteY772" fmla="*/ 9416 h 10000"/>
                <a:gd name="connsiteX773" fmla="*/ 513 w 10000"/>
                <a:gd name="connsiteY773" fmla="*/ 9437 h 10000"/>
                <a:gd name="connsiteX774" fmla="*/ 548 w 10000"/>
                <a:gd name="connsiteY774" fmla="*/ 9462 h 10000"/>
                <a:gd name="connsiteX775" fmla="*/ 581 w 10000"/>
                <a:gd name="connsiteY775" fmla="*/ 9483 h 10000"/>
                <a:gd name="connsiteX776" fmla="*/ 614 w 10000"/>
                <a:gd name="connsiteY776" fmla="*/ 9502 h 10000"/>
                <a:gd name="connsiteX777" fmla="*/ 641 w 10000"/>
                <a:gd name="connsiteY777" fmla="*/ 9525 h 10000"/>
                <a:gd name="connsiteX778" fmla="*/ 672 w 10000"/>
                <a:gd name="connsiteY778" fmla="*/ 9549 h 10000"/>
                <a:gd name="connsiteX779" fmla="*/ 702 w 10000"/>
                <a:gd name="connsiteY779" fmla="*/ 9568 h 10000"/>
                <a:gd name="connsiteX780" fmla="*/ 737 w 10000"/>
                <a:gd name="connsiteY780" fmla="*/ 9589 h 10000"/>
                <a:gd name="connsiteX781" fmla="*/ 770 w 10000"/>
                <a:gd name="connsiteY781" fmla="*/ 9605 h 10000"/>
                <a:gd name="connsiteX782" fmla="*/ 808 w 10000"/>
                <a:gd name="connsiteY782" fmla="*/ 9617 h 10000"/>
                <a:gd name="connsiteX783" fmla="*/ 843 w 10000"/>
                <a:gd name="connsiteY783" fmla="*/ 9624 h 10000"/>
                <a:gd name="connsiteX784" fmla="*/ 884 w 10000"/>
                <a:gd name="connsiteY784" fmla="*/ 9628 h 10000"/>
                <a:gd name="connsiteX785" fmla="*/ 902 w 10000"/>
                <a:gd name="connsiteY785" fmla="*/ 9628 h 10000"/>
                <a:gd name="connsiteX786" fmla="*/ 914 w 10000"/>
                <a:gd name="connsiteY786" fmla="*/ 9631 h 10000"/>
                <a:gd name="connsiteX787" fmla="*/ 932 w 10000"/>
                <a:gd name="connsiteY787" fmla="*/ 9638 h 10000"/>
                <a:gd name="connsiteX788" fmla="*/ 942 w 10000"/>
                <a:gd name="connsiteY788" fmla="*/ 9642 h 10000"/>
                <a:gd name="connsiteX789" fmla="*/ 967 w 10000"/>
                <a:gd name="connsiteY789" fmla="*/ 9652 h 10000"/>
                <a:gd name="connsiteX790" fmla="*/ 987 w 10000"/>
                <a:gd name="connsiteY790" fmla="*/ 9668 h 10000"/>
                <a:gd name="connsiteX791" fmla="*/ 1005 w 10000"/>
                <a:gd name="connsiteY791" fmla="*/ 9682 h 10000"/>
                <a:gd name="connsiteX792" fmla="*/ 1025 w 10000"/>
                <a:gd name="connsiteY792" fmla="*/ 9698 h 10000"/>
                <a:gd name="connsiteX793" fmla="*/ 1045 w 10000"/>
                <a:gd name="connsiteY793" fmla="*/ 9712 h 10000"/>
                <a:gd name="connsiteX794" fmla="*/ 1073 w 10000"/>
                <a:gd name="connsiteY794" fmla="*/ 9724 h 10000"/>
                <a:gd name="connsiteX795" fmla="*/ 1098 w 10000"/>
                <a:gd name="connsiteY795" fmla="*/ 9738 h 10000"/>
                <a:gd name="connsiteX796" fmla="*/ 1121 w 10000"/>
                <a:gd name="connsiteY796" fmla="*/ 9750 h 10000"/>
                <a:gd name="connsiteX797" fmla="*/ 1141 w 10000"/>
                <a:gd name="connsiteY797" fmla="*/ 9762 h 10000"/>
                <a:gd name="connsiteX798" fmla="*/ 1159 w 10000"/>
                <a:gd name="connsiteY798" fmla="*/ 9776 h 10000"/>
                <a:gd name="connsiteX799" fmla="*/ 1172 w 10000"/>
                <a:gd name="connsiteY799" fmla="*/ 9787 h 10000"/>
                <a:gd name="connsiteX800" fmla="*/ 1182 w 10000"/>
                <a:gd name="connsiteY800" fmla="*/ 9804 h 10000"/>
                <a:gd name="connsiteX801" fmla="*/ 1194 w 10000"/>
                <a:gd name="connsiteY801" fmla="*/ 9818 h 10000"/>
                <a:gd name="connsiteX802" fmla="*/ 1202 w 10000"/>
                <a:gd name="connsiteY802" fmla="*/ 9834 h 10000"/>
                <a:gd name="connsiteX803" fmla="*/ 1212 w 10000"/>
                <a:gd name="connsiteY803" fmla="*/ 9869 h 10000"/>
                <a:gd name="connsiteX804" fmla="*/ 1220 w 10000"/>
                <a:gd name="connsiteY804" fmla="*/ 9906 h 10000"/>
                <a:gd name="connsiteX805" fmla="*/ 1230 w 10000"/>
                <a:gd name="connsiteY805" fmla="*/ 9951 h 10000"/>
                <a:gd name="connsiteX806" fmla="*/ 1237 w 10000"/>
                <a:gd name="connsiteY806" fmla="*/ 10000 h 10000"/>
                <a:gd name="connsiteX807" fmla="*/ 1237 w 10000"/>
                <a:gd name="connsiteY807"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927 w 10000"/>
                <a:gd name="connsiteY697" fmla="*/ 7368 h 10000"/>
                <a:gd name="connsiteX698" fmla="*/ 1525 w 10000"/>
                <a:gd name="connsiteY698" fmla="*/ 8186 h 10000"/>
                <a:gd name="connsiteX699" fmla="*/ 1500 w 10000"/>
                <a:gd name="connsiteY699" fmla="*/ 8191 h 10000"/>
                <a:gd name="connsiteX700" fmla="*/ 1472 w 10000"/>
                <a:gd name="connsiteY700" fmla="*/ 8198 h 10000"/>
                <a:gd name="connsiteX701" fmla="*/ 1434 w 10000"/>
                <a:gd name="connsiteY701" fmla="*/ 8223 h 10000"/>
                <a:gd name="connsiteX702" fmla="*/ 1149 w 10000"/>
                <a:gd name="connsiteY702" fmla="*/ 8256 h 10000"/>
                <a:gd name="connsiteX703" fmla="*/ 1139 w 10000"/>
                <a:gd name="connsiteY703" fmla="*/ 8249 h 10000"/>
                <a:gd name="connsiteX704" fmla="*/ 1126 w 10000"/>
                <a:gd name="connsiteY704" fmla="*/ 8240 h 10000"/>
                <a:gd name="connsiteX705" fmla="*/ 1114 w 10000"/>
                <a:gd name="connsiteY705" fmla="*/ 8240 h 10000"/>
                <a:gd name="connsiteX706" fmla="*/ 1091 w 10000"/>
                <a:gd name="connsiteY706" fmla="*/ 8242 h 10000"/>
                <a:gd name="connsiteX707" fmla="*/ 1071 w 10000"/>
                <a:gd name="connsiteY707" fmla="*/ 8252 h 10000"/>
                <a:gd name="connsiteX708" fmla="*/ 1048 w 10000"/>
                <a:gd name="connsiteY708" fmla="*/ 8261 h 10000"/>
                <a:gd name="connsiteX709" fmla="*/ 1030 w 10000"/>
                <a:gd name="connsiteY709" fmla="*/ 8273 h 10000"/>
                <a:gd name="connsiteX710" fmla="*/ 1010 w 10000"/>
                <a:gd name="connsiteY710" fmla="*/ 8287 h 10000"/>
                <a:gd name="connsiteX711" fmla="*/ 995 w 10000"/>
                <a:gd name="connsiteY711" fmla="*/ 8303 h 10000"/>
                <a:gd name="connsiteX712" fmla="*/ 975 w 10000"/>
                <a:gd name="connsiteY712" fmla="*/ 8322 h 10000"/>
                <a:gd name="connsiteX713" fmla="*/ 960 w 10000"/>
                <a:gd name="connsiteY713" fmla="*/ 8343 h 10000"/>
                <a:gd name="connsiteX714" fmla="*/ 927 w 10000"/>
                <a:gd name="connsiteY714" fmla="*/ 8380 h 10000"/>
                <a:gd name="connsiteX715" fmla="*/ 891 w 10000"/>
                <a:gd name="connsiteY715" fmla="*/ 8417 h 10000"/>
                <a:gd name="connsiteX716" fmla="*/ 874 w 10000"/>
                <a:gd name="connsiteY716" fmla="*/ 8436 h 10000"/>
                <a:gd name="connsiteX717" fmla="*/ 859 w 10000"/>
                <a:gd name="connsiteY717" fmla="*/ 8450 h 10000"/>
                <a:gd name="connsiteX718" fmla="*/ 838 w 10000"/>
                <a:gd name="connsiteY718" fmla="*/ 8462 h 10000"/>
                <a:gd name="connsiteX719" fmla="*/ 821 w 10000"/>
                <a:gd name="connsiteY719" fmla="*/ 8476 h 10000"/>
                <a:gd name="connsiteX720" fmla="*/ 742 w 10000"/>
                <a:gd name="connsiteY720" fmla="*/ 8562 h 10000"/>
                <a:gd name="connsiteX721" fmla="*/ 672 w 10000"/>
                <a:gd name="connsiteY721" fmla="*/ 8644 h 10000"/>
                <a:gd name="connsiteX722" fmla="*/ 639 w 10000"/>
                <a:gd name="connsiteY722" fmla="*/ 8684 h 10000"/>
                <a:gd name="connsiteX723" fmla="*/ 609 w 10000"/>
                <a:gd name="connsiteY723" fmla="*/ 8731 h 10000"/>
                <a:gd name="connsiteX724" fmla="*/ 583 w 10000"/>
                <a:gd name="connsiteY724" fmla="*/ 8777 h 10000"/>
                <a:gd name="connsiteX725" fmla="*/ 556 w 10000"/>
                <a:gd name="connsiteY725" fmla="*/ 8831 h 10000"/>
                <a:gd name="connsiteX726" fmla="*/ 545 w 10000"/>
                <a:gd name="connsiteY726" fmla="*/ 8852 h 10000"/>
                <a:gd name="connsiteX727" fmla="*/ 525 w 10000"/>
                <a:gd name="connsiteY727" fmla="*/ 8885 h 10000"/>
                <a:gd name="connsiteX728" fmla="*/ 503 w 10000"/>
                <a:gd name="connsiteY728" fmla="*/ 8925 h 10000"/>
                <a:gd name="connsiteX729" fmla="*/ 480 w 10000"/>
                <a:gd name="connsiteY729" fmla="*/ 8962 h 10000"/>
                <a:gd name="connsiteX730" fmla="*/ 465 w 10000"/>
                <a:gd name="connsiteY730" fmla="*/ 8981 h 10000"/>
                <a:gd name="connsiteX731" fmla="*/ 455 w 10000"/>
                <a:gd name="connsiteY731" fmla="*/ 8993 h 10000"/>
                <a:gd name="connsiteX732" fmla="*/ 444 w 10000"/>
                <a:gd name="connsiteY732" fmla="*/ 9000 h 10000"/>
                <a:gd name="connsiteX733" fmla="*/ 434 w 10000"/>
                <a:gd name="connsiteY733" fmla="*/ 9007 h 10000"/>
                <a:gd name="connsiteX734" fmla="*/ 432 w 10000"/>
                <a:gd name="connsiteY734" fmla="*/ 9007 h 10000"/>
                <a:gd name="connsiteX735" fmla="*/ 429 w 10000"/>
                <a:gd name="connsiteY735" fmla="*/ 9004 h 10000"/>
                <a:gd name="connsiteX736" fmla="*/ 427 w 10000"/>
                <a:gd name="connsiteY736" fmla="*/ 8997 h 10000"/>
                <a:gd name="connsiteX737" fmla="*/ 427 w 10000"/>
                <a:gd name="connsiteY737" fmla="*/ 8993 h 10000"/>
                <a:gd name="connsiteX738" fmla="*/ 424 w 10000"/>
                <a:gd name="connsiteY738" fmla="*/ 8976 h 10000"/>
                <a:gd name="connsiteX739" fmla="*/ 427 w 10000"/>
                <a:gd name="connsiteY739" fmla="*/ 8948 h 10000"/>
                <a:gd name="connsiteX740" fmla="*/ 437 w 10000"/>
                <a:gd name="connsiteY740" fmla="*/ 8913 h 10000"/>
                <a:gd name="connsiteX741" fmla="*/ 455 w 10000"/>
                <a:gd name="connsiteY741" fmla="*/ 8859 h 10000"/>
                <a:gd name="connsiteX742" fmla="*/ 462 w 10000"/>
                <a:gd name="connsiteY742" fmla="*/ 8834 h 10000"/>
                <a:gd name="connsiteX743" fmla="*/ 470 w 10000"/>
                <a:gd name="connsiteY743" fmla="*/ 8810 h 10000"/>
                <a:gd name="connsiteX744" fmla="*/ 472 w 10000"/>
                <a:gd name="connsiteY744" fmla="*/ 8794 h 10000"/>
                <a:gd name="connsiteX745" fmla="*/ 472 w 10000"/>
                <a:gd name="connsiteY745" fmla="*/ 8780 h 10000"/>
                <a:gd name="connsiteX746" fmla="*/ 462 w 10000"/>
                <a:gd name="connsiteY746" fmla="*/ 8784 h 10000"/>
                <a:gd name="connsiteX747" fmla="*/ 452 w 10000"/>
                <a:gd name="connsiteY747" fmla="*/ 8787 h 10000"/>
                <a:gd name="connsiteX748" fmla="*/ 437 w 10000"/>
                <a:gd name="connsiteY748" fmla="*/ 8794 h 10000"/>
                <a:gd name="connsiteX749" fmla="*/ 424 w 10000"/>
                <a:gd name="connsiteY749" fmla="*/ 8803 h 10000"/>
                <a:gd name="connsiteX750" fmla="*/ 394 w 10000"/>
                <a:gd name="connsiteY750" fmla="*/ 8829 h 10000"/>
                <a:gd name="connsiteX751" fmla="*/ 364 w 10000"/>
                <a:gd name="connsiteY751" fmla="*/ 8859 h 10000"/>
                <a:gd name="connsiteX752" fmla="*/ 311 w 10000"/>
                <a:gd name="connsiteY752" fmla="*/ 8922 h 10000"/>
                <a:gd name="connsiteX753" fmla="*/ 268 w 10000"/>
                <a:gd name="connsiteY753" fmla="*/ 8964 h 10000"/>
                <a:gd name="connsiteX754" fmla="*/ 205 w 10000"/>
                <a:gd name="connsiteY754" fmla="*/ 9016 h 10000"/>
                <a:gd name="connsiteX755" fmla="*/ 146 w 10000"/>
                <a:gd name="connsiteY755" fmla="*/ 9053 h 10000"/>
                <a:gd name="connsiteX756" fmla="*/ 139 w 10000"/>
                <a:gd name="connsiteY756" fmla="*/ 9063 h 10000"/>
                <a:gd name="connsiteX757" fmla="*/ 129 w 10000"/>
                <a:gd name="connsiteY757" fmla="*/ 9077 h 10000"/>
                <a:gd name="connsiteX758" fmla="*/ 126 w 10000"/>
                <a:gd name="connsiteY758" fmla="*/ 9086 h 10000"/>
                <a:gd name="connsiteX759" fmla="*/ 126 w 10000"/>
                <a:gd name="connsiteY759" fmla="*/ 9102 h 10000"/>
                <a:gd name="connsiteX760" fmla="*/ 129 w 10000"/>
                <a:gd name="connsiteY760" fmla="*/ 9116 h 10000"/>
                <a:gd name="connsiteX761" fmla="*/ 139 w 10000"/>
                <a:gd name="connsiteY761" fmla="*/ 9135 h 10000"/>
                <a:gd name="connsiteX762" fmla="*/ 149 w 10000"/>
                <a:gd name="connsiteY762" fmla="*/ 9151 h 10000"/>
                <a:gd name="connsiteX763" fmla="*/ 164 w 10000"/>
                <a:gd name="connsiteY763" fmla="*/ 9175 h 10000"/>
                <a:gd name="connsiteX764" fmla="*/ 184 w 10000"/>
                <a:gd name="connsiteY764" fmla="*/ 9196 h 10000"/>
                <a:gd name="connsiteX765" fmla="*/ 207 w 10000"/>
                <a:gd name="connsiteY765" fmla="*/ 9215 h 10000"/>
                <a:gd name="connsiteX766" fmla="*/ 227 w 10000"/>
                <a:gd name="connsiteY766" fmla="*/ 9233 h 10000"/>
                <a:gd name="connsiteX767" fmla="*/ 253 w 10000"/>
                <a:gd name="connsiteY767" fmla="*/ 9250 h 10000"/>
                <a:gd name="connsiteX768" fmla="*/ 303 w 10000"/>
                <a:gd name="connsiteY768" fmla="*/ 9282 h 10000"/>
                <a:gd name="connsiteX769" fmla="*/ 351 w 10000"/>
                <a:gd name="connsiteY769" fmla="*/ 9315 h 10000"/>
                <a:gd name="connsiteX770" fmla="*/ 414 w 10000"/>
                <a:gd name="connsiteY770" fmla="*/ 9364 h 10000"/>
                <a:gd name="connsiteX771" fmla="*/ 480 w 10000"/>
                <a:gd name="connsiteY771" fmla="*/ 9416 h 10000"/>
                <a:gd name="connsiteX772" fmla="*/ 513 w 10000"/>
                <a:gd name="connsiteY772" fmla="*/ 9437 h 10000"/>
                <a:gd name="connsiteX773" fmla="*/ 548 w 10000"/>
                <a:gd name="connsiteY773" fmla="*/ 9462 h 10000"/>
                <a:gd name="connsiteX774" fmla="*/ 581 w 10000"/>
                <a:gd name="connsiteY774" fmla="*/ 9483 h 10000"/>
                <a:gd name="connsiteX775" fmla="*/ 614 w 10000"/>
                <a:gd name="connsiteY775" fmla="*/ 9502 h 10000"/>
                <a:gd name="connsiteX776" fmla="*/ 641 w 10000"/>
                <a:gd name="connsiteY776" fmla="*/ 9525 h 10000"/>
                <a:gd name="connsiteX777" fmla="*/ 672 w 10000"/>
                <a:gd name="connsiteY777" fmla="*/ 9549 h 10000"/>
                <a:gd name="connsiteX778" fmla="*/ 702 w 10000"/>
                <a:gd name="connsiteY778" fmla="*/ 9568 h 10000"/>
                <a:gd name="connsiteX779" fmla="*/ 737 w 10000"/>
                <a:gd name="connsiteY779" fmla="*/ 9589 h 10000"/>
                <a:gd name="connsiteX780" fmla="*/ 770 w 10000"/>
                <a:gd name="connsiteY780" fmla="*/ 9605 h 10000"/>
                <a:gd name="connsiteX781" fmla="*/ 808 w 10000"/>
                <a:gd name="connsiteY781" fmla="*/ 9617 h 10000"/>
                <a:gd name="connsiteX782" fmla="*/ 843 w 10000"/>
                <a:gd name="connsiteY782" fmla="*/ 9624 h 10000"/>
                <a:gd name="connsiteX783" fmla="*/ 884 w 10000"/>
                <a:gd name="connsiteY783" fmla="*/ 9628 h 10000"/>
                <a:gd name="connsiteX784" fmla="*/ 902 w 10000"/>
                <a:gd name="connsiteY784" fmla="*/ 9628 h 10000"/>
                <a:gd name="connsiteX785" fmla="*/ 914 w 10000"/>
                <a:gd name="connsiteY785" fmla="*/ 9631 h 10000"/>
                <a:gd name="connsiteX786" fmla="*/ 932 w 10000"/>
                <a:gd name="connsiteY786" fmla="*/ 9638 h 10000"/>
                <a:gd name="connsiteX787" fmla="*/ 942 w 10000"/>
                <a:gd name="connsiteY787" fmla="*/ 9642 h 10000"/>
                <a:gd name="connsiteX788" fmla="*/ 967 w 10000"/>
                <a:gd name="connsiteY788" fmla="*/ 9652 h 10000"/>
                <a:gd name="connsiteX789" fmla="*/ 987 w 10000"/>
                <a:gd name="connsiteY789" fmla="*/ 9668 h 10000"/>
                <a:gd name="connsiteX790" fmla="*/ 1005 w 10000"/>
                <a:gd name="connsiteY790" fmla="*/ 9682 h 10000"/>
                <a:gd name="connsiteX791" fmla="*/ 1025 w 10000"/>
                <a:gd name="connsiteY791" fmla="*/ 9698 h 10000"/>
                <a:gd name="connsiteX792" fmla="*/ 1045 w 10000"/>
                <a:gd name="connsiteY792" fmla="*/ 9712 h 10000"/>
                <a:gd name="connsiteX793" fmla="*/ 1073 w 10000"/>
                <a:gd name="connsiteY793" fmla="*/ 9724 h 10000"/>
                <a:gd name="connsiteX794" fmla="*/ 1098 w 10000"/>
                <a:gd name="connsiteY794" fmla="*/ 9738 h 10000"/>
                <a:gd name="connsiteX795" fmla="*/ 1121 w 10000"/>
                <a:gd name="connsiteY795" fmla="*/ 9750 h 10000"/>
                <a:gd name="connsiteX796" fmla="*/ 1141 w 10000"/>
                <a:gd name="connsiteY796" fmla="*/ 9762 h 10000"/>
                <a:gd name="connsiteX797" fmla="*/ 1159 w 10000"/>
                <a:gd name="connsiteY797" fmla="*/ 9776 h 10000"/>
                <a:gd name="connsiteX798" fmla="*/ 1172 w 10000"/>
                <a:gd name="connsiteY798" fmla="*/ 9787 h 10000"/>
                <a:gd name="connsiteX799" fmla="*/ 1182 w 10000"/>
                <a:gd name="connsiteY799" fmla="*/ 9804 h 10000"/>
                <a:gd name="connsiteX800" fmla="*/ 1194 w 10000"/>
                <a:gd name="connsiteY800" fmla="*/ 9818 h 10000"/>
                <a:gd name="connsiteX801" fmla="*/ 1202 w 10000"/>
                <a:gd name="connsiteY801" fmla="*/ 9834 h 10000"/>
                <a:gd name="connsiteX802" fmla="*/ 1212 w 10000"/>
                <a:gd name="connsiteY802" fmla="*/ 9869 h 10000"/>
                <a:gd name="connsiteX803" fmla="*/ 1220 w 10000"/>
                <a:gd name="connsiteY803" fmla="*/ 9906 h 10000"/>
                <a:gd name="connsiteX804" fmla="*/ 1230 w 10000"/>
                <a:gd name="connsiteY804" fmla="*/ 9951 h 10000"/>
                <a:gd name="connsiteX805" fmla="*/ 1237 w 10000"/>
                <a:gd name="connsiteY805" fmla="*/ 10000 h 10000"/>
                <a:gd name="connsiteX806" fmla="*/ 1237 w 10000"/>
                <a:gd name="connsiteY806"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525 w 10000"/>
                <a:gd name="connsiteY697" fmla="*/ 8186 h 10000"/>
                <a:gd name="connsiteX698" fmla="*/ 1500 w 10000"/>
                <a:gd name="connsiteY698" fmla="*/ 8191 h 10000"/>
                <a:gd name="connsiteX699" fmla="*/ 1472 w 10000"/>
                <a:gd name="connsiteY699" fmla="*/ 8198 h 10000"/>
                <a:gd name="connsiteX700" fmla="*/ 1434 w 10000"/>
                <a:gd name="connsiteY700" fmla="*/ 8223 h 10000"/>
                <a:gd name="connsiteX701" fmla="*/ 1149 w 10000"/>
                <a:gd name="connsiteY701" fmla="*/ 8256 h 10000"/>
                <a:gd name="connsiteX702" fmla="*/ 1139 w 10000"/>
                <a:gd name="connsiteY702" fmla="*/ 8249 h 10000"/>
                <a:gd name="connsiteX703" fmla="*/ 1126 w 10000"/>
                <a:gd name="connsiteY703" fmla="*/ 8240 h 10000"/>
                <a:gd name="connsiteX704" fmla="*/ 1114 w 10000"/>
                <a:gd name="connsiteY704" fmla="*/ 8240 h 10000"/>
                <a:gd name="connsiteX705" fmla="*/ 1091 w 10000"/>
                <a:gd name="connsiteY705" fmla="*/ 8242 h 10000"/>
                <a:gd name="connsiteX706" fmla="*/ 1071 w 10000"/>
                <a:gd name="connsiteY706" fmla="*/ 8252 h 10000"/>
                <a:gd name="connsiteX707" fmla="*/ 1048 w 10000"/>
                <a:gd name="connsiteY707" fmla="*/ 8261 h 10000"/>
                <a:gd name="connsiteX708" fmla="*/ 1030 w 10000"/>
                <a:gd name="connsiteY708" fmla="*/ 8273 h 10000"/>
                <a:gd name="connsiteX709" fmla="*/ 1010 w 10000"/>
                <a:gd name="connsiteY709" fmla="*/ 8287 h 10000"/>
                <a:gd name="connsiteX710" fmla="*/ 995 w 10000"/>
                <a:gd name="connsiteY710" fmla="*/ 8303 h 10000"/>
                <a:gd name="connsiteX711" fmla="*/ 975 w 10000"/>
                <a:gd name="connsiteY711" fmla="*/ 8322 h 10000"/>
                <a:gd name="connsiteX712" fmla="*/ 960 w 10000"/>
                <a:gd name="connsiteY712" fmla="*/ 8343 h 10000"/>
                <a:gd name="connsiteX713" fmla="*/ 927 w 10000"/>
                <a:gd name="connsiteY713" fmla="*/ 8380 h 10000"/>
                <a:gd name="connsiteX714" fmla="*/ 891 w 10000"/>
                <a:gd name="connsiteY714" fmla="*/ 8417 h 10000"/>
                <a:gd name="connsiteX715" fmla="*/ 874 w 10000"/>
                <a:gd name="connsiteY715" fmla="*/ 8436 h 10000"/>
                <a:gd name="connsiteX716" fmla="*/ 859 w 10000"/>
                <a:gd name="connsiteY716" fmla="*/ 8450 h 10000"/>
                <a:gd name="connsiteX717" fmla="*/ 838 w 10000"/>
                <a:gd name="connsiteY717" fmla="*/ 8462 h 10000"/>
                <a:gd name="connsiteX718" fmla="*/ 821 w 10000"/>
                <a:gd name="connsiteY718" fmla="*/ 8476 h 10000"/>
                <a:gd name="connsiteX719" fmla="*/ 742 w 10000"/>
                <a:gd name="connsiteY719" fmla="*/ 8562 h 10000"/>
                <a:gd name="connsiteX720" fmla="*/ 672 w 10000"/>
                <a:gd name="connsiteY720" fmla="*/ 8644 h 10000"/>
                <a:gd name="connsiteX721" fmla="*/ 639 w 10000"/>
                <a:gd name="connsiteY721" fmla="*/ 8684 h 10000"/>
                <a:gd name="connsiteX722" fmla="*/ 609 w 10000"/>
                <a:gd name="connsiteY722" fmla="*/ 8731 h 10000"/>
                <a:gd name="connsiteX723" fmla="*/ 583 w 10000"/>
                <a:gd name="connsiteY723" fmla="*/ 8777 h 10000"/>
                <a:gd name="connsiteX724" fmla="*/ 556 w 10000"/>
                <a:gd name="connsiteY724" fmla="*/ 8831 h 10000"/>
                <a:gd name="connsiteX725" fmla="*/ 545 w 10000"/>
                <a:gd name="connsiteY725" fmla="*/ 8852 h 10000"/>
                <a:gd name="connsiteX726" fmla="*/ 525 w 10000"/>
                <a:gd name="connsiteY726" fmla="*/ 8885 h 10000"/>
                <a:gd name="connsiteX727" fmla="*/ 503 w 10000"/>
                <a:gd name="connsiteY727" fmla="*/ 8925 h 10000"/>
                <a:gd name="connsiteX728" fmla="*/ 480 w 10000"/>
                <a:gd name="connsiteY728" fmla="*/ 8962 h 10000"/>
                <a:gd name="connsiteX729" fmla="*/ 465 w 10000"/>
                <a:gd name="connsiteY729" fmla="*/ 8981 h 10000"/>
                <a:gd name="connsiteX730" fmla="*/ 455 w 10000"/>
                <a:gd name="connsiteY730" fmla="*/ 8993 h 10000"/>
                <a:gd name="connsiteX731" fmla="*/ 444 w 10000"/>
                <a:gd name="connsiteY731" fmla="*/ 9000 h 10000"/>
                <a:gd name="connsiteX732" fmla="*/ 434 w 10000"/>
                <a:gd name="connsiteY732" fmla="*/ 9007 h 10000"/>
                <a:gd name="connsiteX733" fmla="*/ 432 w 10000"/>
                <a:gd name="connsiteY733" fmla="*/ 9007 h 10000"/>
                <a:gd name="connsiteX734" fmla="*/ 429 w 10000"/>
                <a:gd name="connsiteY734" fmla="*/ 9004 h 10000"/>
                <a:gd name="connsiteX735" fmla="*/ 427 w 10000"/>
                <a:gd name="connsiteY735" fmla="*/ 8997 h 10000"/>
                <a:gd name="connsiteX736" fmla="*/ 427 w 10000"/>
                <a:gd name="connsiteY736" fmla="*/ 8993 h 10000"/>
                <a:gd name="connsiteX737" fmla="*/ 424 w 10000"/>
                <a:gd name="connsiteY737" fmla="*/ 8976 h 10000"/>
                <a:gd name="connsiteX738" fmla="*/ 427 w 10000"/>
                <a:gd name="connsiteY738" fmla="*/ 8948 h 10000"/>
                <a:gd name="connsiteX739" fmla="*/ 437 w 10000"/>
                <a:gd name="connsiteY739" fmla="*/ 8913 h 10000"/>
                <a:gd name="connsiteX740" fmla="*/ 455 w 10000"/>
                <a:gd name="connsiteY740" fmla="*/ 8859 h 10000"/>
                <a:gd name="connsiteX741" fmla="*/ 462 w 10000"/>
                <a:gd name="connsiteY741" fmla="*/ 8834 h 10000"/>
                <a:gd name="connsiteX742" fmla="*/ 470 w 10000"/>
                <a:gd name="connsiteY742" fmla="*/ 8810 h 10000"/>
                <a:gd name="connsiteX743" fmla="*/ 472 w 10000"/>
                <a:gd name="connsiteY743" fmla="*/ 8794 h 10000"/>
                <a:gd name="connsiteX744" fmla="*/ 472 w 10000"/>
                <a:gd name="connsiteY744" fmla="*/ 8780 h 10000"/>
                <a:gd name="connsiteX745" fmla="*/ 462 w 10000"/>
                <a:gd name="connsiteY745" fmla="*/ 8784 h 10000"/>
                <a:gd name="connsiteX746" fmla="*/ 452 w 10000"/>
                <a:gd name="connsiteY746" fmla="*/ 8787 h 10000"/>
                <a:gd name="connsiteX747" fmla="*/ 437 w 10000"/>
                <a:gd name="connsiteY747" fmla="*/ 8794 h 10000"/>
                <a:gd name="connsiteX748" fmla="*/ 424 w 10000"/>
                <a:gd name="connsiteY748" fmla="*/ 8803 h 10000"/>
                <a:gd name="connsiteX749" fmla="*/ 394 w 10000"/>
                <a:gd name="connsiteY749" fmla="*/ 8829 h 10000"/>
                <a:gd name="connsiteX750" fmla="*/ 364 w 10000"/>
                <a:gd name="connsiteY750" fmla="*/ 8859 h 10000"/>
                <a:gd name="connsiteX751" fmla="*/ 311 w 10000"/>
                <a:gd name="connsiteY751" fmla="*/ 8922 h 10000"/>
                <a:gd name="connsiteX752" fmla="*/ 268 w 10000"/>
                <a:gd name="connsiteY752" fmla="*/ 8964 h 10000"/>
                <a:gd name="connsiteX753" fmla="*/ 205 w 10000"/>
                <a:gd name="connsiteY753" fmla="*/ 9016 h 10000"/>
                <a:gd name="connsiteX754" fmla="*/ 146 w 10000"/>
                <a:gd name="connsiteY754" fmla="*/ 9053 h 10000"/>
                <a:gd name="connsiteX755" fmla="*/ 139 w 10000"/>
                <a:gd name="connsiteY755" fmla="*/ 9063 h 10000"/>
                <a:gd name="connsiteX756" fmla="*/ 129 w 10000"/>
                <a:gd name="connsiteY756" fmla="*/ 9077 h 10000"/>
                <a:gd name="connsiteX757" fmla="*/ 126 w 10000"/>
                <a:gd name="connsiteY757" fmla="*/ 9086 h 10000"/>
                <a:gd name="connsiteX758" fmla="*/ 126 w 10000"/>
                <a:gd name="connsiteY758" fmla="*/ 9102 h 10000"/>
                <a:gd name="connsiteX759" fmla="*/ 129 w 10000"/>
                <a:gd name="connsiteY759" fmla="*/ 9116 h 10000"/>
                <a:gd name="connsiteX760" fmla="*/ 139 w 10000"/>
                <a:gd name="connsiteY760" fmla="*/ 9135 h 10000"/>
                <a:gd name="connsiteX761" fmla="*/ 149 w 10000"/>
                <a:gd name="connsiteY761" fmla="*/ 9151 h 10000"/>
                <a:gd name="connsiteX762" fmla="*/ 164 w 10000"/>
                <a:gd name="connsiteY762" fmla="*/ 9175 h 10000"/>
                <a:gd name="connsiteX763" fmla="*/ 184 w 10000"/>
                <a:gd name="connsiteY763" fmla="*/ 9196 h 10000"/>
                <a:gd name="connsiteX764" fmla="*/ 207 w 10000"/>
                <a:gd name="connsiteY764" fmla="*/ 9215 h 10000"/>
                <a:gd name="connsiteX765" fmla="*/ 227 w 10000"/>
                <a:gd name="connsiteY765" fmla="*/ 9233 h 10000"/>
                <a:gd name="connsiteX766" fmla="*/ 253 w 10000"/>
                <a:gd name="connsiteY766" fmla="*/ 9250 h 10000"/>
                <a:gd name="connsiteX767" fmla="*/ 303 w 10000"/>
                <a:gd name="connsiteY767" fmla="*/ 9282 h 10000"/>
                <a:gd name="connsiteX768" fmla="*/ 351 w 10000"/>
                <a:gd name="connsiteY768" fmla="*/ 9315 h 10000"/>
                <a:gd name="connsiteX769" fmla="*/ 414 w 10000"/>
                <a:gd name="connsiteY769" fmla="*/ 9364 h 10000"/>
                <a:gd name="connsiteX770" fmla="*/ 480 w 10000"/>
                <a:gd name="connsiteY770" fmla="*/ 9416 h 10000"/>
                <a:gd name="connsiteX771" fmla="*/ 513 w 10000"/>
                <a:gd name="connsiteY771" fmla="*/ 9437 h 10000"/>
                <a:gd name="connsiteX772" fmla="*/ 548 w 10000"/>
                <a:gd name="connsiteY772" fmla="*/ 9462 h 10000"/>
                <a:gd name="connsiteX773" fmla="*/ 581 w 10000"/>
                <a:gd name="connsiteY773" fmla="*/ 9483 h 10000"/>
                <a:gd name="connsiteX774" fmla="*/ 614 w 10000"/>
                <a:gd name="connsiteY774" fmla="*/ 9502 h 10000"/>
                <a:gd name="connsiteX775" fmla="*/ 641 w 10000"/>
                <a:gd name="connsiteY775" fmla="*/ 9525 h 10000"/>
                <a:gd name="connsiteX776" fmla="*/ 672 w 10000"/>
                <a:gd name="connsiteY776" fmla="*/ 9549 h 10000"/>
                <a:gd name="connsiteX777" fmla="*/ 702 w 10000"/>
                <a:gd name="connsiteY777" fmla="*/ 9568 h 10000"/>
                <a:gd name="connsiteX778" fmla="*/ 737 w 10000"/>
                <a:gd name="connsiteY778" fmla="*/ 9589 h 10000"/>
                <a:gd name="connsiteX779" fmla="*/ 770 w 10000"/>
                <a:gd name="connsiteY779" fmla="*/ 9605 h 10000"/>
                <a:gd name="connsiteX780" fmla="*/ 808 w 10000"/>
                <a:gd name="connsiteY780" fmla="*/ 9617 h 10000"/>
                <a:gd name="connsiteX781" fmla="*/ 843 w 10000"/>
                <a:gd name="connsiteY781" fmla="*/ 9624 h 10000"/>
                <a:gd name="connsiteX782" fmla="*/ 884 w 10000"/>
                <a:gd name="connsiteY782" fmla="*/ 9628 h 10000"/>
                <a:gd name="connsiteX783" fmla="*/ 902 w 10000"/>
                <a:gd name="connsiteY783" fmla="*/ 9628 h 10000"/>
                <a:gd name="connsiteX784" fmla="*/ 914 w 10000"/>
                <a:gd name="connsiteY784" fmla="*/ 9631 h 10000"/>
                <a:gd name="connsiteX785" fmla="*/ 932 w 10000"/>
                <a:gd name="connsiteY785" fmla="*/ 9638 h 10000"/>
                <a:gd name="connsiteX786" fmla="*/ 942 w 10000"/>
                <a:gd name="connsiteY786" fmla="*/ 9642 h 10000"/>
                <a:gd name="connsiteX787" fmla="*/ 967 w 10000"/>
                <a:gd name="connsiteY787" fmla="*/ 9652 h 10000"/>
                <a:gd name="connsiteX788" fmla="*/ 987 w 10000"/>
                <a:gd name="connsiteY788" fmla="*/ 9668 h 10000"/>
                <a:gd name="connsiteX789" fmla="*/ 1005 w 10000"/>
                <a:gd name="connsiteY789" fmla="*/ 9682 h 10000"/>
                <a:gd name="connsiteX790" fmla="*/ 1025 w 10000"/>
                <a:gd name="connsiteY790" fmla="*/ 9698 h 10000"/>
                <a:gd name="connsiteX791" fmla="*/ 1045 w 10000"/>
                <a:gd name="connsiteY791" fmla="*/ 9712 h 10000"/>
                <a:gd name="connsiteX792" fmla="*/ 1073 w 10000"/>
                <a:gd name="connsiteY792" fmla="*/ 9724 h 10000"/>
                <a:gd name="connsiteX793" fmla="*/ 1098 w 10000"/>
                <a:gd name="connsiteY793" fmla="*/ 9738 h 10000"/>
                <a:gd name="connsiteX794" fmla="*/ 1121 w 10000"/>
                <a:gd name="connsiteY794" fmla="*/ 9750 h 10000"/>
                <a:gd name="connsiteX795" fmla="*/ 1141 w 10000"/>
                <a:gd name="connsiteY795" fmla="*/ 9762 h 10000"/>
                <a:gd name="connsiteX796" fmla="*/ 1159 w 10000"/>
                <a:gd name="connsiteY796" fmla="*/ 9776 h 10000"/>
                <a:gd name="connsiteX797" fmla="*/ 1172 w 10000"/>
                <a:gd name="connsiteY797" fmla="*/ 9787 h 10000"/>
                <a:gd name="connsiteX798" fmla="*/ 1182 w 10000"/>
                <a:gd name="connsiteY798" fmla="*/ 9804 h 10000"/>
                <a:gd name="connsiteX799" fmla="*/ 1194 w 10000"/>
                <a:gd name="connsiteY799" fmla="*/ 9818 h 10000"/>
                <a:gd name="connsiteX800" fmla="*/ 1202 w 10000"/>
                <a:gd name="connsiteY800" fmla="*/ 9834 h 10000"/>
                <a:gd name="connsiteX801" fmla="*/ 1212 w 10000"/>
                <a:gd name="connsiteY801" fmla="*/ 9869 h 10000"/>
                <a:gd name="connsiteX802" fmla="*/ 1220 w 10000"/>
                <a:gd name="connsiteY802" fmla="*/ 9906 h 10000"/>
                <a:gd name="connsiteX803" fmla="*/ 1230 w 10000"/>
                <a:gd name="connsiteY803" fmla="*/ 9951 h 10000"/>
                <a:gd name="connsiteX804" fmla="*/ 1237 w 10000"/>
                <a:gd name="connsiteY804" fmla="*/ 10000 h 10000"/>
                <a:gd name="connsiteX805" fmla="*/ 1237 w 10000"/>
                <a:gd name="connsiteY805"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525 w 10000"/>
                <a:gd name="connsiteY697" fmla="*/ 8186 h 10000"/>
                <a:gd name="connsiteX698" fmla="*/ 1500 w 10000"/>
                <a:gd name="connsiteY698" fmla="*/ 8191 h 10000"/>
                <a:gd name="connsiteX699" fmla="*/ 1434 w 10000"/>
                <a:gd name="connsiteY699" fmla="*/ 8223 h 10000"/>
                <a:gd name="connsiteX700" fmla="*/ 1149 w 10000"/>
                <a:gd name="connsiteY700" fmla="*/ 8256 h 10000"/>
                <a:gd name="connsiteX701" fmla="*/ 1139 w 10000"/>
                <a:gd name="connsiteY701" fmla="*/ 8249 h 10000"/>
                <a:gd name="connsiteX702" fmla="*/ 1126 w 10000"/>
                <a:gd name="connsiteY702" fmla="*/ 8240 h 10000"/>
                <a:gd name="connsiteX703" fmla="*/ 1114 w 10000"/>
                <a:gd name="connsiteY703" fmla="*/ 8240 h 10000"/>
                <a:gd name="connsiteX704" fmla="*/ 1091 w 10000"/>
                <a:gd name="connsiteY704" fmla="*/ 8242 h 10000"/>
                <a:gd name="connsiteX705" fmla="*/ 1071 w 10000"/>
                <a:gd name="connsiteY705" fmla="*/ 8252 h 10000"/>
                <a:gd name="connsiteX706" fmla="*/ 1048 w 10000"/>
                <a:gd name="connsiteY706" fmla="*/ 8261 h 10000"/>
                <a:gd name="connsiteX707" fmla="*/ 1030 w 10000"/>
                <a:gd name="connsiteY707" fmla="*/ 8273 h 10000"/>
                <a:gd name="connsiteX708" fmla="*/ 1010 w 10000"/>
                <a:gd name="connsiteY708" fmla="*/ 8287 h 10000"/>
                <a:gd name="connsiteX709" fmla="*/ 995 w 10000"/>
                <a:gd name="connsiteY709" fmla="*/ 8303 h 10000"/>
                <a:gd name="connsiteX710" fmla="*/ 975 w 10000"/>
                <a:gd name="connsiteY710" fmla="*/ 8322 h 10000"/>
                <a:gd name="connsiteX711" fmla="*/ 960 w 10000"/>
                <a:gd name="connsiteY711" fmla="*/ 8343 h 10000"/>
                <a:gd name="connsiteX712" fmla="*/ 927 w 10000"/>
                <a:gd name="connsiteY712" fmla="*/ 8380 h 10000"/>
                <a:gd name="connsiteX713" fmla="*/ 891 w 10000"/>
                <a:gd name="connsiteY713" fmla="*/ 8417 h 10000"/>
                <a:gd name="connsiteX714" fmla="*/ 874 w 10000"/>
                <a:gd name="connsiteY714" fmla="*/ 8436 h 10000"/>
                <a:gd name="connsiteX715" fmla="*/ 859 w 10000"/>
                <a:gd name="connsiteY715" fmla="*/ 8450 h 10000"/>
                <a:gd name="connsiteX716" fmla="*/ 838 w 10000"/>
                <a:gd name="connsiteY716" fmla="*/ 8462 h 10000"/>
                <a:gd name="connsiteX717" fmla="*/ 821 w 10000"/>
                <a:gd name="connsiteY717" fmla="*/ 8476 h 10000"/>
                <a:gd name="connsiteX718" fmla="*/ 742 w 10000"/>
                <a:gd name="connsiteY718" fmla="*/ 8562 h 10000"/>
                <a:gd name="connsiteX719" fmla="*/ 672 w 10000"/>
                <a:gd name="connsiteY719" fmla="*/ 8644 h 10000"/>
                <a:gd name="connsiteX720" fmla="*/ 639 w 10000"/>
                <a:gd name="connsiteY720" fmla="*/ 8684 h 10000"/>
                <a:gd name="connsiteX721" fmla="*/ 609 w 10000"/>
                <a:gd name="connsiteY721" fmla="*/ 8731 h 10000"/>
                <a:gd name="connsiteX722" fmla="*/ 583 w 10000"/>
                <a:gd name="connsiteY722" fmla="*/ 8777 h 10000"/>
                <a:gd name="connsiteX723" fmla="*/ 556 w 10000"/>
                <a:gd name="connsiteY723" fmla="*/ 8831 h 10000"/>
                <a:gd name="connsiteX724" fmla="*/ 545 w 10000"/>
                <a:gd name="connsiteY724" fmla="*/ 8852 h 10000"/>
                <a:gd name="connsiteX725" fmla="*/ 525 w 10000"/>
                <a:gd name="connsiteY725" fmla="*/ 8885 h 10000"/>
                <a:gd name="connsiteX726" fmla="*/ 503 w 10000"/>
                <a:gd name="connsiteY726" fmla="*/ 8925 h 10000"/>
                <a:gd name="connsiteX727" fmla="*/ 480 w 10000"/>
                <a:gd name="connsiteY727" fmla="*/ 8962 h 10000"/>
                <a:gd name="connsiteX728" fmla="*/ 465 w 10000"/>
                <a:gd name="connsiteY728" fmla="*/ 8981 h 10000"/>
                <a:gd name="connsiteX729" fmla="*/ 455 w 10000"/>
                <a:gd name="connsiteY729" fmla="*/ 8993 h 10000"/>
                <a:gd name="connsiteX730" fmla="*/ 444 w 10000"/>
                <a:gd name="connsiteY730" fmla="*/ 9000 h 10000"/>
                <a:gd name="connsiteX731" fmla="*/ 434 w 10000"/>
                <a:gd name="connsiteY731" fmla="*/ 9007 h 10000"/>
                <a:gd name="connsiteX732" fmla="*/ 432 w 10000"/>
                <a:gd name="connsiteY732" fmla="*/ 9007 h 10000"/>
                <a:gd name="connsiteX733" fmla="*/ 429 w 10000"/>
                <a:gd name="connsiteY733" fmla="*/ 9004 h 10000"/>
                <a:gd name="connsiteX734" fmla="*/ 427 w 10000"/>
                <a:gd name="connsiteY734" fmla="*/ 8997 h 10000"/>
                <a:gd name="connsiteX735" fmla="*/ 427 w 10000"/>
                <a:gd name="connsiteY735" fmla="*/ 8993 h 10000"/>
                <a:gd name="connsiteX736" fmla="*/ 424 w 10000"/>
                <a:gd name="connsiteY736" fmla="*/ 8976 h 10000"/>
                <a:gd name="connsiteX737" fmla="*/ 427 w 10000"/>
                <a:gd name="connsiteY737" fmla="*/ 8948 h 10000"/>
                <a:gd name="connsiteX738" fmla="*/ 437 w 10000"/>
                <a:gd name="connsiteY738" fmla="*/ 8913 h 10000"/>
                <a:gd name="connsiteX739" fmla="*/ 455 w 10000"/>
                <a:gd name="connsiteY739" fmla="*/ 8859 h 10000"/>
                <a:gd name="connsiteX740" fmla="*/ 462 w 10000"/>
                <a:gd name="connsiteY740" fmla="*/ 8834 h 10000"/>
                <a:gd name="connsiteX741" fmla="*/ 470 w 10000"/>
                <a:gd name="connsiteY741" fmla="*/ 8810 h 10000"/>
                <a:gd name="connsiteX742" fmla="*/ 472 w 10000"/>
                <a:gd name="connsiteY742" fmla="*/ 8794 h 10000"/>
                <a:gd name="connsiteX743" fmla="*/ 472 w 10000"/>
                <a:gd name="connsiteY743" fmla="*/ 8780 h 10000"/>
                <a:gd name="connsiteX744" fmla="*/ 462 w 10000"/>
                <a:gd name="connsiteY744" fmla="*/ 8784 h 10000"/>
                <a:gd name="connsiteX745" fmla="*/ 452 w 10000"/>
                <a:gd name="connsiteY745" fmla="*/ 8787 h 10000"/>
                <a:gd name="connsiteX746" fmla="*/ 437 w 10000"/>
                <a:gd name="connsiteY746" fmla="*/ 8794 h 10000"/>
                <a:gd name="connsiteX747" fmla="*/ 424 w 10000"/>
                <a:gd name="connsiteY747" fmla="*/ 8803 h 10000"/>
                <a:gd name="connsiteX748" fmla="*/ 394 w 10000"/>
                <a:gd name="connsiteY748" fmla="*/ 8829 h 10000"/>
                <a:gd name="connsiteX749" fmla="*/ 364 w 10000"/>
                <a:gd name="connsiteY749" fmla="*/ 8859 h 10000"/>
                <a:gd name="connsiteX750" fmla="*/ 311 w 10000"/>
                <a:gd name="connsiteY750" fmla="*/ 8922 h 10000"/>
                <a:gd name="connsiteX751" fmla="*/ 268 w 10000"/>
                <a:gd name="connsiteY751" fmla="*/ 8964 h 10000"/>
                <a:gd name="connsiteX752" fmla="*/ 205 w 10000"/>
                <a:gd name="connsiteY752" fmla="*/ 9016 h 10000"/>
                <a:gd name="connsiteX753" fmla="*/ 146 w 10000"/>
                <a:gd name="connsiteY753" fmla="*/ 9053 h 10000"/>
                <a:gd name="connsiteX754" fmla="*/ 139 w 10000"/>
                <a:gd name="connsiteY754" fmla="*/ 9063 h 10000"/>
                <a:gd name="connsiteX755" fmla="*/ 129 w 10000"/>
                <a:gd name="connsiteY755" fmla="*/ 9077 h 10000"/>
                <a:gd name="connsiteX756" fmla="*/ 126 w 10000"/>
                <a:gd name="connsiteY756" fmla="*/ 9086 h 10000"/>
                <a:gd name="connsiteX757" fmla="*/ 126 w 10000"/>
                <a:gd name="connsiteY757" fmla="*/ 9102 h 10000"/>
                <a:gd name="connsiteX758" fmla="*/ 129 w 10000"/>
                <a:gd name="connsiteY758" fmla="*/ 9116 h 10000"/>
                <a:gd name="connsiteX759" fmla="*/ 139 w 10000"/>
                <a:gd name="connsiteY759" fmla="*/ 9135 h 10000"/>
                <a:gd name="connsiteX760" fmla="*/ 149 w 10000"/>
                <a:gd name="connsiteY760" fmla="*/ 9151 h 10000"/>
                <a:gd name="connsiteX761" fmla="*/ 164 w 10000"/>
                <a:gd name="connsiteY761" fmla="*/ 9175 h 10000"/>
                <a:gd name="connsiteX762" fmla="*/ 184 w 10000"/>
                <a:gd name="connsiteY762" fmla="*/ 9196 h 10000"/>
                <a:gd name="connsiteX763" fmla="*/ 207 w 10000"/>
                <a:gd name="connsiteY763" fmla="*/ 9215 h 10000"/>
                <a:gd name="connsiteX764" fmla="*/ 227 w 10000"/>
                <a:gd name="connsiteY764" fmla="*/ 9233 h 10000"/>
                <a:gd name="connsiteX765" fmla="*/ 253 w 10000"/>
                <a:gd name="connsiteY765" fmla="*/ 9250 h 10000"/>
                <a:gd name="connsiteX766" fmla="*/ 303 w 10000"/>
                <a:gd name="connsiteY766" fmla="*/ 9282 h 10000"/>
                <a:gd name="connsiteX767" fmla="*/ 351 w 10000"/>
                <a:gd name="connsiteY767" fmla="*/ 9315 h 10000"/>
                <a:gd name="connsiteX768" fmla="*/ 414 w 10000"/>
                <a:gd name="connsiteY768" fmla="*/ 9364 h 10000"/>
                <a:gd name="connsiteX769" fmla="*/ 480 w 10000"/>
                <a:gd name="connsiteY769" fmla="*/ 9416 h 10000"/>
                <a:gd name="connsiteX770" fmla="*/ 513 w 10000"/>
                <a:gd name="connsiteY770" fmla="*/ 9437 h 10000"/>
                <a:gd name="connsiteX771" fmla="*/ 548 w 10000"/>
                <a:gd name="connsiteY771" fmla="*/ 9462 h 10000"/>
                <a:gd name="connsiteX772" fmla="*/ 581 w 10000"/>
                <a:gd name="connsiteY772" fmla="*/ 9483 h 10000"/>
                <a:gd name="connsiteX773" fmla="*/ 614 w 10000"/>
                <a:gd name="connsiteY773" fmla="*/ 9502 h 10000"/>
                <a:gd name="connsiteX774" fmla="*/ 641 w 10000"/>
                <a:gd name="connsiteY774" fmla="*/ 9525 h 10000"/>
                <a:gd name="connsiteX775" fmla="*/ 672 w 10000"/>
                <a:gd name="connsiteY775" fmla="*/ 9549 h 10000"/>
                <a:gd name="connsiteX776" fmla="*/ 702 w 10000"/>
                <a:gd name="connsiteY776" fmla="*/ 9568 h 10000"/>
                <a:gd name="connsiteX777" fmla="*/ 737 w 10000"/>
                <a:gd name="connsiteY777" fmla="*/ 9589 h 10000"/>
                <a:gd name="connsiteX778" fmla="*/ 770 w 10000"/>
                <a:gd name="connsiteY778" fmla="*/ 9605 h 10000"/>
                <a:gd name="connsiteX779" fmla="*/ 808 w 10000"/>
                <a:gd name="connsiteY779" fmla="*/ 9617 h 10000"/>
                <a:gd name="connsiteX780" fmla="*/ 843 w 10000"/>
                <a:gd name="connsiteY780" fmla="*/ 9624 h 10000"/>
                <a:gd name="connsiteX781" fmla="*/ 884 w 10000"/>
                <a:gd name="connsiteY781" fmla="*/ 9628 h 10000"/>
                <a:gd name="connsiteX782" fmla="*/ 902 w 10000"/>
                <a:gd name="connsiteY782" fmla="*/ 9628 h 10000"/>
                <a:gd name="connsiteX783" fmla="*/ 914 w 10000"/>
                <a:gd name="connsiteY783" fmla="*/ 9631 h 10000"/>
                <a:gd name="connsiteX784" fmla="*/ 932 w 10000"/>
                <a:gd name="connsiteY784" fmla="*/ 9638 h 10000"/>
                <a:gd name="connsiteX785" fmla="*/ 942 w 10000"/>
                <a:gd name="connsiteY785" fmla="*/ 9642 h 10000"/>
                <a:gd name="connsiteX786" fmla="*/ 967 w 10000"/>
                <a:gd name="connsiteY786" fmla="*/ 9652 h 10000"/>
                <a:gd name="connsiteX787" fmla="*/ 987 w 10000"/>
                <a:gd name="connsiteY787" fmla="*/ 9668 h 10000"/>
                <a:gd name="connsiteX788" fmla="*/ 1005 w 10000"/>
                <a:gd name="connsiteY788" fmla="*/ 9682 h 10000"/>
                <a:gd name="connsiteX789" fmla="*/ 1025 w 10000"/>
                <a:gd name="connsiteY789" fmla="*/ 9698 h 10000"/>
                <a:gd name="connsiteX790" fmla="*/ 1045 w 10000"/>
                <a:gd name="connsiteY790" fmla="*/ 9712 h 10000"/>
                <a:gd name="connsiteX791" fmla="*/ 1073 w 10000"/>
                <a:gd name="connsiteY791" fmla="*/ 9724 h 10000"/>
                <a:gd name="connsiteX792" fmla="*/ 1098 w 10000"/>
                <a:gd name="connsiteY792" fmla="*/ 9738 h 10000"/>
                <a:gd name="connsiteX793" fmla="*/ 1121 w 10000"/>
                <a:gd name="connsiteY793" fmla="*/ 9750 h 10000"/>
                <a:gd name="connsiteX794" fmla="*/ 1141 w 10000"/>
                <a:gd name="connsiteY794" fmla="*/ 9762 h 10000"/>
                <a:gd name="connsiteX795" fmla="*/ 1159 w 10000"/>
                <a:gd name="connsiteY795" fmla="*/ 9776 h 10000"/>
                <a:gd name="connsiteX796" fmla="*/ 1172 w 10000"/>
                <a:gd name="connsiteY796" fmla="*/ 9787 h 10000"/>
                <a:gd name="connsiteX797" fmla="*/ 1182 w 10000"/>
                <a:gd name="connsiteY797" fmla="*/ 9804 h 10000"/>
                <a:gd name="connsiteX798" fmla="*/ 1194 w 10000"/>
                <a:gd name="connsiteY798" fmla="*/ 9818 h 10000"/>
                <a:gd name="connsiteX799" fmla="*/ 1202 w 10000"/>
                <a:gd name="connsiteY799" fmla="*/ 9834 h 10000"/>
                <a:gd name="connsiteX800" fmla="*/ 1212 w 10000"/>
                <a:gd name="connsiteY800" fmla="*/ 9869 h 10000"/>
                <a:gd name="connsiteX801" fmla="*/ 1220 w 10000"/>
                <a:gd name="connsiteY801" fmla="*/ 9906 h 10000"/>
                <a:gd name="connsiteX802" fmla="*/ 1230 w 10000"/>
                <a:gd name="connsiteY802" fmla="*/ 9951 h 10000"/>
                <a:gd name="connsiteX803" fmla="*/ 1237 w 10000"/>
                <a:gd name="connsiteY803" fmla="*/ 10000 h 10000"/>
                <a:gd name="connsiteX804" fmla="*/ 1237 w 10000"/>
                <a:gd name="connsiteY80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525 w 10000"/>
                <a:gd name="connsiteY697" fmla="*/ 8186 h 10000"/>
                <a:gd name="connsiteX698" fmla="*/ 1500 w 10000"/>
                <a:gd name="connsiteY698" fmla="*/ 8191 h 10000"/>
                <a:gd name="connsiteX699" fmla="*/ 1149 w 10000"/>
                <a:gd name="connsiteY699" fmla="*/ 8256 h 10000"/>
                <a:gd name="connsiteX700" fmla="*/ 1139 w 10000"/>
                <a:gd name="connsiteY700" fmla="*/ 8249 h 10000"/>
                <a:gd name="connsiteX701" fmla="*/ 1126 w 10000"/>
                <a:gd name="connsiteY701" fmla="*/ 8240 h 10000"/>
                <a:gd name="connsiteX702" fmla="*/ 1114 w 10000"/>
                <a:gd name="connsiteY702" fmla="*/ 8240 h 10000"/>
                <a:gd name="connsiteX703" fmla="*/ 1091 w 10000"/>
                <a:gd name="connsiteY703" fmla="*/ 8242 h 10000"/>
                <a:gd name="connsiteX704" fmla="*/ 1071 w 10000"/>
                <a:gd name="connsiteY704" fmla="*/ 8252 h 10000"/>
                <a:gd name="connsiteX705" fmla="*/ 1048 w 10000"/>
                <a:gd name="connsiteY705" fmla="*/ 8261 h 10000"/>
                <a:gd name="connsiteX706" fmla="*/ 1030 w 10000"/>
                <a:gd name="connsiteY706" fmla="*/ 8273 h 10000"/>
                <a:gd name="connsiteX707" fmla="*/ 1010 w 10000"/>
                <a:gd name="connsiteY707" fmla="*/ 8287 h 10000"/>
                <a:gd name="connsiteX708" fmla="*/ 995 w 10000"/>
                <a:gd name="connsiteY708" fmla="*/ 8303 h 10000"/>
                <a:gd name="connsiteX709" fmla="*/ 975 w 10000"/>
                <a:gd name="connsiteY709" fmla="*/ 8322 h 10000"/>
                <a:gd name="connsiteX710" fmla="*/ 960 w 10000"/>
                <a:gd name="connsiteY710" fmla="*/ 8343 h 10000"/>
                <a:gd name="connsiteX711" fmla="*/ 927 w 10000"/>
                <a:gd name="connsiteY711" fmla="*/ 8380 h 10000"/>
                <a:gd name="connsiteX712" fmla="*/ 891 w 10000"/>
                <a:gd name="connsiteY712" fmla="*/ 8417 h 10000"/>
                <a:gd name="connsiteX713" fmla="*/ 874 w 10000"/>
                <a:gd name="connsiteY713" fmla="*/ 8436 h 10000"/>
                <a:gd name="connsiteX714" fmla="*/ 859 w 10000"/>
                <a:gd name="connsiteY714" fmla="*/ 8450 h 10000"/>
                <a:gd name="connsiteX715" fmla="*/ 838 w 10000"/>
                <a:gd name="connsiteY715" fmla="*/ 8462 h 10000"/>
                <a:gd name="connsiteX716" fmla="*/ 821 w 10000"/>
                <a:gd name="connsiteY716" fmla="*/ 8476 h 10000"/>
                <a:gd name="connsiteX717" fmla="*/ 742 w 10000"/>
                <a:gd name="connsiteY717" fmla="*/ 8562 h 10000"/>
                <a:gd name="connsiteX718" fmla="*/ 672 w 10000"/>
                <a:gd name="connsiteY718" fmla="*/ 8644 h 10000"/>
                <a:gd name="connsiteX719" fmla="*/ 639 w 10000"/>
                <a:gd name="connsiteY719" fmla="*/ 8684 h 10000"/>
                <a:gd name="connsiteX720" fmla="*/ 609 w 10000"/>
                <a:gd name="connsiteY720" fmla="*/ 8731 h 10000"/>
                <a:gd name="connsiteX721" fmla="*/ 583 w 10000"/>
                <a:gd name="connsiteY721" fmla="*/ 8777 h 10000"/>
                <a:gd name="connsiteX722" fmla="*/ 556 w 10000"/>
                <a:gd name="connsiteY722" fmla="*/ 8831 h 10000"/>
                <a:gd name="connsiteX723" fmla="*/ 545 w 10000"/>
                <a:gd name="connsiteY723" fmla="*/ 8852 h 10000"/>
                <a:gd name="connsiteX724" fmla="*/ 525 w 10000"/>
                <a:gd name="connsiteY724" fmla="*/ 8885 h 10000"/>
                <a:gd name="connsiteX725" fmla="*/ 503 w 10000"/>
                <a:gd name="connsiteY725" fmla="*/ 8925 h 10000"/>
                <a:gd name="connsiteX726" fmla="*/ 480 w 10000"/>
                <a:gd name="connsiteY726" fmla="*/ 8962 h 10000"/>
                <a:gd name="connsiteX727" fmla="*/ 465 w 10000"/>
                <a:gd name="connsiteY727" fmla="*/ 8981 h 10000"/>
                <a:gd name="connsiteX728" fmla="*/ 455 w 10000"/>
                <a:gd name="connsiteY728" fmla="*/ 8993 h 10000"/>
                <a:gd name="connsiteX729" fmla="*/ 444 w 10000"/>
                <a:gd name="connsiteY729" fmla="*/ 9000 h 10000"/>
                <a:gd name="connsiteX730" fmla="*/ 434 w 10000"/>
                <a:gd name="connsiteY730" fmla="*/ 9007 h 10000"/>
                <a:gd name="connsiteX731" fmla="*/ 432 w 10000"/>
                <a:gd name="connsiteY731" fmla="*/ 9007 h 10000"/>
                <a:gd name="connsiteX732" fmla="*/ 429 w 10000"/>
                <a:gd name="connsiteY732" fmla="*/ 9004 h 10000"/>
                <a:gd name="connsiteX733" fmla="*/ 427 w 10000"/>
                <a:gd name="connsiteY733" fmla="*/ 8997 h 10000"/>
                <a:gd name="connsiteX734" fmla="*/ 427 w 10000"/>
                <a:gd name="connsiteY734" fmla="*/ 8993 h 10000"/>
                <a:gd name="connsiteX735" fmla="*/ 424 w 10000"/>
                <a:gd name="connsiteY735" fmla="*/ 8976 h 10000"/>
                <a:gd name="connsiteX736" fmla="*/ 427 w 10000"/>
                <a:gd name="connsiteY736" fmla="*/ 8948 h 10000"/>
                <a:gd name="connsiteX737" fmla="*/ 437 w 10000"/>
                <a:gd name="connsiteY737" fmla="*/ 8913 h 10000"/>
                <a:gd name="connsiteX738" fmla="*/ 455 w 10000"/>
                <a:gd name="connsiteY738" fmla="*/ 8859 h 10000"/>
                <a:gd name="connsiteX739" fmla="*/ 462 w 10000"/>
                <a:gd name="connsiteY739" fmla="*/ 8834 h 10000"/>
                <a:gd name="connsiteX740" fmla="*/ 470 w 10000"/>
                <a:gd name="connsiteY740" fmla="*/ 8810 h 10000"/>
                <a:gd name="connsiteX741" fmla="*/ 472 w 10000"/>
                <a:gd name="connsiteY741" fmla="*/ 8794 h 10000"/>
                <a:gd name="connsiteX742" fmla="*/ 472 w 10000"/>
                <a:gd name="connsiteY742" fmla="*/ 8780 h 10000"/>
                <a:gd name="connsiteX743" fmla="*/ 462 w 10000"/>
                <a:gd name="connsiteY743" fmla="*/ 8784 h 10000"/>
                <a:gd name="connsiteX744" fmla="*/ 452 w 10000"/>
                <a:gd name="connsiteY744" fmla="*/ 8787 h 10000"/>
                <a:gd name="connsiteX745" fmla="*/ 437 w 10000"/>
                <a:gd name="connsiteY745" fmla="*/ 8794 h 10000"/>
                <a:gd name="connsiteX746" fmla="*/ 424 w 10000"/>
                <a:gd name="connsiteY746" fmla="*/ 8803 h 10000"/>
                <a:gd name="connsiteX747" fmla="*/ 394 w 10000"/>
                <a:gd name="connsiteY747" fmla="*/ 8829 h 10000"/>
                <a:gd name="connsiteX748" fmla="*/ 364 w 10000"/>
                <a:gd name="connsiteY748" fmla="*/ 8859 h 10000"/>
                <a:gd name="connsiteX749" fmla="*/ 311 w 10000"/>
                <a:gd name="connsiteY749" fmla="*/ 8922 h 10000"/>
                <a:gd name="connsiteX750" fmla="*/ 268 w 10000"/>
                <a:gd name="connsiteY750" fmla="*/ 8964 h 10000"/>
                <a:gd name="connsiteX751" fmla="*/ 205 w 10000"/>
                <a:gd name="connsiteY751" fmla="*/ 9016 h 10000"/>
                <a:gd name="connsiteX752" fmla="*/ 146 w 10000"/>
                <a:gd name="connsiteY752" fmla="*/ 9053 h 10000"/>
                <a:gd name="connsiteX753" fmla="*/ 139 w 10000"/>
                <a:gd name="connsiteY753" fmla="*/ 9063 h 10000"/>
                <a:gd name="connsiteX754" fmla="*/ 129 w 10000"/>
                <a:gd name="connsiteY754" fmla="*/ 9077 h 10000"/>
                <a:gd name="connsiteX755" fmla="*/ 126 w 10000"/>
                <a:gd name="connsiteY755" fmla="*/ 9086 h 10000"/>
                <a:gd name="connsiteX756" fmla="*/ 126 w 10000"/>
                <a:gd name="connsiteY756" fmla="*/ 9102 h 10000"/>
                <a:gd name="connsiteX757" fmla="*/ 129 w 10000"/>
                <a:gd name="connsiteY757" fmla="*/ 9116 h 10000"/>
                <a:gd name="connsiteX758" fmla="*/ 139 w 10000"/>
                <a:gd name="connsiteY758" fmla="*/ 9135 h 10000"/>
                <a:gd name="connsiteX759" fmla="*/ 149 w 10000"/>
                <a:gd name="connsiteY759" fmla="*/ 9151 h 10000"/>
                <a:gd name="connsiteX760" fmla="*/ 164 w 10000"/>
                <a:gd name="connsiteY760" fmla="*/ 9175 h 10000"/>
                <a:gd name="connsiteX761" fmla="*/ 184 w 10000"/>
                <a:gd name="connsiteY761" fmla="*/ 9196 h 10000"/>
                <a:gd name="connsiteX762" fmla="*/ 207 w 10000"/>
                <a:gd name="connsiteY762" fmla="*/ 9215 h 10000"/>
                <a:gd name="connsiteX763" fmla="*/ 227 w 10000"/>
                <a:gd name="connsiteY763" fmla="*/ 9233 h 10000"/>
                <a:gd name="connsiteX764" fmla="*/ 253 w 10000"/>
                <a:gd name="connsiteY764" fmla="*/ 9250 h 10000"/>
                <a:gd name="connsiteX765" fmla="*/ 303 w 10000"/>
                <a:gd name="connsiteY765" fmla="*/ 9282 h 10000"/>
                <a:gd name="connsiteX766" fmla="*/ 351 w 10000"/>
                <a:gd name="connsiteY766" fmla="*/ 9315 h 10000"/>
                <a:gd name="connsiteX767" fmla="*/ 414 w 10000"/>
                <a:gd name="connsiteY767" fmla="*/ 9364 h 10000"/>
                <a:gd name="connsiteX768" fmla="*/ 480 w 10000"/>
                <a:gd name="connsiteY768" fmla="*/ 9416 h 10000"/>
                <a:gd name="connsiteX769" fmla="*/ 513 w 10000"/>
                <a:gd name="connsiteY769" fmla="*/ 9437 h 10000"/>
                <a:gd name="connsiteX770" fmla="*/ 548 w 10000"/>
                <a:gd name="connsiteY770" fmla="*/ 9462 h 10000"/>
                <a:gd name="connsiteX771" fmla="*/ 581 w 10000"/>
                <a:gd name="connsiteY771" fmla="*/ 9483 h 10000"/>
                <a:gd name="connsiteX772" fmla="*/ 614 w 10000"/>
                <a:gd name="connsiteY772" fmla="*/ 9502 h 10000"/>
                <a:gd name="connsiteX773" fmla="*/ 641 w 10000"/>
                <a:gd name="connsiteY773" fmla="*/ 9525 h 10000"/>
                <a:gd name="connsiteX774" fmla="*/ 672 w 10000"/>
                <a:gd name="connsiteY774" fmla="*/ 9549 h 10000"/>
                <a:gd name="connsiteX775" fmla="*/ 702 w 10000"/>
                <a:gd name="connsiteY775" fmla="*/ 9568 h 10000"/>
                <a:gd name="connsiteX776" fmla="*/ 737 w 10000"/>
                <a:gd name="connsiteY776" fmla="*/ 9589 h 10000"/>
                <a:gd name="connsiteX777" fmla="*/ 770 w 10000"/>
                <a:gd name="connsiteY777" fmla="*/ 9605 h 10000"/>
                <a:gd name="connsiteX778" fmla="*/ 808 w 10000"/>
                <a:gd name="connsiteY778" fmla="*/ 9617 h 10000"/>
                <a:gd name="connsiteX779" fmla="*/ 843 w 10000"/>
                <a:gd name="connsiteY779" fmla="*/ 9624 h 10000"/>
                <a:gd name="connsiteX780" fmla="*/ 884 w 10000"/>
                <a:gd name="connsiteY780" fmla="*/ 9628 h 10000"/>
                <a:gd name="connsiteX781" fmla="*/ 902 w 10000"/>
                <a:gd name="connsiteY781" fmla="*/ 9628 h 10000"/>
                <a:gd name="connsiteX782" fmla="*/ 914 w 10000"/>
                <a:gd name="connsiteY782" fmla="*/ 9631 h 10000"/>
                <a:gd name="connsiteX783" fmla="*/ 932 w 10000"/>
                <a:gd name="connsiteY783" fmla="*/ 9638 h 10000"/>
                <a:gd name="connsiteX784" fmla="*/ 942 w 10000"/>
                <a:gd name="connsiteY784" fmla="*/ 9642 h 10000"/>
                <a:gd name="connsiteX785" fmla="*/ 967 w 10000"/>
                <a:gd name="connsiteY785" fmla="*/ 9652 h 10000"/>
                <a:gd name="connsiteX786" fmla="*/ 987 w 10000"/>
                <a:gd name="connsiteY786" fmla="*/ 9668 h 10000"/>
                <a:gd name="connsiteX787" fmla="*/ 1005 w 10000"/>
                <a:gd name="connsiteY787" fmla="*/ 9682 h 10000"/>
                <a:gd name="connsiteX788" fmla="*/ 1025 w 10000"/>
                <a:gd name="connsiteY788" fmla="*/ 9698 h 10000"/>
                <a:gd name="connsiteX789" fmla="*/ 1045 w 10000"/>
                <a:gd name="connsiteY789" fmla="*/ 9712 h 10000"/>
                <a:gd name="connsiteX790" fmla="*/ 1073 w 10000"/>
                <a:gd name="connsiteY790" fmla="*/ 9724 h 10000"/>
                <a:gd name="connsiteX791" fmla="*/ 1098 w 10000"/>
                <a:gd name="connsiteY791" fmla="*/ 9738 h 10000"/>
                <a:gd name="connsiteX792" fmla="*/ 1121 w 10000"/>
                <a:gd name="connsiteY792" fmla="*/ 9750 h 10000"/>
                <a:gd name="connsiteX793" fmla="*/ 1141 w 10000"/>
                <a:gd name="connsiteY793" fmla="*/ 9762 h 10000"/>
                <a:gd name="connsiteX794" fmla="*/ 1159 w 10000"/>
                <a:gd name="connsiteY794" fmla="*/ 9776 h 10000"/>
                <a:gd name="connsiteX795" fmla="*/ 1172 w 10000"/>
                <a:gd name="connsiteY795" fmla="*/ 9787 h 10000"/>
                <a:gd name="connsiteX796" fmla="*/ 1182 w 10000"/>
                <a:gd name="connsiteY796" fmla="*/ 9804 h 10000"/>
                <a:gd name="connsiteX797" fmla="*/ 1194 w 10000"/>
                <a:gd name="connsiteY797" fmla="*/ 9818 h 10000"/>
                <a:gd name="connsiteX798" fmla="*/ 1202 w 10000"/>
                <a:gd name="connsiteY798" fmla="*/ 9834 h 10000"/>
                <a:gd name="connsiteX799" fmla="*/ 1212 w 10000"/>
                <a:gd name="connsiteY799" fmla="*/ 9869 h 10000"/>
                <a:gd name="connsiteX800" fmla="*/ 1220 w 10000"/>
                <a:gd name="connsiteY800" fmla="*/ 9906 h 10000"/>
                <a:gd name="connsiteX801" fmla="*/ 1230 w 10000"/>
                <a:gd name="connsiteY801" fmla="*/ 9951 h 10000"/>
                <a:gd name="connsiteX802" fmla="*/ 1237 w 10000"/>
                <a:gd name="connsiteY802" fmla="*/ 10000 h 10000"/>
                <a:gd name="connsiteX803" fmla="*/ 1237 w 10000"/>
                <a:gd name="connsiteY80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525 w 10000"/>
                <a:gd name="connsiteY697" fmla="*/ 8186 h 10000"/>
                <a:gd name="connsiteX698" fmla="*/ 1149 w 10000"/>
                <a:gd name="connsiteY698" fmla="*/ 8256 h 10000"/>
                <a:gd name="connsiteX699" fmla="*/ 1139 w 10000"/>
                <a:gd name="connsiteY699" fmla="*/ 8249 h 10000"/>
                <a:gd name="connsiteX700" fmla="*/ 1126 w 10000"/>
                <a:gd name="connsiteY700" fmla="*/ 8240 h 10000"/>
                <a:gd name="connsiteX701" fmla="*/ 1114 w 10000"/>
                <a:gd name="connsiteY701" fmla="*/ 8240 h 10000"/>
                <a:gd name="connsiteX702" fmla="*/ 1091 w 10000"/>
                <a:gd name="connsiteY702" fmla="*/ 8242 h 10000"/>
                <a:gd name="connsiteX703" fmla="*/ 1071 w 10000"/>
                <a:gd name="connsiteY703" fmla="*/ 8252 h 10000"/>
                <a:gd name="connsiteX704" fmla="*/ 1048 w 10000"/>
                <a:gd name="connsiteY704" fmla="*/ 8261 h 10000"/>
                <a:gd name="connsiteX705" fmla="*/ 1030 w 10000"/>
                <a:gd name="connsiteY705" fmla="*/ 8273 h 10000"/>
                <a:gd name="connsiteX706" fmla="*/ 1010 w 10000"/>
                <a:gd name="connsiteY706" fmla="*/ 8287 h 10000"/>
                <a:gd name="connsiteX707" fmla="*/ 995 w 10000"/>
                <a:gd name="connsiteY707" fmla="*/ 8303 h 10000"/>
                <a:gd name="connsiteX708" fmla="*/ 975 w 10000"/>
                <a:gd name="connsiteY708" fmla="*/ 8322 h 10000"/>
                <a:gd name="connsiteX709" fmla="*/ 960 w 10000"/>
                <a:gd name="connsiteY709" fmla="*/ 8343 h 10000"/>
                <a:gd name="connsiteX710" fmla="*/ 927 w 10000"/>
                <a:gd name="connsiteY710" fmla="*/ 8380 h 10000"/>
                <a:gd name="connsiteX711" fmla="*/ 891 w 10000"/>
                <a:gd name="connsiteY711" fmla="*/ 8417 h 10000"/>
                <a:gd name="connsiteX712" fmla="*/ 874 w 10000"/>
                <a:gd name="connsiteY712" fmla="*/ 8436 h 10000"/>
                <a:gd name="connsiteX713" fmla="*/ 859 w 10000"/>
                <a:gd name="connsiteY713" fmla="*/ 8450 h 10000"/>
                <a:gd name="connsiteX714" fmla="*/ 838 w 10000"/>
                <a:gd name="connsiteY714" fmla="*/ 8462 h 10000"/>
                <a:gd name="connsiteX715" fmla="*/ 821 w 10000"/>
                <a:gd name="connsiteY715" fmla="*/ 8476 h 10000"/>
                <a:gd name="connsiteX716" fmla="*/ 742 w 10000"/>
                <a:gd name="connsiteY716" fmla="*/ 8562 h 10000"/>
                <a:gd name="connsiteX717" fmla="*/ 672 w 10000"/>
                <a:gd name="connsiteY717" fmla="*/ 8644 h 10000"/>
                <a:gd name="connsiteX718" fmla="*/ 639 w 10000"/>
                <a:gd name="connsiteY718" fmla="*/ 8684 h 10000"/>
                <a:gd name="connsiteX719" fmla="*/ 609 w 10000"/>
                <a:gd name="connsiteY719" fmla="*/ 8731 h 10000"/>
                <a:gd name="connsiteX720" fmla="*/ 583 w 10000"/>
                <a:gd name="connsiteY720" fmla="*/ 8777 h 10000"/>
                <a:gd name="connsiteX721" fmla="*/ 556 w 10000"/>
                <a:gd name="connsiteY721" fmla="*/ 8831 h 10000"/>
                <a:gd name="connsiteX722" fmla="*/ 545 w 10000"/>
                <a:gd name="connsiteY722" fmla="*/ 8852 h 10000"/>
                <a:gd name="connsiteX723" fmla="*/ 525 w 10000"/>
                <a:gd name="connsiteY723" fmla="*/ 8885 h 10000"/>
                <a:gd name="connsiteX724" fmla="*/ 503 w 10000"/>
                <a:gd name="connsiteY724" fmla="*/ 8925 h 10000"/>
                <a:gd name="connsiteX725" fmla="*/ 480 w 10000"/>
                <a:gd name="connsiteY725" fmla="*/ 8962 h 10000"/>
                <a:gd name="connsiteX726" fmla="*/ 465 w 10000"/>
                <a:gd name="connsiteY726" fmla="*/ 8981 h 10000"/>
                <a:gd name="connsiteX727" fmla="*/ 455 w 10000"/>
                <a:gd name="connsiteY727" fmla="*/ 8993 h 10000"/>
                <a:gd name="connsiteX728" fmla="*/ 444 w 10000"/>
                <a:gd name="connsiteY728" fmla="*/ 9000 h 10000"/>
                <a:gd name="connsiteX729" fmla="*/ 434 w 10000"/>
                <a:gd name="connsiteY729" fmla="*/ 9007 h 10000"/>
                <a:gd name="connsiteX730" fmla="*/ 432 w 10000"/>
                <a:gd name="connsiteY730" fmla="*/ 9007 h 10000"/>
                <a:gd name="connsiteX731" fmla="*/ 429 w 10000"/>
                <a:gd name="connsiteY731" fmla="*/ 9004 h 10000"/>
                <a:gd name="connsiteX732" fmla="*/ 427 w 10000"/>
                <a:gd name="connsiteY732" fmla="*/ 8997 h 10000"/>
                <a:gd name="connsiteX733" fmla="*/ 427 w 10000"/>
                <a:gd name="connsiteY733" fmla="*/ 8993 h 10000"/>
                <a:gd name="connsiteX734" fmla="*/ 424 w 10000"/>
                <a:gd name="connsiteY734" fmla="*/ 8976 h 10000"/>
                <a:gd name="connsiteX735" fmla="*/ 427 w 10000"/>
                <a:gd name="connsiteY735" fmla="*/ 8948 h 10000"/>
                <a:gd name="connsiteX736" fmla="*/ 437 w 10000"/>
                <a:gd name="connsiteY736" fmla="*/ 8913 h 10000"/>
                <a:gd name="connsiteX737" fmla="*/ 455 w 10000"/>
                <a:gd name="connsiteY737" fmla="*/ 8859 h 10000"/>
                <a:gd name="connsiteX738" fmla="*/ 462 w 10000"/>
                <a:gd name="connsiteY738" fmla="*/ 8834 h 10000"/>
                <a:gd name="connsiteX739" fmla="*/ 470 w 10000"/>
                <a:gd name="connsiteY739" fmla="*/ 8810 h 10000"/>
                <a:gd name="connsiteX740" fmla="*/ 472 w 10000"/>
                <a:gd name="connsiteY740" fmla="*/ 8794 h 10000"/>
                <a:gd name="connsiteX741" fmla="*/ 472 w 10000"/>
                <a:gd name="connsiteY741" fmla="*/ 8780 h 10000"/>
                <a:gd name="connsiteX742" fmla="*/ 462 w 10000"/>
                <a:gd name="connsiteY742" fmla="*/ 8784 h 10000"/>
                <a:gd name="connsiteX743" fmla="*/ 452 w 10000"/>
                <a:gd name="connsiteY743" fmla="*/ 8787 h 10000"/>
                <a:gd name="connsiteX744" fmla="*/ 437 w 10000"/>
                <a:gd name="connsiteY744" fmla="*/ 8794 h 10000"/>
                <a:gd name="connsiteX745" fmla="*/ 424 w 10000"/>
                <a:gd name="connsiteY745" fmla="*/ 8803 h 10000"/>
                <a:gd name="connsiteX746" fmla="*/ 394 w 10000"/>
                <a:gd name="connsiteY746" fmla="*/ 8829 h 10000"/>
                <a:gd name="connsiteX747" fmla="*/ 364 w 10000"/>
                <a:gd name="connsiteY747" fmla="*/ 8859 h 10000"/>
                <a:gd name="connsiteX748" fmla="*/ 311 w 10000"/>
                <a:gd name="connsiteY748" fmla="*/ 8922 h 10000"/>
                <a:gd name="connsiteX749" fmla="*/ 268 w 10000"/>
                <a:gd name="connsiteY749" fmla="*/ 8964 h 10000"/>
                <a:gd name="connsiteX750" fmla="*/ 205 w 10000"/>
                <a:gd name="connsiteY750" fmla="*/ 9016 h 10000"/>
                <a:gd name="connsiteX751" fmla="*/ 146 w 10000"/>
                <a:gd name="connsiteY751" fmla="*/ 9053 h 10000"/>
                <a:gd name="connsiteX752" fmla="*/ 139 w 10000"/>
                <a:gd name="connsiteY752" fmla="*/ 9063 h 10000"/>
                <a:gd name="connsiteX753" fmla="*/ 129 w 10000"/>
                <a:gd name="connsiteY753" fmla="*/ 9077 h 10000"/>
                <a:gd name="connsiteX754" fmla="*/ 126 w 10000"/>
                <a:gd name="connsiteY754" fmla="*/ 9086 h 10000"/>
                <a:gd name="connsiteX755" fmla="*/ 126 w 10000"/>
                <a:gd name="connsiteY755" fmla="*/ 9102 h 10000"/>
                <a:gd name="connsiteX756" fmla="*/ 129 w 10000"/>
                <a:gd name="connsiteY756" fmla="*/ 9116 h 10000"/>
                <a:gd name="connsiteX757" fmla="*/ 139 w 10000"/>
                <a:gd name="connsiteY757" fmla="*/ 9135 h 10000"/>
                <a:gd name="connsiteX758" fmla="*/ 149 w 10000"/>
                <a:gd name="connsiteY758" fmla="*/ 9151 h 10000"/>
                <a:gd name="connsiteX759" fmla="*/ 164 w 10000"/>
                <a:gd name="connsiteY759" fmla="*/ 9175 h 10000"/>
                <a:gd name="connsiteX760" fmla="*/ 184 w 10000"/>
                <a:gd name="connsiteY760" fmla="*/ 9196 h 10000"/>
                <a:gd name="connsiteX761" fmla="*/ 207 w 10000"/>
                <a:gd name="connsiteY761" fmla="*/ 9215 h 10000"/>
                <a:gd name="connsiteX762" fmla="*/ 227 w 10000"/>
                <a:gd name="connsiteY762" fmla="*/ 9233 h 10000"/>
                <a:gd name="connsiteX763" fmla="*/ 253 w 10000"/>
                <a:gd name="connsiteY763" fmla="*/ 9250 h 10000"/>
                <a:gd name="connsiteX764" fmla="*/ 303 w 10000"/>
                <a:gd name="connsiteY764" fmla="*/ 9282 h 10000"/>
                <a:gd name="connsiteX765" fmla="*/ 351 w 10000"/>
                <a:gd name="connsiteY765" fmla="*/ 9315 h 10000"/>
                <a:gd name="connsiteX766" fmla="*/ 414 w 10000"/>
                <a:gd name="connsiteY766" fmla="*/ 9364 h 10000"/>
                <a:gd name="connsiteX767" fmla="*/ 480 w 10000"/>
                <a:gd name="connsiteY767" fmla="*/ 9416 h 10000"/>
                <a:gd name="connsiteX768" fmla="*/ 513 w 10000"/>
                <a:gd name="connsiteY768" fmla="*/ 9437 h 10000"/>
                <a:gd name="connsiteX769" fmla="*/ 548 w 10000"/>
                <a:gd name="connsiteY769" fmla="*/ 9462 h 10000"/>
                <a:gd name="connsiteX770" fmla="*/ 581 w 10000"/>
                <a:gd name="connsiteY770" fmla="*/ 9483 h 10000"/>
                <a:gd name="connsiteX771" fmla="*/ 614 w 10000"/>
                <a:gd name="connsiteY771" fmla="*/ 9502 h 10000"/>
                <a:gd name="connsiteX772" fmla="*/ 641 w 10000"/>
                <a:gd name="connsiteY772" fmla="*/ 9525 h 10000"/>
                <a:gd name="connsiteX773" fmla="*/ 672 w 10000"/>
                <a:gd name="connsiteY773" fmla="*/ 9549 h 10000"/>
                <a:gd name="connsiteX774" fmla="*/ 702 w 10000"/>
                <a:gd name="connsiteY774" fmla="*/ 9568 h 10000"/>
                <a:gd name="connsiteX775" fmla="*/ 737 w 10000"/>
                <a:gd name="connsiteY775" fmla="*/ 9589 h 10000"/>
                <a:gd name="connsiteX776" fmla="*/ 770 w 10000"/>
                <a:gd name="connsiteY776" fmla="*/ 9605 h 10000"/>
                <a:gd name="connsiteX777" fmla="*/ 808 w 10000"/>
                <a:gd name="connsiteY777" fmla="*/ 9617 h 10000"/>
                <a:gd name="connsiteX778" fmla="*/ 843 w 10000"/>
                <a:gd name="connsiteY778" fmla="*/ 9624 h 10000"/>
                <a:gd name="connsiteX779" fmla="*/ 884 w 10000"/>
                <a:gd name="connsiteY779" fmla="*/ 9628 h 10000"/>
                <a:gd name="connsiteX780" fmla="*/ 902 w 10000"/>
                <a:gd name="connsiteY780" fmla="*/ 9628 h 10000"/>
                <a:gd name="connsiteX781" fmla="*/ 914 w 10000"/>
                <a:gd name="connsiteY781" fmla="*/ 9631 h 10000"/>
                <a:gd name="connsiteX782" fmla="*/ 932 w 10000"/>
                <a:gd name="connsiteY782" fmla="*/ 9638 h 10000"/>
                <a:gd name="connsiteX783" fmla="*/ 942 w 10000"/>
                <a:gd name="connsiteY783" fmla="*/ 9642 h 10000"/>
                <a:gd name="connsiteX784" fmla="*/ 967 w 10000"/>
                <a:gd name="connsiteY784" fmla="*/ 9652 h 10000"/>
                <a:gd name="connsiteX785" fmla="*/ 987 w 10000"/>
                <a:gd name="connsiteY785" fmla="*/ 9668 h 10000"/>
                <a:gd name="connsiteX786" fmla="*/ 1005 w 10000"/>
                <a:gd name="connsiteY786" fmla="*/ 9682 h 10000"/>
                <a:gd name="connsiteX787" fmla="*/ 1025 w 10000"/>
                <a:gd name="connsiteY787" fmla="*/ 9698 h 10000"/>
                <a:gd name="connsiteX788" fmla="*/ 1045 w 10000"/>
                <a:gd name="connsiteY788" fmla="*/ 9712 h 10000"/>
                <a:gd name="connsiteX789" fmla="*/ 1073 w 10000"/>
                <a:gd name="connsiteY789" fmla="*/ 9724 h 10000"/>
                <a:gd name="connsiteX790" fmla="*/ 1098 w 10000"/>
                <a:gd name="connsiteY790" fmla="*/ 9738 h 10000"/>
                <a:gd name="connsiteX791" fmla="*/ 1121 w 10000"/>
                <a:gd name="connsiteY791" fmla="*/ 9750 h 10000"/>
                <a:gd name="connsiteX792" fmla="*/ 1141 w 10000"/>
                <a:gd name="connsiteY792" fmla="*/ 9762 h 10000"/>
                <a:gd name="connsiteX793" fmla="*/ 1159 w 10000"/>
                <a:gd name="connsiteY793" fmla="*/ 9776 h 10000"/>
                <a:gd name="connsiteX794" fmla="*/ 1172 w 10000"/>
                <a:gd name="connsiteY794" fmla="*/ 9787 h 10000"/>
                <a:gd name="connsiteX795" fmla="*/ 1182 w 10000"/>
                <a:gd name="connsiteY795" fmla="*/ 9804 h 10000"/>
                <a:gd name="connsiteX796" fmla="*/ 1194 w 10000"/>
                <a:gd name="connsiteY796" fmla="*/ 9818 h 10000"/>
                <a:gd name="connsiteX797" fmla="*/ 1202 w 10000"/>
                <a:gd name="connsiteY797" fmla="*/ 9834 h 10000"/>
                <a:gd name="connsiteX798" fmla="*/ 1212 w 10000"/>
                <a:gd name="connsiteY798" fmla="*/ 9869 h 10000"/>
                <a:gd name="connsiteX799" fmla="*/ 1220 w 10000"/>
                <a:gd name="connsiteY799" fmla="*/ 9906 h 10000"/>
                <a:gd name="connsiteX800" fmla="*/ 1230 w 10000"/>
                <a:gd name="connsiteY800" fmla="*/ 9951 h 10000"/>
                <a:gd name="connsiteX801" fmla="*/ 1237 w 10000"/>
                <a:gd name="connsiteY801" fmla="*/ 10000 h 10000"/>
                <a:gd name="connsiteX802" fmla="*/ 1237 w 10000"/>
                <a:gd name="connsiteY80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149 w 10000"/>
                <a:gd name="connsiteY697" fmla="*/ 8256 h 10000"/>
                <a:gd name="connsiteX698" fmla="*/ 1139 w 10000"/>
                <a:gd name="connsiteY698" fmla="*/ 8249 h 10000"/>
                <a:gd name="connsiteX699" fmla="*/ 1126 w 10000"/>
                <a:gd name="connsiteY699" fmla="*/ 8240 h 10000"/>
                <a:gd name="connsiteX700" fmla="*/ 1114 w 10000"/>
                <a:gd name="connsiteY700" fmla="*/ 8240 h 10000"/>
                <a:gd name="connsiteX701" fmla="*/ 1091 w 10000"/>
                <a:gd name="connsiteY701" fmla="*/ 8242 h 10000"/>
                <a:gd name="connsiteX702" fmla="*/ 1071 w 10000"/>
                <a:gd name="connsiteY702" fmla="*/ 8252 h 10000"/>
                <a:gd name="connsiteX703" fmla="*/ 1048 w 10000"/>
                <a:gd name="connsiteY703" fmla="*/ 8261 h 10000"/>
                <a:gd name="connsiteX704" fmla="*/ 1030 w 10000"/>
                <a:gd name="connsiteY704" fmla="*/ 8273 h 10000"/>
                <a:gd name="connsiteX705" fmla="*/ 1010 w 10000"/>
                <a:gd name="connsiteY705" fmla="*/ 8287 h 10000"/>
                <a:gd name="connsiteX706" fmla="*/ 995 w 10000"/>
                <a:gd name="connsiteY706" fmla="*/ 8303 h 10000"/>
                <a:gd name="connsiteX707" fmla="*/ 975 w 10000"/>
                <a:gd name="connsiteY707" fmla="*/ 8322 h 10000"/>
                <a:gd name="connsiteX708" fmla="*/ 960 w 10000"/>
                <a:gd name="connsiteY708" fmla="*/ 8343 h 10000"/>
                <a:gd name="connsiteX709" fmla="*/ 927 w 10000"/>
                <a:gd name="connsiteY709" fmla="*/ 8380 h 10000"/>
                <a:gd name="connsiteX710" fmla="*/ 891 w 10000"/>
                <a:gd name="connsiteY710" fmla="*/ 8417 h 10000"/>
                <a:gd name="connsiteX711" fmla="*/ 874 w 10000"/>
                <a:gd name="connsiteY711" fmla="*/ 8436 h 10000"/>
                <a:gd name="connsiteX712" fmla="*/ 859 w 10000"/>
                <a:gd name="connsiteY712" fmla="*/ 8450 h 10000"/>
                <a:gd name="connsiteX713" fmla="*/ 838 w 10000"/>
                <a:gd name="connsiteY713" fmla="*/ 8462 h 10000"/>
                <a:gd name="connsiteX714" fmla="*/ 821 w 10000"/>
                <a:gd name="connsiteY714" fmla="*/ 8476 h 10000"/>
                <a:gd name="connsiteX715" fmla="*/ 742 w 10000"/>
                <a:gd name="connsiteY715" fmla="*/ 8562 h 10000"/>
                <a:gd name="connsiteX716" fmla="*/ 672 w 10000"/>
                <a:gd name="connsiteY716" fmla="*/ 8644 h 10000"/>
                <a:gd name="connsiteX717" fmla="*/ 639 w 10000"/>
                <a:gd name="connsiteY717" fmla="*/ 8684 h 10000"/>
                <a:gd name="connsiteX718" fmla="*/ 609 w 10000"/>
                <a:gd name="connsiteY718" fmla="*/ 8731 h 10000"/>
                <a:gd name="connsiteX719" fmla="*/ 583 w 10000"/>
                <a:gd name="connsiteY719" fmla="*/ 8777 h 10000"/>
                <a:gd name="connsiteX720" fmla="*/ 556 w 10000"/>
                <a:gd name="connsiteY720" fmla="*/ 8831 h 10000"/>
                <a:gd name="connsiteX721" fmla="*/ 545 w 10000"/>
                <a:gd name="connsiteY721" fmla="*/ 8852 h 10000"/>
                <a:gd name="connsiteX722" fmla="*/ 525 w 10000"/>
                <a:gd name="connsiteY722" fmla="*/ 8885 h 10000"/>
                <a:gd name="connsiteX723" fmla="*/ 503 w 10000"/>
                <a:gd name="connsiteY723" fmla="*/ 8925 h 10000"/>
                <a:gd name="connsiteX724" fmla="*/ 480 w 10000"/>
                <a:gd name="connsiteY724" fmla="*/ 8962 h 10000"/>
                <a:gd name="connsiteX725" fmla="*/ 465 w 10000"/>
                <a:gd name="connsiteY725" fmla="*/ 8981 h 10000"/>
                <a:gd name="connsiteX726" fmla="*/ 455 w 10000"/>
                <a:gd name="connsiteY726" fmla="*/ 8993 h 10000"/>
                <a:gd name="connsiteX727" fmla="*/ 444 w 10000"/>
                <a:gd name="connsiteY727" fmla="*/ 9000 h 10000"/>
                <a:gd name="connsiteX728" fmla="*/ 434 w 10000"/>
                <a:gd name="connsiteY728" fmla="*/ 9007 h 10000"/>
                <a:gd name="connsiteX729" fmla="*/ 432 w 10000"/>
                <a:gd name="connsiteY729" fmla="*/ 9007 h 10000"/>
                <a:gd name="connsiteX730" fmla="*/ 429 w 10000"/>
                <a:gd name="connsiteY730" fmla="*/ 9004 h 10000"/>
                <a:gd name="connsiteX731" fmla="*/ 427 w 10000"/>
                <a:gd name="connsiteY731" fmla="*/ 8997 h 10000"/>
                <a:gd name="connsiteX732" fmla="*/ 427 w 10000"/>
                <a:gd name="connsiteY732" fmla="*/ 8993 h 10000"/>
                <a:gd name="connsiteX733" fmla="*/ 424 w 10000"/>
                <a:gd name="connsiteY733" fmla="*/ 8976 h 10000"/>
                <a:gd name="connsiteX734" fmla="*/ 427 w 10000"/>
                <a:gd name="connsiteY734" fmla="*/ 8948 h 10000"/>
                <a:gd name="connsiteX735" fmla="*/ 437 w 10000"/>
                <a:gd name="connsiteY735" fmla="*/ 8913 h 10000"/>
                <a:gd name="connsiteX736" fmla="*/ 455 w 10000"/>
                <a:gd name="connsiteY736" fmla="*/ 8859 h 10000"/>
                <a:gd name="connsiteX737" fmla="*/ 462 w 10000"/>
                <a:gd name="connsiteY737" fmla="*/ 8834 h 10000"/>
                <a:gd name="connsiteX738" fmla="*/ 470 w 10000"/>
                <a:gd name="connsiteY738" fmla="*/ 8810 h 10000"/>
                <a:gd name="connsiteX739" fmla="*/ 472 w 10000"/>
                <a:gd name="connsiteY739" fmla="*/ 8794 h 10000"/>
                <a:gd name="connsiteX740" fmla="*/ 472 w 10000"/>
                <a:gd name="connsiteY740" fmla="*/ 8780 h 10000"/>
                <a:gd name="connsiteX741" fmla="*/ 462 w 10000"/>
                <a:gd name="connsiteY741" fmla="*/ 8784 h 10000"/>
                <a:gd name="connsiteX742" fmla="*/ 452 w 10000"/>
                <a:gd name="connsiteY742" fmla="*/ 8787 h 10000"/>
                <a:gd name="connsiteX743" fmla="*/ 437 w 10000"/>
                <a:gd name="connsiteY743" fmla="*/ 8794 h 10000"/>
                <a:gd name="connsiteX744" fmla="*/ 424 w 10000"/>
                <a:gd name="connsiteY744" fmla="*/ 8803 h 10000"/>
                <a:gd name="connsiteX745" fmla="*/ 394 w 10000"/>
                <a:gd name="connsiteY745" fmla="*/ 8829 h 10000"/>
                <a:gd name="connsiteX746" fmla="*/ 364 w 10000"/>
                <a:gd name="connsiteY746" fmla="*/ 8859 h 10000"/>
                <a:gd name="connsiteX747" fmla="*/ 311 w 10000"/>
                <a:gd name="connsiteY747" fmla="*/ 8922 h 10000"/>
                <a:gd name="connsiteX748" fmla="*/ 268 w 10000"/>
                <a:gd name="connsiteY748" fmla="*/ 8964 h 10000"/>
                <a:gd name="connsiteX749" fmla="*/ 205 w 10000"/>
                <a:gd name="connsiteY749" fmla="*/ 9016 h 10000"/>
                <a:gd name="connsiteX750" fmla="*/ 146 w 10000"/>
                <a:gd name="connsiteY750" fmla="*/ 9053 h 10000"/>
                <a:gd name="connsiteX751" fmla="*/ 139 w 10000"/>
                <a:gd name="connsiteY751" fmla="*/ 9063 h 10000"/>
                <a:gd name="connsiteX752" fmla="*/ 129 w 10000"/>
                <a:gd name="connsiteY752" fmla="*/ 9077 h 10000"/>
                <a:gd name="connsiteX753" fmla="*/ 126 w 10000"/>
                <a:gd name="connsiteY753" fmla="*/ 9086 h 10000"/>
                <a:gd name="connsiteX754" fmla="*/ 126 w 10000"/>
                <a:gd name="connsiteY754" fmla="*/ 9102 h 10000"/>
                <a:gd name="connsiteX755" fmla="*/ 129 w 10000"/>
                <a:gd name="connsiteY755" fmla="*/ 9116 h 10000"/>
                <a:gd name="connsiteX756" fmla="*/ 139 w 10000"/>
                <a:gd name="connsiteY756" fmla="*/ 9135 h 10000"/>
                <a:gd name="connsiteX757" fmla="*/ 149 w 10000"/>
                <a:gd name="connsiteY757" fmla="*/ 9151 h 10000"/>
                <a:gd name="connsiteX758" fmla="*/ 164 w 10000"/>
                <a:gd name="connsiteY758" fmla="*/ 9175 h 10000"/>
                <a:gd name="connsiteX759" fmla="*/ 184 w 10000"/>
                <a:gd name="connsiteY759" fmla="*/ 9196 h 10000"/>
                <a:gd name="connsiteX760" fmla="*/ 207 w 10000"/>
                <a:gd name="connsiteY760" fmla="*/ 9215 h 10000"/>
                <a:gd name="connsiteX761" fmla="*/ 227 w 10000"/>
                <a:gd name="connsiteY761" fmla="*/ 9233 h 10000"/>
                <a:gd name="connsiteX762" fmla="*/ 253 w 10000"/>
                <a:gd name="connsiteY762" fmla="*/ 9250 h 10000"/>
                <a:gd name="connsiteX763" fmla="*/ 303 w 10000"/>
                <a:gd name="connsiteY763" fmla="*/ 9282 h 10000"/>
                <a:gd name="connsiteX764" fmla="*/ 351 w 10000"/>
                <a:gd name="connsiteY764" fmla="*/ 9315 h 10000"/>
                <a:gd name="connsiteX765" fmla="*/ 414 w 10000"/>
                <a:gd name="connsiteY765" fmla="*/ 9364 h 10000"/>
                <a:gd name="connsiteX766" fmla="*/ 480 w 10000"/>
                <a:gd name="connsiteY766" fmla="*/ 9416 h 10000"/>
                <a:gd name="connsiteX767" fmla="*/ 513 w 10000"/>
                <a:gd name="connsiteY767" fmla="*/ 9437 h 10000"/>
                <a:gd name="connsiteX768" fmla="*/ 548 w 10000"/>
                <a:gd name="connsiteY768" fmla="*/ 9462 h 10000"/>
                <a:gd name="connsiteX769" fmla="*/ 581 w 10000"/>
                <a:gd name="connsiteY769" fmla="*/ 9483 h 10000"/>
                <a:gd name="connsiteX770" fmla="*/ 614 w 10000"/>
                <a:gd name="connsiteY770" fmla="*/ 9502 h 10000"/>
                <a:gd name="connsiteX771" fmla="*/ 641 w 10000"/>
                <a:gd name="connsiteY771" fmla="*/ 9525 h 10000"/>
                <a:gd name="connsiteX772" fmla="*/ 672 w 10000"/>
                <a:gd name="connsiteY772" fmla="*/ 9549 h 10000"/>
                <a:gd name="connsiteX773" fmla="*/ 702 w 10000"/>
                <a:gd name="connsiteY773" fmla="*/ 9568 h 10000"/>
                <a:gd name="connsiteX774" fmla="*/ 737 w 10000"/>
                <a:gd name="connsiteY774" fmla="*/ 9589 h 10000"/>
                <a:gd name="connsiteX775" fmla="*/ 770 w 10000"/>
                <a:gd name="connsiteY775" fmla="*/ 9605 h 10000"/>
                <a:gd name="connsiteX776" fmla="*/ 808 w 10000"/>
                <a:gd name="connsiteY776" fmla="*/ 9617 h 10000"/>
                <a:gd name="connsiteX777" fmla="*/ 843 w 10000"/>
                <a:gd name="connsiteY777" fmla="*/ 9624 h 10000"/>
                <a:gd name="connsiteX778" fmla="*/ 884 w 10000"/>
                <a:gd name="connsiteY778" fmla="*/ 9628 h 10000"/>
                <a:gd name="connsiteX779" fmla="*/ 902 w 10000"/>
                <a:gd name="connsiteY779" fmla="*/ 9628 h 10000"/>
                <a:gd name="connsiteX780" fmla="*/ 914 w 10000"/>
                <a:gd name="connsiteY780" fmla="*/ 9631 h 10000"/>
                <a:gd name="connsiteX781" fmla="*/ 932 w 10000"/>
                <a:gd name="connsiteY781" fmla="*/ 9638 h 10000"/>
                <a:gd name="connsiteX782" fmla="*/ 942 w 10000"/>
                <a:gd name="connsiteY782" fmla="*/ 9642 h 10000"/>
                <a:gd name="connsiteX783" fmla="*/ 967 w 10000"/>
                <a:gd name="connsiteY783" fmla="*/ 9652 h 10000"/>
                <a:gd name="connsiteX784" fmla="*/ 987 w 10000"/>
                <a:gd name="connsiteY784" fmla="*/ 9668 h 10000"/>
                <a:gd name="connsiteX785" fmla="*/ 1005 w 10000"/>
                <a:gd name="connsiteY785" fmla="*/ 9682 h 10000"/>
                <a:gd name="connsiteX786" fmla="*/ 1025 w 10000"/>
                <a:gd name="connsiteY786" fmla="*/ 9698 h 10000"/>
                <a:gd name="connsiteX787" fmla="*/ 1045 w 10000"/>
                <a:gd name="connsiteY787" fmla="*/ 9712 h 10000"/>
                <a:gd name="connsiteX788" fmla="*/ 1073 w 10000"/>
                <a:gd name="connsiteY788" fmla="*/ 9724 h 10000"/>
                <a:gd name="connsiteX789" fmla="*/ 1098 w 10000"/>
                <a:gd name="connsiteY789" fmla="*/ 9738 h 10000"/>
                <a:gd name="connsiteX790" fmla="*/ 1121 w 10000"/>
                <a:gd name="connsiteY790" fmla="*/ 9750 h 10000"/>
                <a:gd name="connsiteX791" fmla="*/ 1141 w 10000"/>
                <a:gd name="connsiteY791" fmla="*/ 9762 h 10000"/>
                <a:gd name="connsiteX792" fmla="*/ 1159 w 10000"/>
                <a:gd name="connsiteY792" fmla="*/ 9776 h 10000"/>
                <a:gd name="connsiteX793" fmla="*/ 1172 w 10000"/>
                <a:gd name="connsiteY793" fmla="*/ 9787 h 10000"/>
                <a:gd name="connsiteX794" fmla="*/ 1182 w 10000"/>
                <a:gd name="connsiteY794" fmla="*/ 9804 h 10000"/>
                <a:gd name="connsiteX795" fmla="*/ 1194 w 10000"/>
                <a:gd name="connsiteY795" fmla="*/ 9818 h 10000"/>
                <a:gd name="connsiteX796" fmla="*/ 1202 w 10000"/>
                <a:gd name="connsiteY796" fmla="*/ 9834 h 10000"/>
                <a:gd name="connsiteX797" fmla="*/ 1212 w 10000"/>
                <a:gd name="connsiteY797" fmla="*/ 9869 h 10000"/>
                <a:gd name="connsiteX798" fmla="*/ 1220 w 10000"/>
                <a:gd name="connsiteY798" fmla="*/ 9906 h 10000"/>
                <a:gd name="connsiteX799" fmla="*/ 1230 w 10000"/>
                <a:gd name="connsiteY799" fmla="*/ 9951 h 10000"/>
                <a:gd name="connsiteX800" fmla="*/ 1237 w 10000"/>
                <a:gd name="connsiteY800" fmla="*/ 10000 h 10000"/>
                <a:gd name="connsiteX801" fmla="*/ 1237 w 10000"/>
                <a:gd name="connsiteY801"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236 w 10000"/>
                <a:gd name="connsiteY697" fmla="*/ 8181 h 10000"/>
                <a:gd name="connsiteX698" fmla="*/ 1149 w 10000"/>
                <a:gd name="connsiteY698" fmla="*/ 8256 h 10000"/>
                <a:gd name="connsiteX699" fmla="*/ 1139 w 10000"/>
                <a:gd name="connsiteY699" fmla="*/ 8249 h 10000"/>
                <a:gd name="connsiteX700" fmla="*/ 1126 w 10000"/>
                <a:gd name="connsiteY700" fmla="*/ 8240 h 10000"/>
                <a:gd name="connsiteX701" fmla="*/ 1114 w 10000"/>
                <a:gd name="connsiteY701" fmla="*/ 8240 h 10000"/>
                <a:gd name="connsiteX702" fmla="*/ 1091 w 10000"/>
                <a:gd name="connsiteY702" fmla="*/ 8242 h 10000"/>
                <a:gd name="connsiteX703" fmla="*/ 1071 w 10000"/>
                <a:gd name="connsiteY703" fmla="*/ 8252 h 10000"/>
                <a:gd name="connsiteX704" fmla="*/ 1048 w 10000"/>
                <a:gd name="connsiteY704" fmla="*/ 8261 h 10000"/>
                <a:gd name="connsiteX705" fmla="*/ 1030 w 10000"/>
                <a:gd name="connsiteY705" fmla="*/ 8273 h 10000"/>
                <a:gd name="connsiteX706" fmla="*/ 1010 w 10000"/>
                <a:gd name="connsiteY706" fmla="*/ 8287 h 10000"/>
                <a:gd name="connsiteX707" fmla="*/ 995 w 10000"/>
                <a:gd name="connsiteY707" fmla="*/ 8303 h 10000"/>
                <a:gd name="connsiteX708" fmla="*/ 975 w 10000"/>
                <a:gd name="connsiteY708" fmla="*/ 8322 h 10000"/>
                <a:gd name="connsiteX709" fmla="*/ 960 w 10000"/>
                <a:gd name="connsiteY709" fmla="*/ 8343 h 10000"/>
                <a:gd name="connsiteX710" fmla="*/ 927 w 10000"/>
                <a:gd name="connsiteY710" fmla="*/ 8380 h 10000"/>
                <a:gd name="connsiteX711" fmla="*/ 891 w 10000"/>
                <a:gd name="connsiteY711" fmla="*/ 8417 h 10000"/>
                <a:gd name="connsiteX712" fmla="*/ 874 w 10000"/>
                <a:gd name="connsiteY712" fmla="*/ 8436 h 10000"/>
                <a:gd name="connsiteX713" fmla="*/ 859 w 10000"/>
                <a:gd name="connsiteY713" fmla="*/ 8450 h 10000"/>
                <a:gd name="connsiteX714" fmla="*/ 838 w 10000"/>
                <a:gd name="connsiteY714" fmla="*/ 8462 h 10000"/>
                <a:gd name="connsiteX715" fmla="*/ 821 w 10000"/>
                <a:gd name="connsiteY715" fmla="*/ 8476 h 10000"/>
                <a:gd name="connsiteX716" fmla="*/ 742 w 10000"/>
                <a:gd name="connsiteY716" fmla="*/ 8562 h 10000"/>
                <a:gd name="connsiteX717" fmla="*/ 672 w 10000"/>
                <a:gd name="connsiteY717" fmla="*/ 8644 h 10000"/>
                <a:gd name="connsiteX718" fmla="*/ 639 w 10000"/>
                <a:gd name="connsiteY718" fmla="*/ 8684 h 10000"/>
                <a:gd name="connsiteX719" fmla="*/ 609 w 10000"/>
                <a:gd name="connsiteY719" fmla="*/ 8731 h 10000"/>
                <a:gd name="connsiteX720" fmla="*/ 583 w 10000"/>
                <a:gd name="connsiteY720" fmla="*/ 8777 h 10000"/>
                <a:gd name="connsiteX721" fmla="*/ 556 w 10000"/>
                <a:gd name="connsiteY721" fmla="*/ 8831 h 10000"/>
                <a:gd name="connsiteX722" fmla="*/ 545 w 10000"/>
                <a:gd name="connsiteY722" fmla="*/ 8852 h 10000"/>
                <a:gd name="connsiteX723" fmla="*/ 525 w 10000"/>
                <a:gd name="connsiteY723" fmla="*/ 8885 h 10000"/>
                <a:gd name="connsiteX724" fmla="*/ 503 w 10000"/>
                <a:gd name="connsiteY724" fmla="*/ 8925 h 10000"/>
                <a:gd name="connsiteX725" fmla="*/ 480 w 10000"/>
                <a:gd name="connsiteY725" fmla="*/ 8962 h 10000"/>
                <a:gd name="connsiteX726" fmla="*/ 465 w 10000"/>
                <a:gd name="connsiteY726" fmla="*/ 8981 h 10000"/>
                <a:gd name="connsiteX727" fmla="*/ 455 w 10000"/>
                <a:gd name="connsiteY727" fmla="*/ 8993 h 10000"/>
                <a:gd name="connsiteX728" fmla="*/ 444 w 10000"/>
                <a:gd name="connsiteY728" fmla="*/ 9000 h 10000"/>
                <a:gd name="connsiteX729" fmla="*/ 434 w 10000"/>
                <a:gd name="connsiteY729" fmla="*/ 9007 h 10000"/>
                <a:gd name="connsiteX730" fmla="*/ 432 w 10000"/>
                <a:gd name="connsiteY730" fmla="*/ 9007 h 10000"/>
                <a:gd name="connsiteX731" fmla="*/ 429 w 10000"/>
                <a:gd name="connsiteY731" fmla="*/ 9004 h 10000"/>
                <a:gd name="connsiteX732" fmla="*/ 427 w 10000"/>
                <a:gd name="connsiteY732" fmla="*/ 8997 h 10000"/>
                <a:gd name="connsiteX733" fmla="*/ 427 w 10000"/>
                <a:gd name="connsiteY733" fmla="*/ 8993 h 10000"/>
                <a:gd name="connsiteX734" fmla="*/ 424 w 10000"/>
                <a:gd name="connsiteY734" fmla="*/ 8976 h 10000"/>
                <a:gd name="connsiteX735" fmla="*/ 427 w 10000"/>
                <a:gd name="connsiteY735" fmla="*/ 8948 h 10000"/>
                <a:gd name="connsiteX736" fmla="*/ 437 w 10000"/>
                <a:gd name="connsiteY736" fmla="*/ 8913 h 10000"/>
                <a:gd name="connsiteX737" fmla="*/ 455 w 10000"/>
                <a:gd name="connsiteY737" fmla="*/ 8859 h 10000"/>
                <a:gd name="connsiteX738" fmla="*/ 462 w 10000"/>
                <a:gd name="connsiteY738" fmla="*/ 8834 h 10000"/>
                <a:gd name="connsiteX739" fmla="*/ 470 w 10000"/>
                <a:gd name="connsiteY739" fmla="*/ 8810 h 10000"/>
                <a:gd name="connsiteX740" fmla="*/ 472 w 10000"/>
                <a:gd name="connsiteY740" fmla="*/ 8794 h 10000"/>
                <a:gd name="connsiteX741" fmla="*/ 472 w 10000"/>
                <a:gd name="connsiteY741" fmla="*/ 8780 h 10000"/>
                <a:gd name="connsiteX742" fmla="*/ 462 w 10000"/>
                <a:gd name="connsiteY742" fmla="*/ 8784 h 10000"/>
                <a:gd name="connsiteX743" fmla="*/ 452 w 10000"/>
                <a:gd name="connsiteY743" fmla="*/ 8787 h 10000"/>
                <a:gd name="connsiteX744" fmla="*/ 437 w 10000"/>
                <a:gd name="connsiteY744" fmla="*/ 8794 h 10000"/>
                <a:gd name="connsiteX745" fmla="*/ 424 w 10000"/>
                <a:gd name="connsiteY745" fmla="*/ 8803 h 10000"/>
                <a:gd name="connsiteX746" fmla="*/ 394 w 10000"/>
                <a:gd name="connsiteY746" fmla="*/ 8829 h 10000"/>
                <a:gd name="connsiteX747" fmla="*/ 364 w 10000"/>
                <a:gd name="connsiteY747" fmla="*/ 8859 h 10000"/>
                <a:gd name="connsiteX748" fmla="*/ 311 w 10000"/>
                <a:gd name="connsiteY748" fmla="*/ 8922 h 10000"/>
                <a:gd name="connsiteX749" fmla="*/ 268 w 10000"/>
                <a:gd name="connsiteY749" fmla="*/ 8964 h 10000"/>
                <a:gd name="connsiteX750" fmla="*/ 205 w 10000"/>
                <a:gd name="connsiteY750" fmla="*/ 9016 h 10000"/>
                <a:gd name="connsiteX751" fmla="*/ 146 w 10000"/>
                <a:gd name="connsiteY751" fmla="*/ 9053 h 10000"/>
                <a:gd name="connsiteX752" fmla="*/ 139 w 10000"/>
                <a:gd name="connsiteY752" fmla="*/ 9063 h 10000"/>
                <a:gd name="connsiteX753" fmla="*/ 129 w 10000"/>
                <a:gd name="connsiteY753" fmla="*/ 9077 h 10000"/>
                <a:gd name="connsiteX754" fmla="*/ 126 w 10000"/>
                <a:gd name="connsiteY754" fmla="*/ 9086 h 10000"/>
                <a:gd name="connsiteX755" fmla="*/ 126 w 10000"/>
                <a:gd name="connsiteY755" fmla="*/ 9102 h 10000"/>
                <a:gd name="connsiteX756" fmla="*/ 129 w 10000"/>
                <a:gd name="connsiteY756" fmla="*/ 9116 h 10000"/>
                <a:gd name="connsiteX757" fmla="*/ 139 w 10000"/>
                <a:gd name="connsiteY757" fmla="*/ 9135 h 10000"/>
                <a:gd name="connsiteX758" fmla="*/ 149 w 10000"/>
                <a:gd name="connsiteY758" fmla="*/ 9151 h 10000"/>
                <a:gd name="connsiteX759" fmla="*/ 164 w 10000"/>
                <a:gd name="connsiteY759" fmla="*/ 9175 h 10000"/>
                <a:gd name="connsiteX760" fmla="*/ 184 w 10000"/>
                <a:gd name="connsiteY760" fmla="*/ 9196 h 10000"/>
                <a:gd name="connsiteX761" fmla="*/ 207 w 10000"/>
                <a:gd name="connsiteY761" fmla="*/ 9215 h 10000"/>
                <a:gd name="connsiteX762" fmla="*/ 227 w 10000"/>
                <a:gd name="connsiteY762" fmla="*/ 9233 h 10000"/>
                <a:gd name="connsiteX763" fmla="*/ 253 w 10000"/>
                <a:gd name="connsiteY763" fmla="*/ 9250 h 10000"/>
                <a:gd name="connsiteX764" fmla="*/ 303 w 10000"/>
                <a:gd name="connsiteY764" fmla="*/ 9282 h 10000"/>
                <a:gd name="connsiteX765" fmla="*/ 351 w 10000"/>
                <a:gd name="connsiteY765" fmla="*/ 9315 h 10000"/>
                <a:gd name="connsiteX766" fmla="*/ 414 w 10000"/>
                <a:gd name="connsiteY766" fmla="*/ 9364 h 10000"/>
                <a:gd name="connsiteX767" fmla="*/ 480 w 10000"/>
                <a:gd name="connsiteY767" fmla="*/ 9416 h 10000"/>
                <a:gd name="connsiteX768" fmla="*/ 513 w 10000"/>
                <a:gd name="connsiteY768" fmla="*/ 9437 h 10000"/>
                <a:gd name="connsiteX769" fmla="*/ 548 w 10000"/>
                <a:gd name="connsiteY769" fmla="*/ 9462 h 10000"/>
                <a:gd name="connsiteX770" fmla="*/ 581 w 10000"/>
                <a:gd name="connsiteY770" fmla="*/ 9483 h 10000"/>
                <a:gd name="connsiteX771" fmla="*/ 614 w 10000"/>
                <a:gd name="connsiteY771" fmla="*/ 9502 h 10000"/>
                <a:gd name="connsiteX772" fmla="*/ 641 w 10000"/>
                <a:gd name="connsiteY772" fmla="*/ 9525 h 10000"/>
                <a:gd name="connsiteX773" fmla="*/ 672 w 10000"/>
                <a:gd name="connsiteY773" fmla="*/ 9549 h 10000"/>
                <a:gd name="connsiteX774" fmla="*/ 702 w 10000"/>
                <a:gd name="connsiteY774" fmla="*/ 9568 h 10000"/>
                <a:gd name="connsiteX775" fmla="*/ 737 w 10000"/>
                <a:gd name="connsiteY775" fmla="*/ 9589 h 10000"/>
                <a:gd name="connsiteX776" fmla="*/ 770 w 10000"/>
                <a:gd name="connsiteY776" fmla="*/ 9605 h 10000"/>
                <a:gd name="connsiteX777" fmla="*/ 808 w 10000"/>
                <a:gd name="connsiteY777" fmla="*/ 9617 h 10000"/>
                <a:gd name="connsiteX778" fmla="*/ 843 w 10000"/>
                <a:gd name="connsiteY778" fmla="*/ 9624 h 10000"/>
                <a:gd name="connsiteX779" fmla="*/ 884 w 10000"/>
                <a:gd name="connsiteY779" fmla="*/ 9628 h 10000"/>
                <a:gd name="connsiteX780" fmla="*/ 902 w 10000"/>
                <a:gd name="connsiteY780" fmla="*/ 9628 h 10000"/>
                <a:gd name="connsiteX781" fmla="*/ 914 w 10000"/>
                <a:gd name="connsiteY781" fmla="*/ 9631 h 10000"/>
                <a:gd name="connsiteX782" fmla="*/ 932 w 10000"/>
                <a:gd name="connsiteY782" fmla="*/ 9638 h 10000"/>
                <a:gd name="connsiteX783" fmla="*/ 942 w 10000"/>
                <a:gd name="connsiteY783" fmla="*/ 9642 h 10000"/>
                <a:gd name="connsiteX784" fmla="*/ 967 w 10000"/>
                <a:gd name="connsiteY784" fmla="*/ 9652 h 10000"/>
                <a:gd name="connsiteX785" fmla="*/ 987 w 10000"/>
                <a:gd name="connsiteY785" fmla="*/ 9668 h 10000"/>
                <a:gd name="connsiteX786" fmla="*/ 1005 w 10000"/>
                <a:gd name="connsiteY786" fmla="*/ 9682 h 10000"/>
                <a:gd name="connsiteX787" fmla="*/ 1025 w 10000"/>
                <a:gd name="connsiteY787" fmla="*/ 9698 h 10000"/>
                <a:gd name="connsiteX788" fmla="*/ 1045 w 10000"/>
                <a:gd name="connsiteY788" fmla="*/ 9712 h 10000"/>
                <a:gd name="connsiteX789" fmla="*/ 1073 w 10000"/>
                <a:gd name="connsiteY789" fmla="*/ 9724 h 10000"/>
                <a:gd name="connsiteX790" fmla="*/ 1098 w 10000"/>
                <a:gd name="connsiteY790" fmla="*/ 9738 h 10000"/>
                <a:gd name="connsiteX791" fmla="*/ 1121 w 10000"/>
                <a:gd name="connsiteY791" fmla="*/ 9750 h 10000"/>
                <a:gd name="connsiteX792" fmla="*/ 1141 w 10000"/>
                <a:gd name="connsiteY792" fmla="*/ 9762 h 10000"/>
                <a:gd name="connsiteX793" fmla="*/ 1159 w 10000"/>
                <a:gd name="connsiteY793" fmla="*/ 9776 h 10000"/>
                <a:gd name="connsiteX794" fmla="*/ 1172 w 10000"/>
                <a:gd name="connsiteY794" fmla="*/ 9787 h 10000"/>
                <a:gd name="connsiteX795" fmla="*/ 1182 w 10000"/>
                <a:gd name="connsiteY795" fmla="*/ 9804 h 10000"/>
                <a:gd name="connsiteX796" fmla="*/ 1194 w 10000"/>
                <a:gd name="connsiteY796" fmla="*/ 9818 h 10000"/>
                <a:gd name="connsiteX797" fmla="*/ 1202 w 10000"/>
                <a:gd name="connsiteY797" fmla="*/ 9834 h 10000"/>
                <a:gd name="connsiteX798" fmla="*/ 1212 w 10000"/>
                <a:gd name="connsiteY798" fmla="*/ 9869 h 10000"/>
                <a:gd name="connsiteX799" fmla="*/ 1220 w 10000"/>
                <a:gd name="connsiteY799" fmla="*/ 9906 h 10000"/>
                <a:gd name="connsiteX800" fmla="*/ 1230 w 10000"/>
                <a:gd name="connsiteY800" fmla="*/ 9951 h 10000"/>
                <a:gd name="connsiteX801" fmla="*/ 1237 w 10000"/>
                <a:gd name="connsiteY801" fmla="*/ 10000 h 10000"/>
                <a:gd name="connsiteX802" fmla="*/ 1237 w 10000"/>
                <a:gd name="connsiteY802"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909 w 10000"/>
                <a:gd name="connsiteY696" fmla="*/ 7359 h 10000"/>
                <a:gd name="connsiteX697" fmla="*/ 1410 w 10000"/>
                <a:gd name="connsiteY697" fmla="*/ 8130 h 10000"/>
                <a:gd name="connsiteX698" fmla="*/ 1236 w 10000"/>
                <a:gd name="connsiteY698" fmla="*/ 8181 h 10000"/>
                <a:gd name="connsiteX699" fmla="*/ 1149 w 10000"/>
                <a:gd name="connsiteY699" fmla="*/ 8256 h 10000"/>
                <a:gd name="connsiteX700" fmla="*/ 1139 w 10000"/>
                <a:gd name="connsiteY700" fmla="*/ 8249 h 10000"/>
                <a:gd name="connsiteX701" fmla="*/ 1126 w 10000"/>
                <a:gd name="connsiteY701" fmla="*/ 8240 h 10000"/>
                <a:gd name="connsiteX702" fmla="*/ 1114 w 10000"/>
                <a:gd name="connsiteY702" fmla="*/ 8240 h 10000"/>
                <a:gd name="connsiteX703" fmla="*/ 1091 w 10000"/>
                <a:gd name="connsiteY703" fmla="*/ 8242 h 10000"/>
                <a:gd name="connsiteX704" fmla="*/ 1071 w 10000"/>
                <a:gd name="connsiteY704" fmla="*/ 8252 h 10000"/>
                <a:gd name="connsiteX705" fmla="*/ 1048 w 10000"/>
                <a:gd name="connsiteY705" fmla="*/ 8261 h 10000"/>
                <a:gd name="connsiteX706" fmla="*/ 1030 w 10000"/>
                <a:gd name="connsiteY706" fmla="*/ 8273 h 10000"/>
                <a:gd name="connsiteX707" fmla="*/ 1010 w 10000"/>
                <a:gd name="connsiteY707" fmla="*/ 8287 h 10000"/>
                <a:gd name="connsiteX708" fmla="*/ 995 w 10000"/>
                <a:gd name="connsiteY708" fmla="*/ 8303 h 10000"/>
                <a:gd name="connsiteX709" fmla="*/ 975 w 10000"/>
                <a:gd name="connsiteY709" fmla="*/ 8322 h 10000"/>
                <a:gd name="connsiteX710" fmla="*/ 960 w 10000"/>
                <a:gd name="connsiteY710" fmla="*/ 8343 h 10000"/>
                <a:gd name="connsiteX711" fmla="*/ 927 w 10000"/>
                <a:gd name="connsiteY711" fmla="*/ 8380 h 10000"/>
                <a:gd name="connsiteX712" fmla="*/ 891 w 10000"/>
                <a:gd name="connsiteY712" fmla="*/ 8417 h 10000"/>
                <a:gd name="connsiteX713" fmla="*/ 874 w 10000"/>
                <a:gd name="connsiteY713" fmla="*/ 8436 h 10000"/>
                <a:gd name="connsiteX714" fmla="*/ 859 w 10000"/>
                <a:gd name="connsiteY714" fmla="*/ 8450 h 10000"/>
                <a:gd name="connsiteX715" fmla="*/ 838 w 10000"/>
                <a:gd name="connsiteY715" fmla="*/ 8462 h 10000"/>
                <a:gd name="connsiteX716" fmla="*/ 821 w 10000"/>
                <a:gd name="connsiteY716" fmla="*/ 8476 h 10000"/>
                <a:gd name="connsiteX717" fmla="*/ 742 w 10000"/>
                <a:gd name="connsiteY717" fmla="*/ 8562 h 10000"/>
                <a:gd name="connsiteX718" fmla="*/ 672 w 10000"/>
                <a:gd name="connsiteY718" fmla="*/ 8644 h 10000"/>
                <a:gd name="connsiteX719" fmla="*/ 639 w 10000"/>
                <a:gd name="connsiteY719" fmla="*/ 8684 h 10000"/>
                <a:gd name="connsiteX720" fmla="*/ 609 w 10000"/>
                <a:gd name="connsiteY720" fmla="*/ 8731 h 10000"/>
                <a:gd name="connsiteX721" fmla="*/ 583 w 10000"/>
                <a:gd name="connsiteY721" fmla="*/ 8777 h 10000"/>
                <a:gd name="connsiteX722" fmla="*/ 556 w 10000"/>
                <a:gd name="connsiteY722" fmla="*/ 8831 h 10000"/>
                <a:gd name="connsiteX723" fmla="*/ 545 w 10000"/>
                <a:gd name="connsiteY723" fmla="*/ 8852 h 10000"/>
                <a:gd name="connsiteX724" fmla="*/ 525 w 10000"/>
                <a:gd name="connsiteY724" fmla="*/ 8885 h 10000"/>
                <a:gd name="connsiteX725" fmla="*/ 503 w 10000"/>
                <a:gd name="connsiteY725" fmla="*/ 8925 h 10000"/>
                <a:gd name="connsiteX726" fmla="*/ 480 w 10000"/>
                <a:gd name="connsiteY726" fmla="*/ 8962 h 10000"/>
                <a:gd name="connsiteX727" fmla="*/ 465 w 10000"/>
                <a:gd name="connsiteY727" fmla="*/ 8981 h 10000"/>
                <a:gd name="connsiteX728" fmla="*/ 455 w 10000"/>
                <a:gd name="connsiteY728" fmla="*/ 8993 h 10000"/>
                <a:gd name="connsiteX729" fmla="*/ 444 w 10000"/>
                <a:gd name="connsiteY729" fmla="*/ 9000 h 10000"/>
                <a:gd name="connsiteX730" fmla="*/ 434 w 10000"/>
                <a:gd name="connsiteY730" fmla="*/ 9007 h 10000"/>
                <a:gd name="connsiteX731" fmla="*/ 432 w 10000"/>
                <a:gd name="connsiteY731" fmla="*/ 9007 h 10000"/>
                <a:gd name="connsiteX732" fmla="*/ 429 w 10000"/>
                <a:gd name="connsiteY732" fmla="*/ 9004 h 10000"/>
                <a:gd name="connsiteX733" fmla="*/ 427 w 10000"/>
                <a:gd name="connsiteY733" fmla="*/ 8997 h 10000"/>
                <a:gd name="connsiteX734" fmla="*/ 427 w 10000"/>
                <a:gd name="connsiteY734" fmla="*/ 8993 h 10000"/>
                <a:gd name="connsiteX735" fmla="*/ 424 w 10000"/>
                <a:gd name="connsiteY735" fmla="*/ 8976 h 10000"/>
                <a:gd name="connsiteX736" fmla="*/ 427 w 10000"/>
                <a:gd name="connsiteY736" fmla="*/ 8948 h 10000"/>
                <a:gd name="connsiteX737" fmla="*/ 437 w 10000"/>
                <a:gd name="connsiteY737" fmla="*/ 8913 h 10000"/>
                <a:gd name="connsiteX738" fmla="*/ 455 w 10000"/>
                <a:gd name="connsiteY738" fmla="*/ 8859 h 10000"/>
                <a:gd name="connsiteX739" fmla="*/ 462 w 10000"/>
                <a:gd name="connsiteY739" fmla="*/ 8834 h 10000"/>
                <a:gd name="connsiteX740" fmla="*/ 470 w 10000"/>
                <a:gd name="connsiteY740" fmla="*/ 8810 h 10000"/>
                <a:gd name="connsiteX741" fmla="*/ 472 w 10000"/>
                <a:gd name="connsiteY741" fmla="*/ 8794 h 10000"/>
                <a:gd name="connsiteX742" fmla="*/ 472 w 10000"/>
                <a:gd name="connsiteY742" fmla="*/ 8780 h 10000"/>
                <a:gd name="connsiteX743" fmla="*/ 462 w 10000"/>
                <a:gd name="connsiteY743" fmla="*/ 8784 h 10000"/>
                <a:gd name="connsiteX744" fmla="*/ 452 w 10000"/>
                <a:gd name="connsiteY744" fmla="*/ 8787 h 10000"/>
                <a:gd name="connsiteX745" fmla="*/ 437 w 10000"/>
                <a:gd name="connsiteY745" fmla="*/ 8794 h 10000"/>
                <a:gd name="connsiteX746" fmla="*/ 424 w 10000"/>
                <a:gd name="connsiteY746" fmla="*/ 8803 h 10000"/>
                <a:gd name="connsiteX747" fmla="*/ 394 w 10000"/>
                <a:gd name="connsiteY747" fmla="*/ 8829 h 10000"/>
                <a:gd name="connsiteX748" fmla="*/ 364 w 10000"/>
                <a:gd name="connsiteY748" fmla="*/ 8859 h 10000"/>
                <a:gd name="connsiteX749" fmla="*/ 311 w 10000"/>
                <a:gd name="connsiteY749" fmla="*/ 8922 h 10000"/>
                <a:gd name="connsiteX750" fmla="*/ 268 w 10000"/>
                <a:gd name="connsiteY750" fmla="*/ 8964 h 10000"/>
                <a:gd name="connsiteX751" fmla="*/ 205 w 10000"/>
                <a:gd name="connsiteY751" fmla="*/ 9016 h 10000"/>
                <a:gd name="connsiteX752" fmla="*/ 146 w 10000"/>
                <a:gd name="connsiteY752" fmla="*/ 9053 h 10000"/>
                <a:gd name="connsiteX753" fmla="*/ 139 w 10000"/>
                <a:gd name="connsiteY753" fmla="*/ 9063 h 10000"/>
                <a:gd name="connsiteX754" fmla="*/ 129 w 10000"/>
                <a:gd name="connsiteY754" fmla="*/ 9077 h 10000"/>
                <a:gd name="connsiteX755" fmla="*/ 126 w 10000"/>
                <a:gd name="connsiteY755" fmla="*/ 9086 h 10000"/>
                <a:gd name="connsiteX756" fmla="*/ 126 w 10000"/>
                <a:gd name="connsiteY756" fmla="*/ 9102 h 10000"/>
                <a:gd name="connsiteX757" fmla="*/ 129 w 10000"/>
                <a:gd name="connsiteY757" fmla="*/ 9116 h 10000"/>
                <a:gd name="connsiteX758" fmla="*/ 139 w 10000"/>
                <a:gd name="connsiteY758" fmla="*/ 9135 h 10000"/>
                <a:gd name="connsiteX759" fmla="*/ 149 w 10000"/>
                <a:gd name="connsiteY759" fmla="*/ 9151 h 10000"/>
                <a:gd name="connsiteX760" fmla="*/ 164 w 10000"/>
                <a:gd name="connsiteY760" fmla="*/ 9175 h 10000"/>
                <a:gd name="connsiteX761" fmla="*/ 184 w 10000"/>
                <a:gd name="connsiteY761" fmla="*/ 9196 h 10000"/>
                <a:gd name="connsiteX762" fmla="*/ 207 w 10000"/>
                <a:gd name="connsiteY762" fmla="*/ 9215 h 10000"/>
                <a:gd name="connsiteX763" fmla="*/ 227 w 10000"/>
                <a:gd name="connsiteY763" fmla="*/ 9233 h 10000"/>
                <a:gd name="connsiteX764" fmla="*/ 253 w 10000"/>
                <a:gd name="connsiteY764" fmla="*/ 9250 h 10000"/>
                <a:gd name="connsiteX765" fmla="*/ 303 w 10000"/>
                <a:gd name="connsiteY765" fmla="*/ 9282 h 10000"/>
                <a:gd name="connsiteX766" fmla="*/ 351 w 10000"/>
                <a:gd name="connsiteY766" fmla="*/ 9315 h 10000"/>
                <a:gd name="connsiteX767" fmla="*/ 414 w 10000"/>
                <a:gd name="connsiteY767" fmla="*/ 9364 h 10000"/>
                <a:gd name="connsiteX768" fmla="*/ 480 w 10000"/>
                <a:gd name="connsiteY768" fmla="*/ 9416 h 10000"/>
                <a:gd name="connsiteX769" fmla="*/ 513 w 10000"/>
                <a:gd name="connsiteY769" fmla="*/ 9437 h 10000"/>
                <a:gd name="connsiteX770" fmla="*/ 548 w 10000"/>
                <a:gd name="connsiteY770" fmla="*/ 9462 h 10000"/>
                <a:gd name="connsiteX771" fmla="*/ 581 w 10000"/>
                <a:gd name="connsiteY771" fmla="*/ 9483 h 10000"/>
                <a:gd name="connsiteX772" fmla="*/ 614 w 10000"/>
                <a:gd name="connsiteY772" fmla="*/ 9502 h 10000"/>
                <a:gd name="connsiteX773" fmla="*/ 641 w 10000"/>
                <a:gd name="connsiteY773" fmla="*/ 9525 h 10000"/>
                <a:gd name="connsiteX774" fmla="*/ 672 w 10000"/>
                <a:gd name="connsiteY774" fmla="*/ 9549 h 10000"/>
                <a:gd name="connsiteX775" fmla="*/ 702 w 10000"/>
                <a:gd name="connsiteY775" fmla="*/ 9568 h 10000"/>
                <a:gd name="connsiteX776" fmla="*/ 737 w 10000"/>
                <a:gd name="connsiteY776" fmla="*/ 9589 h 10000"/>
                <a:gd name="connsiteX777" fmla="*/ 770 w 10000"/>
                <a:gd name="connsiteY777" fmla="*/ 9605 h 10000"/>
                <a:gd name="connsiteX778" fmla="*/ 808 w 10000"/>
                <a:gd name="connsiteY778" fmla="*/ 9617 h 10000"/>
                <a:gd name="connsiteX779" fmla="*/ 843 w 10000"/>
                <a:gd name="connsiteY779" fmla="*/ 9624 h 10000"/>
                <a:gd name="connsiteX780" fmla="*/ 884 w 10000"/>
                <a:gd name="connsiteY780" fmla="*/ 9628 h 10000"/>
                <a:gd name="connsiteX781" fmla="*/ 902 w 10000"/>
                <a:gd name="connsiteY781" fmla="*/ 9628 h 10000"/>
                <a:gd name="connsiteX782" fmla="*/ 914 w 10000"/>
                <a:gd name="connsiteY782" fmla="*/ 9631 h 10000"/>
                <a:gd name="connsiteX783" fmla="*/ 932 w 10000"/>
                <a:gd name="connsiteY783" fmla="*/ 9638 h 10000"/>
                <a:gd name="connsiteX784" fmla="*/ 942 w 10000"/>
                <a:gd name="connsiteY784" fmla="*/ 9642 h 10000"/>
                <a:gd name="connsiteX785" fmla="*/ 967 w 10000"/>
                <a:gd name="connsiteY785" fmla="*/ 9652 h 10000"/>
                <a:gd name="connsiteX786" fmla="*/ 987 w 10000"/>
                <a:gd name="connsiteY786" fmla="*/ 9668 h 10000"/>
                <a:gd name="connsiteX787" fmla="*/ 1005 w 10000"/>
                <a:gd name="connsiteY787" fmla="*/ 9682 h 10000"/>
                <a:gd name="connsiteX788" fmla="*/ 1025 w 10000"/>
                <a:gd name="connsiteY788" fmla="*/ 9698 h 10000"/>
                <a:gd name="connsiteX789" fmla="*/ 1045 w 10000"/>
                <a:gd name="connsiteY789" fmla="*/ 9712 h 10000"/>
                <a:gd name="connsiteX790" fmla="*/ 1073 w 10000"/>
                <a:gd name="connsiteY790" fmla="*/ 9724 h 10000"/>
                <a:gd name="connsiteX791" fmla="*/ 1098 w 10000"/>
                <a:gd name="connsiteY791" fmla="*/ 9738 h 10000"/>
                <a:gd name="connsiteX792" fmla="*/ 1121 w 10000"/>
                <a:gd name="connsiteY792" fmla="*/ 9750 h 10000"/>
                <a:gd name="connsiteX793" fmla="*/ 1141 w 10000"/>
                <a:gd name="connsiteY793" fmla="*/ 9762 h 10000"/>
                <a:gd name="connsiteX794" fmla="*/ 1159 w 10000"/>
                <a:gd name="connsiteY794" fmla="*/ 9776 h 10000"/>
                <a:gd name="connsiteX795" fmla="*/ 1172 w 10000"/>
                <a:gd name="connsiteY795" fmla="*/ 9787 h 10000"/>
                <a:gd name="connsiteX796" fmla="*/ 1182 w 10000"/>
                <a:gd name="connsiteY796" fmla="*/ 9804 h 10000"/>
                <a:gd name="connsiteX797" fmla="*/ 1194 w 10000"/>
                <a:gd name="connsiteY797" fmla="*/ 9818 h 10000"/>
                <a:gd name="connsiteX798" fmla="*/ 1202 w 10000"/>
                <a:gd name="connsiteY798" fmla="*/ 9834 h 10000"/>
                <a:gd name="connsiteX799" fmla="*/ 1212 w 10000"/>
                <a:gd name="connsiteY799" fmla="*/ 9869 h 10000"/>
                <a:gd name="connsiteX800" fmla="*/ 1220 w 10000"/>
                <a:gd name="connsiteY800" fmla="*/ 9906 h 10000"/>
                <a:gd name="connsiteX801" fmla="*/ 1230 w 10000"/>
                <a:gd name="connsiteY801" fmla="*/ 9951 h 10000"/>
                <a:gd name="connsiteX802" fmla="*/ 1237 w 10000"/>
                <a:gd name="connsiteY802" fmla="*/ 10000 h 10000"/>
                <a:gd name="connsiteX803" fmla="*/ 1237 w 10000"/>
                <a:gd name="connsiteY80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781 w 10000"/>
                <a:gd name="connsiteY696" fmla="*/ 7393 h 10000"/>
                <a:gd name="connsiteX697" fmla="*/ 1410 w 10000"/>
                <a:gd name="connsiteY697" fmla="*/ 8130 h 10000"/>
                <a:gd name="connsiteX698" fmla="*/ 1236 w 10000"/>
                <a:gd name="connsiteY698" fmla="*/ 8181 h 10000"/>
                <a:gd name="connsiteX699" fmla="*/ 1149 w 10000"/>
                <a:gd name="connsiteY699" fmla="*/ 8256 h 10000"/>
                <a:gd name="connsiteX700" fmla="*/ 1139 w 10000"/>
                <a:gd name="connsiteY700" fmla="*/ 8249 h 10000"/>
                <a:gd name="connsiteX701" fmla="*/ 1126 w 10000"/>
                <a:gd name="connsiteY701" fmla="*/ 8240 h 10000"/>
                <a:gd name="connsiteX702" fmla="*/ 1114 w 10000"/>
                <a:gd name="connsiteY702" fmla="*/ 8240 h 10000"/>
                <a:gd name="connsiteX703" fmla="*/ 1091 w 10000"/>
                <a:gd name="connsiteY703" fmla="*/ 8242 h 10000"/>
                <a:gd name="connsiteX704" fmla="*/ 1071 w 10000"/>
                <a:gd name="connsiteY704" fmla="*/ 8252 h 10000"/>
                <a:gd name="connsiteX705" fmla="*/ 1048 w 10000"/>
                <a:gd name="connsiteY705" fmla="*/ 8261 h 10000"/>
                <a:gd name="connsiteX706" fmla="*/ 1030 w 10000"/>
                <a:gd name="connsiteY706" fmla="*/ 8273 h 10000"/>
                <a:gd name="connsiteX707" fmla="*/ 1010 w 10000"/>
                <a:gd name="connsiteY707" fmla="*/ 8287 h 10000"/>
                <a:gd name="connsiteX708" fmla="*/ 995 w 10000"/>
                <a:gd name="connsiteY708" fmla="*/ 8303 h 10000"/>
                <a:gd name="connsiteX709" fmla="*/ 975 w 10000"/>
                <a:gd name="connsiteY709" fmla="*/ 8322 h 10000"/>
                <a:gd name="connsiteX710" fmla="*/ 960 w 10000"/>
                <a:gd name="connsiteY710" fmla="*/ 8343 h 10000"/>
                <a:gd name="connsiteX711" fmla="*/ 927 w 10000"/>
                <a:gd name="connsiteY711" fmla="*/ 8380 h 10000"/>
                <a:gd name="connsiteX712" fmla="*/ 891 w 10000"/>
                <a:gd name="connsiteY712" fmla="*/ 8417 h 10000"/>
                <a:gd name="connsiteX713" fmla="*/ 874 w 10000"/>
                <a:gd name="connsiteY713" fmla="*/ 8436 h 10000"/>
                <a:gd name="connsiteX714" fmla="*/ 859 w 10000"/>
                <a:gd name="connsiteY714" fmla="*/ 8450 h 10000"/>
                <a:gd name="connsiteX715" fmla="*/ 838 w 10000"/>
                <a:gd name="connsiteY715" fmla="*/ 8462 h 10000"/>
                <a:gd name="connsiteX716" fmla="*/ 821 w 10000"/>
                <a:gd name="connsiteY716" fmla="*/ 8476 h 10000"/>
                <a:gd name="connsiteX717" fmla="*/ 742 w 10000"/>
                <a:gd name="connsiteY717" fmla="*/ 8562 h 10000"/>
                <a:gd name="connsiteX718" fmla="*/ 672 w 10000"/>
                <a:gd name="connsiteY718" fmla="*/ 8644 h 10000"/>
                <a:gd name="connsiteX719" fmla="*/ 639 w 10000"/>
                <a:gd name="connsiteY719" fmla="*/ 8684 h 10000"/>
                <a:gd name="connsiteX720" fmla="*/ 609 w 10000"/>
                <a:gd name="connsiteY720" fmla="*/ 8731 h 10000"/>
                <a:gd name="connsiteX721" fmla="*/ 583 w 10000"/>
                <a:gd name="connsiteY721" fmla="*/ 8777 h 10000"/>
                <a:gd name="connsiteX722" fmla="*/ 556 w 10000"/>
                <a:gd name="connsiteY722" fmla="*/ 8831 h 10000"/>
                <a:gd name="connsiteX723" fmla="*/ 545 w 10000"/>
                <a:gd name="connsiteY723" fmla="*/ 8852 h 10000"/>
                <a:gd name="connsiteX724" fmla="*/ 525 w 10000"/>
                <a:gd name="connsiteY724" fmla="*/ 8885 h 10000"/>
                <a:gd name="connsiteX725" fmla="*/ 503 w 10000"/>
                <a:gd name="connsiteY725" fmla="*/ 8925 h 10000"/>
                <a:gd name="connsiteX726" fmla="*/ 480 w 10000"/>
                <a:gd name="connsiteY726" fmla="*/ 8962 h 10000"/>
                <a:gd name="connsiteX727" fmla="*/ 465 w 10000"/>
                <a:gd name="connsiteY727" fmla="*/ 8981 h 10000"/>
                <a:gd name="connsiteX728" fmla="*/ 455 w 10000"/>
                <a:gd name="connsiteY728" fmla="*/ 8993 h 10000"/>
                <a:gd name="connsiteX729" fmla="*/ 444 w 10000"/>
                <a:gd name="connsiteY729" fmla="*/ 9000 h 10000"/>
                <a:gd name="connsiteX730" fmla="*/ 434 w 10000"/>
                <a:gd name="connsiteY730" fmla="*/ 9007 h 10000"/>
                <a:gd name="connsiteX731" fmla="*/ 432 w 10000"/>
                <a:gd name="connsiteY731" fmla="*/ 9007 h 10000"/>
                <a:gd name="connsiteX732" fmla="*/ 429 w 10000"/>
                <a:gd name="connsiteY732" fmla="*/ 9004 h 10000"/>
                <a:gd name="connsiteX733" fmla="*/ 427 w 10000"/>
                <a:gd name="connsiteY733" fmla="*/ 8997 h 10000"/>
                <a:gd name="connsiteX734" fmla="*/ 427 w 10000"/>
                <a:gd name="connsiteY734" fmla="*/ 8993 h 10000"/>
                <a:gd name="connsiteX735" fmla="*/ 424 w 10000"/>
                <a:gd name="connsiteY735" fmla="*/ 8976 h 10000"/>
                <a:gd name="connsiteX736" fmla="*/ 427 w 10000"/>
                <a:gd name="connsiteY736" fmla="*/ 8948 h 10000"/>
                <a:gd name="connsiteX737" fmla="*/ 437 w 10000"/>
                <a:gd name="connsiteY737" fmla="*/ 8913 h 10000"/>
                <a:gd name="connsiteX738" fmla="*/ 455 w 10000"/>
                <a:gd name="connsiteY738" fmla="*/ 8859 h 10000"/>
                <a:gd name="connsiteX739" fmla="*/ 462 w 10000"/>
                <a:gd name="connsiteY739" fmla="*/ 8834 h 10000"/>
                <a:gd name="connsiteX740" fmla="*/ 470 w 10000"/>
                <a:gd name="connsiteY740" fmla="*/ 8810 h 10000"/>
                <a:gd name="connsiteX741" fmla="*/ 472 w 10000"/>
                <a:gd name="connsiteY741" fmla="*/ 8794 h 10000"/>
                <a:gd name="connsiteX742" fmla="*/ 472 w 10000"/>
                <a:gd name="connsiteY742" fmla="*/ 8780 h 10000"/>
                <a:gd name="connsiteX743" fmla="*/ 462 w 10000"/>
                <a:gd name="connsiteY743" fmla="*/ 8784 h 10000"/>
                <a:gd name="connsiteX744" fmla="*/ 452 w 10000"/>
                <a:gd name="connsiteY744" fmla="*/ 8787 h 10000"/>
                <a:gd name="connsiteX745" fmla="*/ 437 w 10000"/>
                <a:gd name="connsiteY745" fmla="*/ 8794 h 10000"/>
                <a:gd name="connsiteX746" fmla="*/ 424 w 10000"/>
                <a:gd name="connsiteY746" fmla="*/ 8803 h 10000"/>
                <a:gd name="connsiteX747" fmla="*/ 394 w 10000"/>
                <a:gd name="connsiteY747" fmla="*/ 8829 h 10000"/>
                <a:gd name="connsiteX748" fmla="*/ 364 w 10000"/>
                <a:gd name="connsiteY748" fmla="*/ 8859 h 10000"/>
                <a:gd name="connsiteX749" fmla="*/ 311 w 10000"/>
                <a:gd name="connsiteY749" fmla="*/ 8922 h 10000"/>
                <a:gd name="connsiteX750" fmla="*/ 268 w 10000"/>
                <a:gd name="connsiteY750" fmla="*/ 8964 h 10000"/>
                <a:gd name="connsiteX751" fmla="*/ 205 w 10000"/>
                <a:gd name="connsiteY751" fmla="*/ 9016 h 10000"/>
                <a:gd name="connsiteX752" fmla="*/ 146 w 10000"/>
                <a:gd name="connsiteY752" fmla="*/ 9053 h 10000"/>
                <a:gd name="connsiteX753" fmla="*/ 139 w 10000"/>
                <a:gd name="connsiteY753" fmla="*/ 9063 h 10000"/>
                <a:gd name="connsiteX754" fmla="*/ 129 w 10000"/>
                <a:gd name="connsiteY754" fmla="*/ 9077 h 10000"/>
                <a:gd name="connsiteX755" fmla="*/ 126 w 10000"/>
                <a:gd name="connsiteY755" fmla="*/ 9086 h 10000"/>
                <a:gd name="connsiteX756" fmla="*/ 126 w 10000"/>
                <a:gd name="connsiteY756" fmla="*/ 9102 h 10000"/>
                <a:gd name="connsiteX757" fmla="*/ 129 w 10000"/>
                <a:gd name="connsiteY757" fmla="*/ 9116 h 10000"/>
                <a:gd name="connsiteX758" fmla="*/ 139 w 10000"/>
                <a:gd name="connsiteY758" fmla="*/ 9135 h 10000"/>
                <a:gd name="connsiteX759" fmla="*/ 149 w 10000"/>
                <a:gd name="connsiteY759" fmla="*/ 9151 h 10000"/>
                <a:gd name="connsiteX760" fmla="*/ 164 w 10000"/>
                <a:gd name="connsiteY760" fmla="*/ 9175 h 10000"/>
                <a:gd name="connsiteX761" fmla="*/ 184 w 10000"/>
                <a:gd name="connsiteY761" fmla="*/ 9196 h 10000"/>
                <a:gd name="connsiteX762" fmla="*/ 207 w 10000"/>
                <a:gd name="connsiteY762" fmla="*/ 9215 h 10000"/>
                <a:gd name="connsiteX763" fmla="*/ 227 w 10000"/>
                <a:gd name="connsiteY763" fmla="*/ 9233 h 10000"/>
                <a:gd name="connsiteX764" fmla="*/ 253 w 10000"/>
                <a:gd name="connsiteY764" fmla="*/ 9250 h 10000"/>
                <a:gd name="connsiteX765" fmla="*/ 303 w 10000"/>
                <a:gd name="connsiteY765" fmla="*/ 9282 h 10000"/>
                <a:gd name="connsiteX766" fmla="*/ 351 w 10000"/>
                <a:gd name="connsiteY766" fmla="*/ 9315 h 10000"/>
                <a:gd name="connsiteX767" fmla="*/ 414 w 10000"/>
                <a:gd name="connsiteY767" fmla="*/ 9364 h 10000"/>
                <a:gd name="connsiteX768" fmla="*/ 480 w 10000"/>
                <a:gd name="connsiteY768" fmla="*/ 9416 h 10000"/>
                <a:gd name="connsiteX769" fmla="*/ 513 w 10000"/>
                <a:gd name="connsiteY769" fmla="*/ 9437 h 10000"/>
                <a:gd name="connsiteX770" fmla="*/ 548 w 10000"/>
                <a:gd name="connsiteY770" fmla="*/ 9462 h 10000"/>
                <a:gd name="connsiteX771" fmla="*/ 581 w 10000"/>
                <a:gd name="connsiteY771" fmla="*/ 9483 h 10000"/>
                <a:gd name="connsiteX772" fmla="*/ 614 w 10000"/>
                <a:gd name="connsiteY772" fmla="*/ 9502 h 10000"/>
                <a:gd name="connsiteX773" fmla="*/ 641 w 10000"/>
                <a:gd name="connsiteY773" fmla="*/ 9525 h 10000"/>
                <a:gd name="connsiteX774" fmla="*/ 672 w 10000"/>
                <a:gd name="connsiteY774" fmla="*/ 9549 h 10000"/>
                <a:gd name="connsiteX775" fmla="*/ 702 w 10000"/>
                <a:gd name="connsiteY775" fmla="*/ 9568 h 10000"/>
                <a:gd name="connsiteX776" fmla="*/ 737 w 10000"/>
                <a:gd name="connsiteY776" fmla="*/ 9589 h 10000"/>
                <a:gd name="connsiteX777" fmla="*/ 770 w 10000"/>
                <a:gd name="connsiteY777" fmla="*/ 9605 h 10000"/>
                <a:gd name="connsiteX778" fmla="*/ 808 w 10000"/>
                <a:gd name="connsiteY778" fmla="*/ 9617 h 10000"/>
                <a:gd name="connsiteX779" fmla="*/ 843 w 10000"/>
                <a:gd name="connsiteY779" fmla="*/ 9624 h 10000"/>
                <a:gd name="connsiteX780" fmla="*/ 884 w 10000"/>
                <a:gd name="connsiteY780" fmla="*/ 9628 h 10000"/>
                <a:gd name="connsiteX781" fmla="*/ 902 w 10000"/>
                <a:gd name="connsiteY781" fmla="*/ 9628 h 10000"/>
                <a:gd name="connsiteX782" fmla="*/ 914 w 10000"/>
                <a:gd name="connsiteY782" fmla="*/ 9631 h 10000"/>
                <a:gd name="connsiteX783" fmla="*/ 932 w 10000"/>
                <a:gd name="connsiteY783" fmla="*/ 9638 h 10000"/>
                <a:gd name="connsiteX784" fmla="*/ 942 w 10000"/>
                <a:gd name="connsiteY784" fmla="*/ 9642 h 10000"/>
                <a:gd name="connsiteX785" fmla="*/ 967 w 10000"/>
                <a:gd name="connsiteY785" fmla="*/ 9652 h 10000"/>
                <a:gd name="connsiteX786" fmla="*/ 987 w 10000"/>
                <a:gd name="connsiteY786" fmla="*/ 9668 h 10000"/>
                <a:gd name="connsiteX787" fmla="*/ 1005 w 10000"/>
                <a:gd name="connsiteY787" fmla="*/ 9682 h 10000"/>
                <a:gd name="connsiteX788" fmla="*/ 1025 w 10000"/>
                <a:gd name="connsiteY788" fmla="*/ 9698 h 10000"/>
                <a:gd name="connsiteX789" fmla="*/ 1045 w 10000"/>
                <a:gd name="connsiteY789" fmla="*/ 9712 h 10000"/>
                <a:gd name="connsiteX790" fmla="*/ 1073 w 10000"/>
                <a:gd name="connsiteY790" fmla="*/ 9724 h 10000"/>
                <a:gd name="connsiteX791" fmla="*/ 1098 w 10000"/>
                <a:gd name="connsiteY791" fmla="*/ 9738 h 10000"/>
                <a:gd name="connsiteX792" fmla="*/ 1121 w 10000"/>
                <a:gd name="connsiteY792" fmla="*/ 9750 h 10000"/>
                <a:gd name="connsiteX793" fmla="*/ 1141 w 10000"/>
                <a:gd name="connsiteY793" fmla="*/ 9762 h 10000"/>
                <a:gd name="connsiteX794" fmla="*/ 1159 w 10000"/>
                <a:gd name="connsiteY794" fmla="*/ 9776 h 10000"/>
                <a:gd name="connsiteX795" fmla="*/ 1172 w 10000"/>
                <a:gd name="connsiteY795" fmla="*/ 9787 h 10000"/>
                <a:gd name="connsiteX796" fmla="*/ 1182 w 10000"/>
                <a:gd name="connsiteY796" fmla="*/ 9804 h 10000"/>
                <a:gd name="connsiteX797" fmla="*/ 1194 w 10000"/>
                <a:gd name="connsiteY797" fmla="*/ 9818 h 10000"/>
                <a:gd name="connsiteX798" fmla="*/ 1202 w 10000"/>
                <a:gd name="connsiteY798" fmla="*/ 9834 h 10000"/>
                <a:gd name="connsiteX799" fmla="*/ 1212 w 10000"/>
                <a:gd name="connsiteY799" fmla="*/ 9869 h 10000"/>
                <a:gd name="connsiteX800" fmla="*/ 1220 w 10000"/>
                <a:gd name="connsiteY800" fmla="*/ 9906 h 10000"/>
                <a:gd name="connsiteX801" fmla="*/ 1230 w 10000"/>
                <a:gd name="connsiteY801" fmla="*/ 9951 h 10000"/>
                <a:gd name="connsiteX802" fmla="*/ 1237 w 10000"/>
                <a:gd name="connsiteY802" fmla="*/ 10000 h 10000"/>
                <a:gd name="connsiteX803" fmla="*/ 1237 w 10000"/>
                <a:gd name="connsiteY803"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781 w 10000"/>
                <a:gd name="connsiteY696" fmla="*/ 7393 h 10000"/>
                <a:gd name="connsiteX697" fmla="*/ 1739 w 10000"/>
                <a:gd name="connsiteY697" fmla="*/ 7577 h 10000"/>
                <a:gd name="connsiteX698" fmla="*/ 1410 w 10000"/>
                <a:gd name="connsiteY698" fmla="*/ 8130 h 10000"/>
                <a:gd name="connsiteX699" fmla="*/ 1236 w 10000"/>
                <a:gd name="connsiteY699" fmla="*/ 8181 h 10000"/>
                <a:gd name="connsiteX700" fmla="*/ 1149 w 10000"/>
                <a:gd name="connsiteY700" fmla="*/ 8256 h 10000"/>
                <a:gd name="connsiteX701" fmla="*/ 1139 w 10000"/>
                <a:gd name="connsiteY701" fmla="*/ 8249 h 10000"/>
                <a:gd name="connsiteX702" fmla="*/ 1126 w 10000"/>
                <a:gd name="connsiteY702" fmla="*/ 8240 h 10000"/>
                <a:gd name="connsiteX703" fmla="*/ 1114 w 10000"/>
                <a:gd name="connsiteY703" fmla="*/ 8240 h 10000"/>
                <a:gd name="connsiteX704" fmla="*/ 1091 w 10000"/>
                <a:gd name="connsiteY704" fmla="*/ 8242 h 10000"/>
                <a:gd name="connsiteX705" fmla="*/ 1071 w 10000"/>
                <a:gd name="connsiteY705" fmla="*/ 8252 h 10000"/>
                <a:gd name="connsiteX706" fmla="*/ 1048 w 10000"/>
                <a:gd name="connsiteY706" fmla="*/ 8261 h 10000"/>
                <a:gd name="connsiteX707" fmla="*/ 1030 w 10000"/>
                <a:gd name="connsiteY707" fmla="*/ 8273 h 10000"/>
                <a:gd name="connsiteX708" fmla="*/ 1010 w 10000"/>
                <a:gd name="connsiteY708" fmla="*/ 8287 h 10000"/>
                <a:gd name="connsiteX709" fmla="*/ 995 w 10000"/>
                <a:gd name="connsiteY709" fmla="*/ 8303 h 10000"/>
                <a:gd name="connsiteX710" fmla="*/ 975 w 10000"/>
                <a:gd name="connsiteY710" fmla="*/ 8322 h 10000"/>
                <a:gd name="connsiteX711" fmla="*/ 960 w 10000"/>
                <a:gd name="connsiteY711" fmla="*/ 8343 h 10000"/>
                <a:gd name="connsiteX712" fmla="*/ 927 w 10000"/>
                <a:gd name="connsiteY712" fmla="*/ 8380 h 10000"/>
                <a:gd name="connsiteX713" fmla="*/ 891 w 10000"/>
                <a:gd name="connsiteY713" fmla="*/ 8417 h 10000"/>
                <a:gd name="connsiteX714" fmla="*/ 874 w 10000"/>
                <a:gd name="connsiteY714" fmla="*/ 8436 h 10000"/>
                <a:gd name="connsiteX715" fmla="*/ 859 w 10000"/>
                <a:gd name="connsiteY715" fmla="*/ 8450 h 10000"/>
                <a:gd name="connsiteX716" fmla="*/ 838 w 10000"/>
                <a:gd name="connsiteY716" fmla="*/ 8462 h 10000"/>
                <a:gd name="connsiteX717" fmla="*/ 821 w 10000"/>
                <a:gd name="connsiteY717" fmla="*/ 8476 h 10000"/>
                <a:gd name="connsiteX718" fmla="*/ 742 w 10000"/>
                <a:gd name="connsiteY718" fmla="*/ 8562 h 10000"/>
                <a:gd name="connsiteX719" fmla="*/ 672 w 10000"/>
                <a:gd name="connsiteY719" fmla="*/ 8644 h 10000"/>
                <a:gd name="connsiteX720" fmla="*/ 639 w 10000"/>
                <a:gd name="connsiteY720" fmla="*/ 8684 h 10000"/>
                <a:gd name="connsiteX721" fmla="*/ 609 w 10000"/>
                <a:gd name="connsiteY721" fmla="*/ 8731 h 10000"/>
                <a:gd name="connsiteX722" fmla="*/ 583 w 10000"/>
                <a:gd name="connsiteY722" fmla="*/ 8777 h 10000"/>
                <a:gd name="connsiteX723" fmla="*/ 556 w 10000"/>
                <a:gd name="connsiteY723" fmla="*/ 8831 h 10000"/>
                <a:gd name="connsiteX724" fmla="*/ 545 w 10000"/>
                <a:gd name="connsiteY724" fmla="*/ 8852 h 10000"/>
                <a:gd name="connsiteX725" fmla="*/ 525 w 10000"/>
                <a:gd name="connsiteY725" fmla="*/ 8885 h 10000"/>
                <a:gd name="connsiteX726" fmla="*/ 503 w 10000"/>
                <a:gd name="connsiteY726" fmla="*/ 8925 h 10000"/>
                <a:gd name="connsiteX727" fmla="*/ 480 w 10000"/>
                <a:gd name="connsiteY727" fmla="*/ 8962 h 10000"/>
                <a:gd name="connsiteX728" fmla="*/ 465 w 10000"/>
                <a:gd name="connsiteY728" fmla="*/ 8981 h 10000"/>
                <a:gd name="connsiteX729" fmla="*/ 455 w 10000"/>
                <a:gd name="connsiteY729" fmla="*/ 8993 h 10000"/>
                <a:gd name="connsiteX730" fmla="*/ 444 w 10000"/>
                <a:gd name="connsiteY730" fmla="*/ 9000 h 10000"/>
                <a:gd name="connsiteX731" fmla="*/ 434 w 10000"/>
                <a:gd name="connsiteY731" fmla="*/ 9007 h 10000"/>
                <a:gd name="connsiteX732" fmla="*/ 432 w 10000"/>
                <a:gd name="connsiteY732" fmla="*/ 9007 h 10000"/>
                <a:gd name="connsiteX733" fmla="*/ 429 w 10000"/>
                <a:gd name="connsiteY733" fmla="*/ 9004 h 10000"/>
                <a:gd name="connsiteX734" fmla="*/ 427 w 10000"/>
                <a:gd name="connsiteY734" fmla="*/ 8997 h 10000"/>
                <a:gd name="connsiteX735" fmla="*/ 427 w 10000"/>
                <a:gd name="connsiteY735" fmla="*/ 8993 h 10000"/>
                <a:gd name="connsiteX736" fmla="*/ 424 w 10000"/>
                <a:gd name="connsiteY736" fmla="*/ 8976 h 10000"/>
                <a:gd name="connsiteX737" fmla="*/ 427 w 10000"/>
                <a:gd name="connsiteY737" fmla="*/ 8948 h 10000"/>
                <a:gd name="connsiteX738" fmla="*/ 437 w 10000"/>
                <a:gd name="connsiteY738" fmla="*/ 8913 h 10000"/>
                <a:gd name="connsiteX739" fmla="*/ 455 w 10000"/>
                <a:gd name="connsiteY739" fmla="*/ 8859 h 10000"/>
                <a:gd name="connsiteX740" fmla="*/ 462 w 10000"/>
                <a:gd name="connsiteY740" fmla="*/ 8834 h 10000"/>
                <a:gd name="connsiteX741" fmla="*/ 470 w 10000"/>
                <a:gd name="connsiteY741" fmla="*/ 8810 h 10000"/>
                <a:gd name="connsiteX742" fmla="*/ 472 w 10000"/>
                <a:gd name="connsiteY742" fmla="*/ 8794 h 10000"/>
                <a:gd name="connsiteX743" fmla="*/ 472 w 10000"/>
                <a:gd name="connsiteY743" fmla="*/ 8780 h 10000"/>
                <a:gd name="connsiteX744" fmla="*/ 462 w 10000"/>
                <a:gd name="connsiteY744" fmla="*/ 8784 h 10000"/>
                <a:gd name="connsiteX745" fmla="*/ 452 w 10000"/>
                <a:gd name="connsiteY745" fmla="*/ 8787 h 10000"/>
                <a:gd name="connsiteX746" fmla="*/ 437 w 10000"/>
                <a:gd name="connsiteY746" fmla="*/ 8794 h 10000"/>
                <a:gd name="connsiteX747" fmla="*/ 424 w 10000"/>
                <a:gd name="connsiteY747" fmla="*/ 8803 h 10000"/>
                <a:gd name="connsiteX748" fmla="*/ 394 w 10000"/>
                <a:gd name="connsiteY748" fmla="*/ 8829 h 10000"/>
                <a:gd name="connsiteX749" fmla="*/ 364 w 10000"/>
                <a:gd name="connsiteY749" fmla="*/ 8859 h 10000"/>
                <a:gd name="connsiteX750" fmla="*/ 311 w 10000"/>
                <a:gd name="connsiteY750" fmla="*/ 8922 h 10000"/>
                <a:gd name="connsiteX751" fmla="*/ 268 w 10000"/>
                <a:gd name="connsiteY751" fmla="*/ 8964 h 10000"/>
                <a:gd name="connsiteX752" fmla="*/ 205 w 10000"/>
                <a:gd name="connsiteY752" fmla="*/ 9016 h 10000"/>
                <a:gd name="connsiteX753" fmla="*/ 146 w 10000"/>
                <a:gd name="connsiteY753" fmla="*/ 9053 h 10000"/>
                <a:gd name="connsiteX754" fmla="*/ 139 w 10000"/>
                <a:gd name="connsiteY754" fmla="*/ 9063 h 10000"/>
                <a:gd name="connsiteX755" fmla="*/ 129 w 10000"/>
                <a:gd name="connsiteY755" fmla="*/ 9077 h 10000"/>
                <a:gd name="connsiteX756" fmla="*/ 126 w 10000"/>
                <a:gd name="connsiteY756" fmla="*/ 9086 h 10000"/>
                <a:gd name="connsiteX757" fmla="*/ 126 w 10000"/>
                <a:gd name="connsiteY757" fmla="*/ 9102 h 10000"/>
                <a:gd name="connsiteX758" fmla="*/ 129 w 10000"/>
                <a:gd name="connsiteY758" fmla="*/ 9116 h 10000"/>
                <a:gd name="connsiteX759" fmla="*/ 139 w 10000"/>
                <a:gd name="connsiteY759" fmla="*/ 9135 h 10000"/>
                <a:gd name="connsiteX760" fmla="*/ 149 w 10000"/>
                <a:gd name="connsiteY760" fmla="*/ 9151 h 10000"/>
                <a:gd name="connsiteX761" fmla="*/ 164 w 10000"/>
                <a:gd name="connsiteY761" fmla="*/ 9175 h 10000"/>
                <a:gd name="connsiteX762" fmla="*/ 184 w 10000"/>
                <a:gd name="connsiteY762" fmla="*/ 9196 h 10000"/>
                <a:gd name="connsiteX763" fmla="*/ 207 w 10000"/>
                <a:gd name="connsiteY763" fmla="*/ 9215 h 10000"/>
                <a:gd name="connsiteX764" fmla="*/ 227 w 10000"/>
                <a:gd name="connsiteY764" fmla="*/ 9233 h 10000"/>
                <a:gd name="connsiteX765" fmla="*/ 253 w 10000"/>
                <a:gd name="connsiteY765" fmla="*/ 9250 h 10000"/>
                <a:gd name="connsiteX766" fmla="*/ 303 w 10000"/>
                <a:gd name="connsiteY766" fmla="*/ 9282 h 10000"/>
                <a:gd name="connsiteX767" fmla="*/ 351 w 10000"/>
                <a:gd name="connsiteY767" fmla="*/ 9315 h 10000"/>
                <a:gd name="connsiteX768" fmla="*/ 414 w 10000"/>
                <a:gd name="connsiteY768" fmla="*/ 9364 h 10000"/>
                <a:gd name="connsiteX769" fmla="*/ 480 w 10000"/>
                <a:gd name="connsiteY769" fmla="*/ 9416 h 10000"/>
                <a:gd name="connsiteX770" fmla="*/ 513 w 10000"/>
                <a:gd name="connsiteY770" fmla="*/ 9437 h 10000"/>
                <a:gd name="connsiteX771" fmla="*/ 548 w 10000"/>
                <a:gd name="connsiteY771" fmla="*/ 9462 h 10000"/>
                <a:gd name="connsiteX772" fmla="*/ 581 w 10000"/>
                <a:gd name="connsiteY772" fmla="*/ 9483 h 10000"/>
                <a:gd name="connsiteX773" fmla="*/ 614 w 10000"/>
                <a:gd name="connsiteY773" fmla="*/ 9502 h 10000"/>
                <a:gd name="connsiteX774" fmla="*/ 641 w 10000"/>
                <a:gd name="connsiteY774" fmla="*/ 9525 h 10000"/>
                <a:gd name="connsiteX775" fmla="*/ 672 w 10000"/>
                <a:gd name="connsiteY775" fmla="*/ 9549 h 10000"/>
                <a:gd name="connsiteX776" fmla="*/ 702 w 10000"/>
                <a:gd name="connsiteY776" fmla="*/ 9568 h 10000"/>
                <a:gd name="connsiteX777" fmla="*/ 737 w 10000"/>
                <a:gd name="connsiteY777" fmla="*/ 9589 h 10000"/>
                <a:gd name="connsiteX778" fmla="*/ 770 w 10000"/>
                <a:gd name="connsiteY778" fmla="*/ 9605 h 10000"/>
                <a:gd name="connsiteX779" fmla="*/ 808 w 10000"/>
                <a:gd name="connsiteY779" fmla="*/ 9617 h 10000"/>
                <a:gd name="connsiteX780" fmla="*/ 843 w 10000"/>
                <a:gd name="connsiteY780" fmla="*/ 9624 h 10000"/>
                <a:gd name="connsiteX781" fmla="*/ 884 w 10000"/>
                <a:gd name="connsiteY781" fmla="*/ 9628 h 10000"/>
                <a:gd name="connsiteX782" fmla="*/ 902 w 10000"/>
                <a:gd name="connsiteY782" fmla="*/ 9628 h 10000"/>
                <a:gd name="connsiteX783" fmla="*/ 914 w 10000"/>
                <a:gd name="connsiteY783" fmla="*/ 9631 h 10000"/>
                <a:gd name="connsiteX784" fmla="*/ 932 w 10000"/>
                <a:gd name="connsiteY784" fmla="*/ 9638 h 10000"/>
                <a:gd name="connsiteX785" fmla="*/ 942 w 10000"/>
                <a:gd name="connsiteY785" fmla="*/ 9642 h 10000"/>
                <a:gd name="connsiteX786" fmla="*/ 967 w 10000"/>
                <a:gd name="connsiteY786" fmla="*/ 9652 h 10000"/>
                <a:gd name="connsiteX787" fmla="*/ 987 w 10000"/>
                <a:gd name="connsiteY787" fmla="*/ 9668 h 10000"/>
                <a:gd name="connsiteX788" fmla="*/ 1005 w 10000"/>
                <a:gd name="connsiteY788" fmla="*/ 9682 h 10000"/>
                <a:gd name="connsiteX789" fmla="*/ 1025 w 10000"/>
                <a:gd name="connsiteY789" fmla="*/ 9698 h 10000"/>
                <a:gd name="connsiteX790" fmla="*/ 1045 w 10000"/>
                <a:gd name="connsiteY790" fmla="*/ 9712 h 10000"/>
                <a:gd name="connsiteX791" fmla="*/ 1073 w 10000"/>
                <a:gd name="connsiteY791" fmla="*/ 9724 h 10000"/>
                <a:gd name="connsiteX792" fmla="*/ 1098 w 10000"/>
                <a:gd name="connsiteY792" fmla="*/ 9738 h 10000"/>
                <a:gd name="connsiteX793" fmla="*/ 1121 w 10000"/>
                <a:gd name="connsiteY793" fmla="*/ 9750 h 10000"/>
                <a:gd name="connsiteX794" fmla="*/ 1141 w 10000"/>
                <a:gd name="connsiteY794" fmla="*/ 9762 h 10000"/>
                <a:gd name="connsiteX795" fmla="*/ 1159 w 10000"/>
                <a:gd name="connsiteY795" fmla="*/ 9776 h 10000"/>
                <a:gd name="connsiteX796" fmla="*/ 1172 w 10000"/>
                <a:gd name="connsiteY796" fmla="*/ 9787 h 10000"/>
                <a:gd name="connsiteX797" fmla="*/ 1182 w 10000"/>
                <a:gd name="connsiteY797" fmla="*/ 9804 h 10000"/>
                <a:gd name="connsiteX798" fmla="*/ 1194 w 10000"/>
                <a:gd name="connsiteY798" fmla="*/ 9818 h 10000"/>
                <a:gd name="connsiteX799" fmla="*/ 1202 w 10000"/>
                <a:gd name="connsiteY799" fmla="*/ 9834 h 10000"/>
                <a:gd name="connsiteX800" fmla="*/ 1212 w 10000"/>
                <a:gd name="connsiteY800" fmla="*/ 9869 h 10000"/>
                <a:gd name="connsiteX801" fmla="*/ 1220 w 10000"/>
                <a:gd name="connsiteY801" fmla="*/ 9906 h 10000"/>
                <a:gd name="connsiteX802" fmla="*/ 1230 w 10000"/>
                <a:gd name="connsiteY802" fmla="*/ 9951 h 10000"/>
                <a:gd name="connsiteX803" fmla="*/ 1237 w 10000"/>
                <a:gd name="connsiteY803" fmla="*/ 10000 h 10000"/>
                <a:gd name="connsiteX804" fmla="*/ 1237 w 10000"/>
                <a:gd name="connsiteY804" fmla="*/ 10000 h 10000"/>
                <a:gd name="connsiteX0" fmla="*/ 1237 w 10000"/>
                <a:gd name="connsiteY0" fmla="*/ 10000 h 10000"/>
                <a:gd name="connsiteX1" fmla="*/ 1409 w 10000"/>
                <a:gd name="connsiteY1" fmla="*/ 9876 h 10000"/>
                <a:gd name="connsiteX2" fmla="*/ 1439 w 10000"/>
                <a:gd name="connsiteY2" fmla="*/ 9860 h 10000"/>
                <a:gd name="connsiteX3" fmla="*/ 1470 w 10000"/>
                <a:gd name="connsiteY3" fmla="*/ 9841 h 10000"/>
                <a:gd name="connsiteX4" fmla="*/ 1505 w 10000"/>
                <a:gd name="connsiteY4" fmla="*/ 9827 h 10000"/>
                <a:gd name="connsiteX5" fmla="*/ 1540 w 10000"/>
                <a:gd name="connsiteY5" fmla="*/ 9811 h 10000"/>
                <a:gd name="connsiteX6" fmla="*/ 1611 w 10000"/>
                <a:gd name="connsiteY6" fmla="*/ 9780 h 10000"/>
                <a:gd name="connsiteX7" fmla="*/ 1684 w 10000"/>
                <a:gd name="connsiteY7" fmla="*/ 9748 h 10000"/>
                <a:gd name="connsiteX8" fmla="*/ 1717 w 10000"/>
                <a:gd name="connsiteY8" fmla="*/ 9731 h 10000"/>
                <a:gd name="connsiteX9" fmla="*/ 1750 w 10000"/>
                <a:gd name="connsiteY9" fmla="*/ 9712 h 10000"/>
                <a:gd name="connsiteX10" fmla="*/ 1780 w 10000"/>
                <a:gd name="connsiteY10" fmla="*/ 9691 h 10000"/>
                <a:gd name="connsiteX11" fmla="*/ 1808 w 10000"/>
                <a:gd name="connsiteY11" fmla="*/ 9673 h 10000"/>
                <a:gd name="connsiteX12" fmla="*/ 1831 w 10000"/>
                <a:gd name="connsiteY12" fmla="*/ 9647 h 10000"/>
                <a:gd name="connsiteX13" fmla="*/ 1851 w 10000"/>
                <a:gd name="connsiteY13" fmla="*/ 9621 h 10000"/>
                <a:gd name="connsiteX14" fmla="*/ 1859 w 10000"/>
                <a:gd name="connsiteY14" fmla="*/ 9607 h 10000"/>
                <a:gd name="connsiteX15" fmla="*/ 1866 w 10000"/>
                <a:gd name="connsiteY15" fmla="*/ 9591 h 10000"/>
                <a:gd name="connsiteX16" fmla="*/ 1874 w 10000"/>
                <a:gd name="connsiteY16" fmla="*/ 9577 h 10000"/>
                <a:gd name="connsiteX17" fmla="*/ 1876 w 10000"/>
                <a:gd name="connsiteY17" fmla="*/ 9561 h 10000"/>
                <a:gd name="connsiteX18" fmla="*/ 1891 w 10000"/>
                <a:gd name="connsiteY18" fmla="*/ 9495 h 10000"/>
                <a:gd name="connsiteX19" fmla="*/ 1914 w 10000"/>
                <a:gd name="connsiteY19" fmla="*/ 9432 h 10000"/>
                <a:gd name="connsiteX20" fmla="*/ 1939 w 10000"/>
                <a:gd name="connsiteY20" fmla="*/ 9371 h 10000"/>
                <a:gd name="connsiteX21" fmla="*/ 1965 w 10000"/>
                <a:gd name="connsiteY21" fmla="*/ 9310 h 10000"/>
                <a:gd name="connsiteX22" fmla="*/ 1997 w 10000"/>
                <a:gd name="connsiteY22" fmla="*/ 9257 h 10000"/>
                <a:gd name="connsiteX23" fmla="*/ 2035 w 10000"/>
                <a:gd name="connsiteY23" fmla="*/ 9203 h 10000"/>
                <a:gd name="connsiteX24" fmla="*/ 2056 w 10000"/>
                <a:gd name="connsiteY24" fmla="*/ 9177 h 10000"/>
                <a:gd name="connsiteX25" fmla="*/ 2078 w 10000"/>
                <a:gd name="connsiteY25" fmla="*/ 9154 h 10000"/>
                <a:gd name="connsiteX26" fmla="*/ 2098 w 10000"/>
                <a:gd name="connsiteY26" fmla="*/ 9130 h 10000"/>
                <a:gd name="connsiteX27" fmla="*/ 2124 w 10000"/>
                <a:gd name="connsiteY27" fmla="*/ 9109 h 10000"/>
                <a:gd name="connsiteX28" fmla="*/ 2146 w 10000"/>
                <a:gd name="connsiteY28" fmla="*/ 9086 h 10000"/>
                <a:gd name="connsiteX29" fmla="*/ 2172 w 10000"/>
                <a:gd name="connsiteY29" fmla="*/ 9067 h 10000"/>
                <a:gd name="connsiteX30" fmla="*/ 2197 w 10000"/>
                <a:gd name="connsiteY30" fmla="*/ 9046 h 10000"/>
                <a:gd name="connsiteX31" fmla="*/ 2225 w 10000"/>
                <a:gd name="connsiteY31" fmla="*/ 9025 h 10000"/>
                <a:gd name="connsiteX32" fmla="*/ 2253 w 10000"/>
                <a:gd name="connsiteY32" fmla="*/ 9009 h 10000"/>
                <a:gd name="connsiteX33" fmla="*/ 2283 w 10000"/>
                <a:gd name="connsiteY33" fmla="*/ 8993 h 10000"/>
                <a:gd name="connsiteX34" fmla="*/ 2313 w 10000"/>
                <a:gd name="connsiteY34" fmla="*/ 8978 h 10000"/>
                <a:gd name="connsiteX35" fmla="*/ 2341 w 10000"/>
                <a:gd name="connsiteY35" fmla="*/ 8962 h 10000"/>
                <a:gd name="connsiteX36" fmla="*/ 2374 w 10000"/>
                <a:gd name="connsiteY36" fmla="*/ 8950 h 10000"/>
                <a:gd name="connsiteX37" fmla="*/ 2407 w 10000"/>
                <a:gd name="connsiteY37" fmla="*/ 8936 h 10000"/>
                <a:gd name="connsiteX38" fmla="*/ 2442 w 10000"/>
                <a:gd name="connsiteY38" fmla="*/ 8925 h 10000"/>
                <a:gd name="connsiteX39" fmla="*/ 2475 w 10000"/>
                <a:gd name="connsiteY39" fmla="*/ 8918 h 10000"/>
                <a:gd name="connsiteX40" fmla="*/ 2510 w 10000"/>
                <a:gd name="connsiteY40" fmla="*/ 8906 h 10000"/>
                <a:gd name="connsiteX41" fmla="*/ 2551 w 10000"/>
                <a:gd name="connsiteY41" fmla="*/ 8899 h 10000"/>
                <a:gd name="connsiteX42" fmla="*/ 2586 w 10000"/>
                <a:gd name="connsiteY42" fmla="*/ 8894 h 10000"/>
                <a:gd name="connsiteX43" fmla="*/ 2624 w 10000"/>
                <a:gd name="connsiteY43" fmla="*/ 8890 h 10000"/>
                <a:gd name="connsiteX44" fmla="*/ 2722 w 10000"/>
                <a:gd name="connsiteY44" fmla="*/ 8880 h 10000"/>
                <a:gd name="connsiteX45" fmla="*/ 2795 w 10000"/>
                <a:gd name="connsiteY45" fmla="*/ 8866 h 10000"/>
                <a:gd name="connsiteX46" fmla="*/ 2826 w 10000"/>
                <a:gd name="connsiteY46" fmla="*/ 8859 h 10000"/>
                <a:gd name="connsiteX47" fmla="*/ 2851 w 10000"/>
                <a:gd name="connsiteY47" fmla="*/ 8852 h 10000"/>
                <a:gd name="connsiteX48" fmla="*/ 2876 w 10000"/>
                <a:gd name="connsiteY48" fmla="*/ 8841 h 10000"/>
                <a:gd name="connsiteX49" fmla="*/ 2899 w 10000"/>
                <a:gd name="connsiteY49" fmla="*/ 8831 h 10000"/>
                <a:gd name="connsiteX50" fmla="*/ 2919 w 10000"/>
                <a:gd name="connsiteY50" fmla="*/ 8820 h 10000"/>
                <a:gd name="connsiteX51" fmla="*/ 2942 w 10000"/>
                <a:gd name="connsiteY51" fmla="*/ 8803 h 10000"/>
                <a:gd name="connsiteX52" fmla="*/ 2965 w 10000"/>
                <a:gd name="connsiteY52" fmla="*/ 8789 h 10000"/>
                <a:gd name="connsiteX53" fmla="*/ 2987 w 10000"/>
                <a:gd name="connsiteY53" fmla="*/ 8768 h 10000"/>
                <a:gd name="connsiteX54" fmla="*/ 3043 w 10000"/>
                <a:gd name="connsiteY54" fmla="*/ 8724 h 10000"/>
                <a:gd name="connsiteX55" fmla="*/ 3111 w 10000"/>
                <a:gd name="connsiteY55" fmla="*/ 8665 h 10000"/>
                <a:gd name="connsiteX56" fmla="*/ 3141 w 10000"/>
                <a:gd name="connsiteY56" fmla="*/ 8644 h 10000"/>
                <a:gd name="connsiteX57" fmla="*/ 3172 w 10000"/>
                <a:gd name="connsiteY57" fmla="*/ 8626 h 10000"/>
                <a:gd name="connsiteX58" fmla="*/ 3205 w 10000"/>
                <a:gd name="connsiteY58" fmla="*/ 8609 h 10000"/>
                <a:gd name="connsiteX59" fmla="*/ 3235 w 10000"/>
                <a:gd name="connsiteY59" fmla="*/ 8595 h 10000"/>
                <a:gd name="connsiteX60" fmla="*/ 3301 w 10000"/>
                <a:gd name="connsiteY60" fmla="*/ 8574 h 10000"/>
                <a:gd name="connsiteX61" fmla="*/ 3366 w 10000"/>
                <a:gd name="connsiteY61" fmla="*/ 8555 h 10000"/>
                <a:gd name="connsiteX62" fmla="*/ 3432 w 10000"/>
                <a:gd name="connsiteY62" fmla="*/ 8539 h 10000"/>
                <a:gd name="connsiteX63" fmla="*/ 3495 w 10000"/>
                <a:gd name="connsiteY63" fmla="*/ 8518 h 10000"/>
                <a:gd name="connsiteX64" fmla="*/ 3528 w 10000"/>
                <a:gd name="connsiteY64" fmla="*/ 8506 h 10000"/>
                <a:gd name="connsiteX65" fmla="*/ 3561 w 10000"/>
                <a:gd name="connsiteY65" fmla="*/ 8490 h 10000"/>
                <a:gd name="connsiteX66" fmla="*/ 3593 w 10000"/>
                <a:gd name="connsiteY66" fmla="*/ 8471 h 10000"/>
                <a:gd name="connsiteX67" fmla="*/ 3624 w 10000"/>
                <a:gd name="connsiteY67" fmla="*/ 8448 h 10000"/>
                <a:gd name="connsiteX68" fmla="*/ 3672 w 10000"/>
                <a:gd name="connsiteY68" fmla="*/ 8410 h 10000"/>
                <a:gd name="connsiteX69" fmla="*/ 3715 w 10000"/>
                <a:gd name="connsiteY69" fmla="*/ 8373 h 10000"/>
                <a:gd name="connsiteX70" fmla="*/ 3758 w 10000"/>
                <a:gd name="connsiteY70" fmla="*/ 8333 h 10000"/>
                <a:gd name="connsiteX71" fmla="*/ 3806 w 10000"/>
                <a:gd name="connsiteY71" fmla="*/ 8301 h 10000"/>
                <a:gd name="connsiteX72" fmla="*/ 3826 w 10000"/>
                <a:gd name="connsiteY72" fmla="*/ 8287 h 10000"/>
                <a:gd name="connsiteX73" fmla="*/ 3851 w 10000"/>
                <a:gd name="connsiteY73" fmla="*/ 8275 h 10000"/>
                <a:gd name="connsiteX74" fmla="*/ 3879 w 10000"/>
                <a:gd name="connsiteY74" fmla="*/ 8266 h 10000"/>
                <a:gd name="connsiteX75" fmla="*/ 3904 w 10000"/>
                <a:gd name="connsiteY75" fmla="*/ 8256 h 10000"/>
                <a:gd name="connsiteX76" fmla="*/ 3932 w 10000"/>
                <a:gd name="connsiteY76" fmla="*/ 8254 h 10000"/>
                <a:gd name="connsiteX77" fmla="*/ 3962 w 10000"/>
                <a:gd name="connsiteY77" fmla="*/ 8252 h 10000"/>
                <a:gd name="connsiteX78" fmla="*/ 3992 w 10000"/>
                <a:gd name="connsiteY78" fmla="*/ 8252 h 10000"/>
                <a:gd name="connsiteX79" fmla="*/ 4025 w 10000"/>
                <a:gd name="connsiteY79" fmla="*/ 8256 h 10000"/>
                <a:gd name="connsiteX80" fmla="*/ 4048 w 10000"/>
                <a:gd name="connsiteY80" fmla="*/ 8259 h 10000"/>
                <a:gd name="connsiteX81" fmla="*/ 4068 w 10000"/>
                <a:gd name="connsiteY81" fmla="*/ 8259 h 10000"/>
                <a:gd name="connsiteX82" fmla="*/ 4091 w 10000"/>
                <a:gd name="connsiteY82" fmla="*/ 8259 h 10000"/>
                <a:gd name="connsiteX83" fmla="*/ 4116 w 10000"/>
                <a:gd name="connsiteY83" fmla="*/ 8256 h 10000"/>
                <a:gd name="connsiteX84" fmla="*/ 4159 w 10000"/>
                <a:gd name="connsiteY84" fmla="*/ 8242 h 10000"/>
                <a:gd name="connsiteX85" fmla="*/ 4205 w 10000"/>
                <a:gd name="connsiteY85" fmla="*/ 8228 h 10000"/>
                <a:gd name="connsiteX86" fmla="*/ 4250 w 10000"/>
                <a:gd name="connsiteY86" fmla="*/ 8207 h 10000"/>
                <a:gd name="connsiteX87" fmla="*/ 4293 w 10000"/>
                <a:gd name="connsiteY87" fmla="*/ 8186 h 10000"/>
                <a:gd name="connsiteX88" fmla="*/ 4331 w 10000"/>
                <a:gd name="connsiteY88" fmla="*/ 8160 h 10000"/>
                <a:gd name="connsiteX89" fmla="*/ 4366 w 10000"/>
                <a:gd name="connsiteY89" fmla="*/ 8137 h 10000"/>
                <a:gd name="connsiteX90" fmla="*/ 4404 w 10000"/>
                <a:gd name="connsiteY90" fmla="*/ 8114 h 10000"/>
                <a:gd name="connsiteX91" fmla="*/ 4442 w 10000"/>
                <a:gd name="connsiteY91" fmla="*/ 8093 h 10000"/>
                <a:gd name="connsiteX92" fmla="*/ 4480 w 10000"/>
                <a:gd name="connsiteY92" fmla="*/ 8069 h 10000"/>
                <a:gd name="connsiteX93" fmla="*/ 4523 w 10000"/>
                <a:gd name="connsiteY93" fmla="*/ 8048 h 10000"/>
                <a:gd name="connsiteX94" fmla="*/ 4609 w 10000"/>
                <a:gd name="connsiteY94" fmla="*/ 8008 h 10000"/>
                <a:gd name="connsiteX95" fmla="*/ 4697 w 10000"/>
                <a:gd name="connsiteY95" fmla="*/ 7971 h 10000"/>
                <a:gd name="connsiteX96" fmla="*/ 4788 w 10000"/>
                <a:gd name="connsiteY96" fmla="*/ 7938 h 10000"/>
                <a:gd name="connsiteX97" fmla="*/ 4879 w 10000"/>
                <a:gd name="connsiteY97" fmla="*/ 7906 h 10000"/>
                <a:gd name="connsiteX98" fmla="*/ 4967 w 10000"/>
                <a:gd name="connsiteY98" fmla="*/ 7880 h 10000"/>
                <a:gd name="connsiteX99" fmla="*/ 5053 w 10000"/>
                <a:gd name="connsiteY99" fmla="*/ 7856 h 10000"/>
                <a:gd name="connsiteX100" fmla="*/ 5076 w 10000"/>
                <a:gd name="connsiteY100" fmla="*/ 7852 h 10000"/>
                <a:gd name="connsiteX101" fmla="*/ 5098 w 10000"/>
                <a:gd name="connsiteY101" fmla="*/ 7849 h 10000"/>
                <a:gd name="connsiteX102" fmla="*/ 5116 w 10000"/>
                <a:gd name="connsiteY102" fmla="*/ 7847 h 10000"/>
                <a:gd name="connsiteX103" fmla="*/ 5136 w 10000"/>
                <a:gd name="connsiteY103" fmla="*/ 7847 h 10000"/>
                <a:gd name="connsiteX104" fmla="*/ 5174 w 10000"/>
                <a:gd name="connsiteY104" fmla="*/ 7849 h 10000"/>
                <a:gd name="connsiteX105" fmla="*/ 5210 w 10000"/>
                <a:gd name="connsiteY105" fmla="*/ 7852 h 10000"/>
                <a:gd name="connsiteX106" fmla="*/ 5242 w 10000"/>
                <a:gd name="connsiteY106" fmla="*/ 7856 h 10000"/>
                <a:gd name="connsiteX107" fmla="*/ 5278 w 10000"/>
                <a:gd name="connsiteY107" fmla="*/ 7861 h 10000"/>
                <a:gd name="connsiteX108" fmla="*/ 5316 w 10000"/>
                <a:gd name="connsiteY108" fmla="*/ 7863 h 10000"/>
                <a:gd name="connsiteX109" fmla="*/ 5354 w 10000"/>
                <a:gd name="connsiteY109" fmla="*/ 7863 h 10000"/>
                <a:gd name="connsiteX110" fmla="*/ 5374 w 10000"/>
                <a:gd name="connsiteY110" fmla="*/ 7859 h 10000"/>
                <a:gd name="connsiteX111" fmla="*/ 5394 w 10000"/>
                <a:gd name="connsiteY111" fmla="*/ 7854 h 10000"/>
                <a:gd name="connsiteX112" fmla="*/ 5414 w 10000"/>
                <a:gd name="connsiteY112" fmla="*/ 7849 h 10000"/>
                <a:gd name="connsiteX113" fmla="*/ 5429 w 10000"/>
                <a:gd name="connsiteY113" fmla="*/ 7842 h 10000"/>
                <a:gd name="connsiteX114" fmla="*/ 5462 w 10000"/>
                <a:gd name="connsiteY114" fmla="*/ 7821 h 10000"/>
                <a:gd name="connsiteX115" fmla="*/ 5495 w 10000"/>
                <a:gd name="connsiteY115" fmla="*/ 7798 h 10000"/>
                <a:gd name="connsiteX116" fmla="*/ 5553 w 10000"/>
                <a:gd name="connsiteY116" fmla="*/ 7749 h 10000"/>
                <a:gd name="connsiteX117" fmla="*/ 5611 w 10000"/>
                <a:gd name="connsiteY117" fmla="*/ 7698 h 10000"/>
                <a:gd name="connsiteX118" fmla="*/ 5654 w 10000"/>
                <a:gd name="connsiteY118" fmla="*/ 7667 h 10000"/>
                <a:gd name="connsiteX119" fmla="*/ 5694 w 10000"/>
                <a:gd name="connsiteY119" fmla="*/ 7632 h 10000"/>
                <a:gd name="connsiteX120" fmla="*/ 5735 w 10000"/>
                <a:gd name="connsiteY120" fmla="*/ 7599 h 10000"/>
                <a:gd name="connsiteX121" fmla="*/ 5778 w 10000"/>
                <a:gd name="connsiteY121" fmla="*/ 7564 h 10000"/>
                <a:gd name="connsiteX122" fmla="*/ 5854 w 10000"/>
                <a:gd name="connsiteY122" fmla="*/ 7492 h 10000"/>
                <a:gd name="connsiteX123" fmla="*/ 5932 w 10000"/>
                <a:gd name="connsiteY123" fmla="*/ 7415 h 10000"/>
                <a:gd name="connsiteX124" fmla="*/ 6010 w 10000"/>
                <a:gd name="connsiteY124" fmla="*/ 7340 h 10000"/>
                <a:gd name="connsiteX125" fmla="*/ 6091 w 10000"/>
                <a:gd name="connsiteY125" fmla="*/ 7270 h 10000"/>
                <a:gd name="connsiteX126" fmla="*/ 6131 w 10000"/>
                <a:gd name="connsiteY126" fmla="*/ 7232 h 10000"/>
                <a:gd name="connsiteX127" fmla="*/ 6174 w 10000"/>
                <a:gd name="connsiteY127" fmla="*/ 7200 h 10000"/>
                <a:gd name="connsiteX128" fmla="*/ 6220 w 10000"/>
                <a:gd name="connsiteY128" fmla="*/ 7169 h 10000"/>
                <a:gd name="connsiteX129" fmla="*/ 6265 w 10000"/>
                <a:gd name="connsiteY129" fmla="*/ 7139 h 10000"/>
                <a:gd name="connsiteX130" fmla="*/ 6311 w 10000"/>
                <a:gd name="connsiteY130" fmla="*/ 7111 h 10000"/>
                <a:gd name="connsiteX131" fmla="*/ 6359 w 10000"/>
                <a:gd name="connsiteY131" fmla="*/ 7080 h 10000"/>
                <a:gd name="connsiteX132" fmla="*/ 6404 w 10000"/>
                <a:gd name="connsiteY132" fmla="*/ 7043 h 10000"/>
                <a:gd name="connsiteX133" fmla="*/ 6449 w 10000"/>
                <a:gd name="connsiteY133" fmla="*/ 7008 h 10000"/>
                <a:gd name="connsiteX134" fmla="*/ 6538 w 10000"/>
                <a:gd name="connsiteY134" fmla="*/ 6938 h 10000"/>
                <a:gd name="connsiteX135" fmla="*/ 6626 w 10000"/>
                <a:gd name="connsiteY135" fmla="*/ 6863 h 10000"/>
                <a:gd name="connsiteX136" fmla="*/ 6710 w 10000"/>
                <a:gd name="connsiteY136" fmla="*/ 6786 h 10000"/>
                <a:gd name="connsiteX137" fmla="*/ 6798 w 10000"/>
                <a:gd name="connsiteY137" fmla="*/ 6713 h 10000"/>
                <a:gd name="connsiteX138" fmla="*/ 6841 w 10000"/>
                <a:gd name="connsiteY138" fmla="*/ 6678 h 10000"/>
                <a:gd name="connsiteX139" fmla="*/ 6886 w 10000"/>
                <a:gd name="connsiteY139" fmla="*/ 6643 h 10000"/>
                <a:gd name="connsiteX140" fmla="*/ 6934 w 10000"/>
                <a:gd name="connsiteY140" fmla="*/ 6611 h 10000"/>
                <a:gd name="connsiteX141" fmla="*/ 6980 w 10000"/>
                <a:gd name="connsiteY141" fmla="*/ 6580 h 10000"/>
                <a:gd name="connsiteX142" fmla="*/ 8164 w 10000"/>
                <a:gd name="connsiteY142" fmla="*/ 5549 h 10000"/>
                <a:gd name="connsiteX143" fmla="*/ 8164 w 10000"/>
                <a:gd name="connsiteY143" fmla="*/ 5549 h 10000"/>
                <a:gd name="connsiteX144" fmla="*/ 8581 w 10000"/>
                <a:gd name="connsiteY144" fmla="*/ 5743 h 10000"/>
                <a:gd name="connsiteX145" fmla="*/ 8581 w 10000"/>
                <a:gd name="connsiteY145" fmla="*/ 5743 h 10000"/>
                <a:gd name="connsiteX146" fmla="*/ 10000 w 10000"/>
                <a:gd name="connsiteY146" fmla="*/ 3820 h 10000"/>
                <a:gd name="connsiteX147" fmla="*/ 9866 w 10000"/>
                <a:gd name="connsiteY147" fmla="*/ 3600 h 10000"/>
                <a:gd name="connsiteX148" fmla="*/ 9866 w 10000"/>
                <a:gd name="connsiteY148" fmla="*/ 3600 h 10000"/>
                <a:gd name="connsiteX149" fmla="*/ 9826 w 10000"/>
                <a:gd name="connsiteY149" fmla="*/ 3539 h 10000"/>
                <a:gd name="connsiteX150" fmla="*/ 9778 w 10000"/>
                <a:gd name="connsiteY150" fmla="*/ 3483 h 10000"/>
                <a:gd name="connsiteX151" fmla="*/ 9732 w 10000"/>
                <a:gd name="connsiteY151" fmla="*/ 3422 h 10000"/>
                <a:gd name="connsiteX152" fmla="*/ 9687 w 10000"/>
                <a:gd name="connsiteY152" fmla="*/ 3359 h 10000"/>
                <a:gd name="connsiteX153" fmla="*/ 9641 w 10000"/>
                <a:gd name="connsiteY153" fmla="*/ 3296 h 10000"/>
                <a:gd name="connsiteX154" fmla="*/ 9601 w 10000"/>
                <a:gd name="connsiteY154" fmla="*/ 3233 h 10000"/>
                <a:gd name="connsiteX155" fmla="*/ 9583 w 10000"/>
                <a:gd name="connsiteY155" fmla="*/ 3200 h 10000"/>
                <a:gd name="connsiteX156" fmla="*/ 9566 w 10000"/>
                <a:gd name="connsiteY156" fmla="*/ 3167 h 10000"/>
                <a:gd name="connsiteX157" fmla="*/ 9551 w 10000"/>
                <a:gd name="connsiteY157" fmla="*/ 3135 h 10000"/>
                <a:gd name="connsiteX158" fmla="*/ 9535 w 10000"/>
                <a:gd name="connsiteY158" fmla="*/ 3100 h 10000"/>
                <a:gd name="connsiteX159" fmla="*/ 9503 w 10000"/>
                <a:gd name="connsiteY159" fmla="*/ 3027 h 10000"/>
                <a:gd name="connsiteX160" fmla="*/ 9465 w 10000"/>
                <a:gd name="connsiteY160" fmla="*/ 2948 h 10000"/>
                <a:gd name="connsiteX161" fmla="*/ 9422 w 10000"/>
                <a:gd name="connsiteY161" fmla="*/ 2866 h 10000"/>
                <a:gd name="connsiteX162" fmla="*/ 9374 w 10000"/>
                <a:gd name="connsiteY162" fmla="*/ 2789 h 10000"/>
                <a:gd name="connsiteX163" fmla="*/ 9348 w 10000"/>
                <a:gd name="connsiteY163" fmla="*/ 2747 h 10000"/>
                <a:gd name="connsiteX164" fmla="*/ 9321 w 10000"/>
                <a:gd name="connsiteY164" fmla="*/ 2709 h 10000"/>
                <a:gd name="connsiteX165" fmla="*/ 9293 w 10000"/>
                <a:gd name="connsiteY165" fmla="*/ 2674 h 10000"/>
                <a:gd name="connsiteX166" fmla="*/ 9263 w 10000"/>
                <a:gd name="connsiteY166" fmla="*/ 2639 h 10000"/>
                <a:gd name="connsiteX167" fmla="*/ 9230 w 10000"/>
                <a:gd name="connsiteY167" fmla="*/ 2609 h 10000"/>
                <a:gd name="connsiteX168" fmla="*/ 9199 w 10000"/>
                <a:gd name="connsiteY168" fmla="*/ 2578 h 10000"/>
                <a:gd name="connsiteX169" fmla="*/ 9167 w 10000"/>
                <a:gd name="connsiteY169" fmla="*/ 2550 h 10000"/>
                <a:gd name="connsiteX170" fmla="*/ 9131 w 10000"/>
                <a:gd name="connsiteY170" fmla="*/ 2527 h 10000"/>
                <a:gd name="connsiteX171" fmla="*/ 9131 w 10000"/>
                <a:gd name="connsiteY171" fmla="*/ 2527 h 10000"/>
                <a:gd name="connsiteX172" fmla="*/ 9000 w 10000"/>
                <a:gd name="connsiteY172" fmla="*/ 2548 h 10000"/>
                <a:gd name="connsiteX173" fmla="*/ 8972 w 10000"/>
                <a:gd name="connsiteY173" fmla="*/ 2562 h 10000"/>
                <a:gd name="connsiteX174" fmla="*/ 8942 w 10000"/>
                <a:gd name="connsiteY174" fmla="*/ 2583 h 10000"/>
                <a:gd name="connsiteX175" fmla="*/ 8909 w 10000"/>
                <a:gd name="connsiteY175" fmla="*/ 2604 h 10000"/>
                <a:gd name="connsiteX176" fmla="*/ 8876 w 10000"/>
                <a:gd name="connsiteY176" fmla="*/ 2625 h 10000"/>
                <a:gd name="connsiteX177" fmla="*/ 8843 w 10000"/>
                <a:gd name="connsiteY177" fmla="*/ 2651 h 10000"/>
                <a:gd name="connsiteX178" fmla="*/ 8813 w 10000"/>
                <a:gd name="connsiteY178" fmla="*/ 2679 h 10000"/>
                <a:gd name="connsiteX179" fmla="*/ 8780 w 10000"/>
                <a:gd name="connsiteY179" fmla="*/ 2709 h 10000"/>
                <a:gd name="connsiteX180" fmla="*/ 8750 w 10000"/>
                <a:gd name="connsiteY180" fmla="*/ 2740 h 10000"/>
                <a:gd name="connsiteX181" fmla="*/ 8720 w 10000"/>
                <a:gd name="connsiteY181" fmla="*/ 2770 h 10000"/>
                <a:gd name="connsiteX182" fmla="*/ 8692 w 10000"/>
                <a:gd name="connsiteY182" fmla="*/ 2800 h 10000"/>
                <a:gd name="connsiteX183" fmla="*/ 8667 w 10000"/>
                <a:gd name="connsiteY183" fmla="*/ 2833 h 10000"/>
                <a:gd name="connsiteX184" fmla="*/ 8641 w 10000"/>
                <a:gd name="connsiteY184" fmla="*/ 2866 h 10000"/>
                <a:gd name="connsiteX185" fmla="*/ 8619 w 10000"/>
                <a:gd name="connsiteY185" fmla="*/ 2896 h 10000"/>
                <a:gd name="connsiteX186" fmla="*/ 8601 w 10000"/>
                <a:gd name="connsiteY186" fmla="*/ 2927 h 10000"/>
                <a:gd name="connsiteX187" fmla="*/ 8583 w 10000"/>
                <a:gd name="connsiteY187" fmla="*/ 2957 h 10000"/>
                <a:gd name="connsiteX188" fmla="*/ 8573 w 10000"/>
                <a:gd name="connsiteY188" fmla="*/ 2987 h 10000"/>
                <a:gd name="connsiteX189" fmla="*/ 8556 w 10000"/>
                <a:gd name="connsiteY189" fmla="*/ 3032 h 10000"/>
                <a:gd name="connsiteX190" fmla="*/ 8538 w 10000"/>
                <a:gd name="connsiteY190" fmla="*/ 3079 h 10000"/>
                <a:gd name="connsiteX191" fmla="*/ 8525 w 10000"/>
                <a:gd name="connsiteY191" fmla="*/ 3097 h 10000"/>
                <a:gd name="connsiteX192" fmla="*/ 8513 w 10000"/>
                <a:gd name="connsiteY192" fmla="*/ 3118 h 10000"/>
                <a:gd name="connsiteX193" fmla="*/ 8497 w 10000"/>
                <a:gd name="connsiteY193" fmla="*/ 3137 h 10000"/>
                <a:gd name="connsiteX194" fmla="*/ 8475 w 10000"/>
                <a:gd name="connsiteY194" fmla="*/ 3149 h 10000"/>
                <a:gd name="connsiteX195" fmla="*/ 8404 w 10000"/>
                <a:gd name="connsiteY195" fmla="*/ 3179 h 10000"/>
                <a:gd name="connsiteX196" fmla="*/ 8331 w 10000"/>
                <a:gd name="connsiteY196" fmla="*/ 3207 h 10000"/>
                <a:gd name="connsiteX197" fmla="*/ 8295 w 10000"/>
                <a:gd name="connsiteY197" fmla="*/ 3219 h 10000"/>
                <a:gd name="connsiteX198" fmla="*/ 8263 w 10000"/>
                <a:gd name="connsiteY198" fmla="*/ 3237 h 10000"/>
                <a:gd name="connsiteX199" fmla="*/ 8230 w 10000"/>
                <a:gd name="connsiteY199" fmla="*/ 3254 h 10000"/>
                <a:gd name="connsiteX200" fmla="*/ 8197 w 10000"/>
                <a:gd name="connsiteY200" fmla="*/ 3277 h 10000"/>
                <a:gd name="connsiteX201" fmla="*/ 8174 w 10000"/>
                <a:gd name="connsiteY201" fmla="*/ 3301 h 10000"/>
                <a:gd name="connsiteX202" fmla="*/ 8157 w 10000"/>
                <a:gd name="connsiteY202" fmla="*/ 3329 h 10000"/>
                <a:gd name="connsiteX203" fmla="*/ 8144 w 10000"/>
                <a:gd name="connsiteY203" fmla="*/ 3340 h 10000"/>
                <a:gd name="connsiteX204" fmla="*/ 8134 w 10000"/>
                <a:gd name="connsiteY204" fmla="*/ 3350 h 10000"/>
                <a:gd name="connsiteX205" fmla="*/ 8124 w 10000"/>
                <a:gd name="connsiteY205" fmla="*/ 3361 h 10000"/>
                <a:gd name="connsiteX206" fmla="*/ 8111 w 10000"/>
                <a:gd name="connsiteY206" fmla="*/ 3368 h 10000"/>
                <a:gd name="connsiteX207" fmla="*/ 8038 w 10000"/>
                <a:gd name="connsiteY207" fmla="*/ 3492 h 10000"/>
                <a:gd name="connsiteX208" fmla="*/ 7967 w 10000"/>
                <a:gd name="connsiteY208" fmla="*/ 3616 h 10000"/>
                <a:gd name="connsiteX209" fmla="*/ 7929 w 10000"/>
                <a:gd name="connsiteY209" fmla="*/ 3677 h 10000"/>
                <a:gd name="connsiteX210" fmla="*/ 7891 w 10000"/>
                <a:gd name="connsiteY210" fmla="*/ 3738 h 10000"/>
                <a:gd name="connsiteX211" fmla="*/ 7854 w 10000"/>
                <a:gd name="connsiteY211" fmla="*/ 3799 h 10000"/>
                <a:gd name="connsiteX212" fmla="*/ 7808 w 10000"/>
                <a:gd name="connsiteY212" fmla="*/ 3855 h 10000"/>
                <a:gd name="connsiteX213" fmla="*/ 7765 w 10000"/>
                <a:gd name="connsiteY213" fmla="*/ 3911 h 10000"/>
                <a:gd name="connsiteX214" fmla="*/ 7722 w 10000"/>
                <a:gd name="connsiteY214" fmla="*/ 3967 h 10000"/>
                <a:gd name="connsiteX215" fmla="*/ 7672 w 10000"/>
                <a:gd name="connsiteY215" fmla="*/ 4021 h 10000"/>
                <a:gd name="connsiteX216" fmla="*/ 7621 w 10000"/>
                <a:gd name="connsiteY216" fmla="*/ 4070 h 10000"/>
                <a:gd name="connsiteX217" fmla="*/ 7566 w 10000"/>
                <a:gd name="connsiteY217" fmla="*/ 4119 h 10000"/>
                <a:gd name="connsiteX218" fmla="*/ 7505 w 10000"/>
                <a:gd name="connsiteY218" fmla="*/ 4161 h 10000"/>
                <a:gd name="connsiteX219" fmla="*/ 7477 w 10000"/>
                <a:gd name="connsiteY219" fmla="*/ 4184 h 10000"/>
                <a:gd name="connsiteX220" fmla="*/ 7444 w 10000"/>
                <a:gd name="connsiteY220" fmla="*/ 4203 h 10000"/>
                <a:gd name="connsiteX221" fmla="*/ 7412 w 10000"/>
                <a:gd name="connsiteY221" fmla="*/ 4222 h 10000"/>
                <a:gd name="connsiteX222" fmla="*/ 7376 w 10000"/>
                <a:gd name="connsiteY222" fmla="*/ 4243 h 10000"/>
                <a:gd name="connsiteX223" fmla="*/ 7321 w 10000"/>
                <a:gd name="connsiteY223" fmla="*/ 4266 h 10000"/>
                <a:gd name="connsiteX224" fmla="*/ 7260 w 10000"/>
                <a:gd name="connsiteY224" fmla="*/ 4294 h 10000"/>
                <a:gd name="connsiteX225" fmla="*/ 7194 w 10000"/>
                <a:gd name="connsiteY225" fmla="*/ 4320 h 10000"/>
                <a:gd name="connsiteX226" fmla="*/ 7126 w 10000"/>
                <a:gd name="connsiteY226" fmla="*/ 4345 h 10000"/>
                <a:gd name="connsiteX227" fmla="*/ 7058 w 10000"/>
                <a:gd name="connsiteY227" fmla="*/ 4369 h 10000"/>
                <a:gd name="connsiteX228" fmla="*/ 6987 w 10000"/>
                <a:gd name="connsiteY228" fmla="*/ 4385 h 10000"/>
                <a:gd name="connsiteX229" fmla="*/ 6952 w 10000"/>
                <a:gd name="connsiteY229" fmla="*/ 4390 h 10000"/>
                <a:gd name="connsiteX230" fmla="*/ 6917 w 10000"/>
                <a:gd name="connsiteY230" fmla="*/ 4399 h 10000"/>
                <a:gd name="connsiteX231" fmla="*/ 6881 w 10000"/>
                <a:gd name="connsiteY231" fmla="*/ 4404 h 10000"/>
                <a:gd name="connsiteX232" fmla="*/ 6846 w 10000"/>
                <a:gd name="connsiteY232" fmla="*/ 4406 h 10000"/>
                <a:gd name="connsiteX233" fmla="*/ 6813 w 10000"/>
                <a:gd name="connsiteY233" fmla="*/ 4406 h 10000"/>
                <a:gd name="connsiteX234" fmla="*/ 6780 w 10000"/>
                <a:gd name="connsiteY234" fmla="*/ 4406 h 10000"/>
                <a:gd name="connsiteX235" fmla="*/ 6747 w 10000"/>
                <a:gd name="connsiteY235" fmla="*/ 4404 h 10000"/>
                <a:gd name="connsiteX236" fmla="*/ 6717 w 10000"/>
                <a:gd name="connsiteY236" fmla="*/ 4399 h 10000"/>
                <a:gd name="connsiteX237" fmla="*/ 6687 w 10000"/>
                <a:gd name="connsiteY237" fmla="*/ 4390 h 10000"/>
                <a:gd name="connsiteX238" fmla="*/ 6657 w 10000"/>
                <a:gd name="connsiteY238" fmla="*/ 4381 h 10000"/>
                <a:gd name="connsiteX239" fmla="*/ 6634 w 10000"/>
                <a:gd name="connsiteY239" fmla="*/ 4371 h 10000"/>
                <a:gd name="connsiteX240" fmla="*/ 6609 w 10000"/>
                <a:gd name="connsiteY240" fmla="*/ 4355 h 10000"/>
                <a:gd name="connsiteX241" fmla="*/ 6583 w 10000"/>
                <a:gd name="connsiteY241" fmla="*/ 4338 h 10000"/>
                <a:gd name="connsiteX242" fmla="*/ 6566 w 10000"/>
                <a:gd name="connsiteY242" fmla="*/ 4317 h 10000"/>
                <a:gd name="connsiteX243" fmla="*/ 6545 w 10000"/>
                <a:gd name="connsiteY243" fmla="*/ 4294 h 10000"/>
                <a:gd name="connsiteX244" fmla="*/ 6530 w 10000"/>
                <a:gd name="connsiteY244" fmla="*/ 4271 h 10000"/>
                <a:gd name="connsiteX245" fmla="*/ 6515 w 10000"/>
                <a:gd name="connsiteY245" fmla="*/ 4243 h 10000"/>
                <a:gd name="connsiteX246" fmla="*/ 6503 w 10000"/>
                <a:gd name="connsiteY246" fmla="*/ 4210 h 10000"/>
                <a:gd name="connsiteX247" fmla="*/ 6495 w 10000"/>
                <a:gd name="connsiteY247" fmla="*/ 4173 h 10000"/>
                <a:gd name="connsiteX248" fmla="*/ 6490 w 10000"/>
                <a:gd name="connsiteY248" fmla="*/ 4133 h 10000"/>
                <a:gd name="connsiteX249" fmla="*/ 6482 w 10000"/>
                <a:gd name="connsiteY249" fmla="*/ 4088 h 10000"/>
                <a:gd name="connsiteX250" fmla="*/ 6472 w 10000"/>
                <a:gd name="connsiteY250" fmla="*/ 4046 h 10000"/>
                <a:gd name="connsiteX251" fmla="*/ 6460 w 10000"/>
                <a:gd name="connsiteY251" fmla="*/ 4009 h 10000"/>
                <a:gd name="connsiteX252" fmla="*/ 6442 w 10000"/>
                <a:gd name="connsiteY252" fmla="*/ 3978 h 10000"/>
                <a:gd name="connsiteX253" fmla="*/ 6427 w 10000"/>
                <a:gd name="connsiteY253" fmla="*/ 3948 h 10000"/>
                <a:gd name="connsiteX254" fmla="*/ 6404 w 10000"/>
                <a:gd name="connsiteY254" fmla="*/ 3925 h 10000"/>
                <a:gd name="connsiteX255" fmla="*/ 6381 w 10000"/>
                <a:gd name="connsiteY255" fmla="*/ 3901 h 10000"/>
                <a:gd name="connsiteX256" fmla="*/ 6359 w 10000"/>
                <a:gd name="connsiteY256" fmla="*/ 3878 h 10000"/>
                <a:gd name="connsiteX257" fmla="*/ 6306 w 10000"/>
                <a:gd name="connsiteY257" fmla="*/ 3836 h 10000"/>
                <a:gd name="connsiteX258" fmla="*/ 6253 w 10000"/>
                <a:gd name="connsiteY258" fmla="*/ 3789 h 10000"/>
                <a:gd name="connsiteX259" fmla="*/ 6225 w 10000"/>
                <a:gd name="connsiteY259" fmla="*/ 3768 h 10000"/>
                <a:gd name="connsiteX260" fmla="*/ 6199 w 10000"/>
                <a:gd name="connsiteY260" fmla="*/ 3742 h 10000"/>
                <a:gd name="connsiteX261" fmla="*/ 6172 w 10000"/>
                <a:gd name="connsiteY261" fmla="*/ 3712 h 10000"/>
                <a:gd name="connsiteX262" fmla="*/ 6146 w 10000"/>
                <a:gd name="connsiteY262" fmla="*/ 3679 h 10000"/>
                <a:gd name="connsiteX263" fmla="*/ 6088 w 10000"/>
                <a:gd name="connsiteY263" fmla="*/ 3586 h 10000"/>
                <a:gd name="connsiteX264" fmla="*/ 6015 w 10000"/>
                <a:gd name="connsiteY264" fmla="*/ 3476 h 10000"/>
                <a:gd name="connsiteX265" fmla="*/ 5972 w 10000"/>
                <a:gd name="connsiteY265" fmla="*/ 3424 h 10000"/>
                <a:gd name="connsiteX266" fmla="*/ 5932 w 10000"/>
                <a:gd name="connsiteY266" fmla="*/ 3375 h 10000"/>
                <a:gd name="connsiteX267" fmla="*/ 5909 w 10000"/>
                <a:gd name="connsiteY267" fmla="*/ 3352 h 10000"/>
                <a:gd name="connsiteX268" fmla="*/ 5889 w 10000"/>
                <a:gd name="connsiteY268" fmla="*/ 3336 h 10000"/>
                <a:gd name="connsiteX269" fmla="*/ 5866 w 10000"/>
                <a:gd name="connsiteY269" fmla="*/ 3317 h 10000"/>
                <a:gd name="connsiteX270" fmla="*/ 5846 w 10000"/>
                <a:gd name="connsiteY270" fmla="*/ 3303 h 10000"/>
                <a:gd name="connsiteX271" fmla="*/ 5821 w 10000"/>
                <a:gd name="connsiteY271" fmla="*/ 3289 h 10000"/>
                <a:gd name="connsiteX272" fmla="*/ 5790 w 10000"/>
                <a:gd name="connsiteY272" fmla="*/ 3277 h 10000"/>
                <a:gd name="connsiteX273" fmla="*/ 5760 w 10000"/>
                <a:gd name="connsiteY273" fmla="*/ 3270 h 10000"/>
                <a:gd name="connsiteX274" fmla="*/ 5727 w 10000"/>
                <a:gd name="connsiteY274" fmla="*/ 3261 h 10000"/>
                <a:gd name="connsiteX275" fmla="*/ 5657 w 10000"/>
                <a:gd name="connsiteY275" fmla="*/ 3247 h 10000"/>
                <a:gd name="connsiteX276" fmla="*/ 5588 w 10000"/>
                <a:gd name="connsiteY276" fmla="*/ 3233 h 10000"/>
                <a:gd name="connsiteX277" fmla="*/ 5556 w 10000"/>
                <a:gd name="connsiteY277" fmla="*/ 3223 h 10000"/>
                <a:gd name="connsiteX278" fmla="*/ 5523 w 10000"/>
                <a:gd name="connsiteY278" fmla="*/ 3216 h 10000"/>
                <a:gd name="connsiteX279" fmla="*/ 5492 w 10000"/>
                <a:gd name="connsiteY279" fmla="*/ 3207 h 10000"/>
                <a:gd name="connsiteX280" fmla="*/ 5465 w 10000"/>
                <a:gd name="connsiteY280" fmla="*/ 3193 h 10000"/>
                <a:gd name="connsiteX281" fmla="*/ 5442 w 10000"/>
                <a:gd name="connsiteY281" fmla="*/ 3181 h 10000"/>
                <a:gd name="connsiteX282" fmla="*/ 5422 w 10000"/>
                <a:gd name="connsiteY282" fmla="*/ 3163 h 10000"/>
                <a:gd name="connsiteX283" fmla="*/ 5414 w 10000"/>
                <a:gd name="connsiteY283" fmla="*/ 3153 h 10000"/>
                <a:gd name="connsiteX284" fmla="*/ 5407 w 10000"/>
                <a:gd name="connsiteY284" fmla="*/ 3144 h 10000"/>
                <a:gd name="connsiteX285" fmla="*/ 5399 w 10000"/>
                <a:gd name="connsiteY285" fmla="*/ 3135 h 10000"/>
                <a:gd name="connsiteX286" fmla="*/ 5394 w 10000"/>
                <a:gd name="connsiteY286" fmla="*/ 3121 h 10000"/>
                <a:gd name="connsiteX287" fmla="*/ 5389 w 10000"/>
                <a:gd name="connsiteY287" fmla="*/ 3093 h 10000"/>
                <a:gd name="connsiteX288" fmla="*/ 5384 w 10000"/>
                <a:gd name="connsiteY288" fmla="*/ 3060 h 10000"/>
                <a:gd name="connsiteX289" fmla="*/ 5384 w 10000"/>
                <a:gd name="connsiteY289" fmla="*/ 3025 h 10000"/>
                <a:gd name="connsiteX290" fmla="*/ 5386 w 10000"/>
                <a:gd name="connsiteY290" fmla="*/ 2985 h 10000"/>
                <a:gd name="connsiteX291" fmla="*/ 5391 w 10000"/>
                <a:gd name="connsiteY291" fmla="*/ 2910 h 10000"/>
                <a:gd name="connsiteX292" fmla="*/ 5399 w 10000"/>
                <a:gd name="connsiteY292" fmla="*/ 2845 h 10000"/>
                <a:gd name="connsiteX293" fmla="*/ 5407 w 10000"/>
                <a:gd name="connsiteY293" fmla="*/ 2821 h 10000"/>
                <a:gd name="connsiteX294" fmla="*/ 5412 w 10000"/>
                <a:gd name="connsiteY294" fmla="*/ 2796 h 10000"/>
                <a:gd name="connsiteX295" fmla="*/ 5419 w 10000"/>
                <a:gd name="connsiteY295" fmla="*/ 2772 h 10000"/>
                <a:gd name="connsiteX296" fmla="*/ 5429 w 10000"/>
                <a:gd name="connsiteY296" fmla="*/ 2751 h 10000"/>
                <a:gd name="connsiteX297" fmla="*/ 5442 w 10000"/>
                <a:gd name="connsiteY297" fmla="*/ 2735 h 10000"/>
                <a:gd name="connsiteX298" fmla="*/ 5455 w 10000"/>
                <a:gd name="connsiteY298" fmla="*/ 2716 h 10000"/>
                <a:gd name="connsiteX299" fmla="*/ 5467 w 10000"/>
                <a:gd name="connsiteY299" fmla="*/ 2700 h 10000"/>
                <a:gd name="connsiteX300" fmla="*/ 5482 w 10000"/>
                <a:gd name="connsiteY300" fmla="*/ 2683 h 10000"/>
                <a:gd name="connsiteX301" fmla="*/ 5553 w 10000"/>
                <a:gd name="connsiteY301" fmla="*/ 2623 h 10000"/>
                <a:gd name="connsiteX302" fmla="*/ 5626 w 10000"/>
                <a:gd name="connsiteY302" fmla="*/ 2557 h 10000"/>
                <a:gd name="connsiteX303" fmla="*/ 5649 w 10000"/>
                <a:gd name="connsiteY303" fmla="*/ 2529 h 10000"/>
                <a:gd name="connsiteX304" fmla="*/ 5664 w 10000"/>
                <a:gd name="connsiteY304" fmla="*/ 2506 h 10000"/>
                <a:gd name="connsiteX305" fmla="*/ 5679 w 10000"/>
                <a:gd name="connsiteY305" fmla="*/ 2478 h 10000"/>
                <a:gd name="connsiteX306" fmla="*/ 5687 w 10000"/>
                <a:gd name="connsiteY306" fmla="*/ 2450 h 10000"/>
                <a:gd name="connsiteX307" fmla="*/ 5702 w 10000"/>
                <a:gd name="connsiteY307" fmla="*/ 2391 h 10000"/>
                <a:gd name="connsiteX308" fmla="*/ 5722 w 10000"/>
                <a:gd name="connsiteY308" fmla="*/ 2331 h 10000"/>
                <a:gd name="connsiteX309" fmla="*/ 5720 w 10000"/>
                <a:gd name="connsiteY309" fmla="*/ 2291 h 10000"/>
                <a:gd name="connsiteX310" fmla="*/ 5715 w 10000"/>
                <a:gd name="connsiteY310" fmla="*/ 2253 h 10000"/>
                <a:gd name="connsiteX311" fmla="*/ 5702 w 10000"/>
                <a:gd name="connsiteY311" fmla="*/ 2216 h 10000"/>
                <a:gd name="connsiteX312" fmla="*/ 5689 w 10000"/>
                <a:gd name="connsiteY312" fmla="*/ 2183 h 10000"/>
                <a:gd name="connsiteX313" fmla="*/ 5672 w 10000"/>
                <a:gd name="connsiteY313" fmla="*/ 2153 h 10000"/>
                <a:gd name="connsiteX314" fmla="*/ 5654 w 10000"/>
                <a:gd name="connsiteY314" fmla="*/ 2127 h 10000"/>
                <a:gd name="connsiteX315" fmla="*/ 5631 w 10000"/>
                <a:gd name="connsiteY315" fmla="*/ 2099 h 10000"/>
                <a:gd name="connsiteX316" fmla="*/ 5614 w 10000"/>
                <a:gd name="connsiteY316" fmla="*/ 2073 h 10000"/>
                <a:gd name="connsiteX317" fmla="*/ 5591 w 10000"/>
                <a:gd name="connsiteY317" fmla="*/ 2045 h 10000"/>
                <a:gd name="connsiteX318" fmla="*/ 5573 w 10000"/>
                <a:gd name="connsiteY318" fmla="*/ 2020 h 10000"/>
                <a:gd name="connsiteX319" fmla="*/ 5553 w 10000"/>
                <a:gd name="connsiteY319" fmla="*/ 1989 h 10000"/>
                <a:gd name="connsiteX320" fmla="*/ 5535 w 10000"/>
                <a:gd name="connsiteY320" fmla="*/ 1961 h 10000"/>
                <a:gd name="connsiteX321" fmla="*/ 5520 w 10000"/>
                <a:gd name="connsiteY321" fmla="*/ 1928 h 10000"/>
                <a:gd name="connsiteX322" fmla="*/ 5510 w 10000"/>
                <a:gd name="connsiteY322" fmla="*/ 1896 h 10000"/>
                <a:gd name="connsiteX323" fmla="*/ 5500 w 10000"/>
                <a:gd name="connsiteY323" fmla="*/ 1858 h 10000"/>
                <a:gd name="connsiteX324" fmla="*/ 5497 w 10000"/>
                <a:gd name="connsiteY324" fmla="*/ 1819 h 10000"/>
                <a:gd name="connsiteX325" fmla="*/ 5495 w 10000"/>
                <a:gd name="connsiteY325" fmla="*/ 1763 h 10000"/>
                <a:gd name="connsiteX326" fmla="*/ 5490 w 10000"/>
                <a:gd name="connsiteY326" fmla="*/ 1718 h 10000"/>
                <a:gd name="connsiteX327" fmla="*/ 5482 w 10000"/>
                <a:gd name="connsiteY327" fmla="*/ 1676 h 10000"/>
                <a:gd name="connsiteX328" fmla="*/ 5467 w 10000"/>
                <a:gd name="connsiteY328" fmla="*/ 1643 h 10000"/>
                <a:gd name="connsiteX329" fmla="*/ 5462 w 10000"/>
                <a:gd name="connsiteY329" fmla="*/ 1629 h 10000"/>
                <a:gd name="connsiteX330" fmla="*/ 5455 w 10000"/>
                <a:gd name="connsiteY330" fmla="*/ 1615 h 10000"/>
                <a:gd name="connsiteX331" fmla="*/ 5447 w 10000"/>
                <a:gd name="connsiteY331" fmla="*/ 1604 h 10000"/>
                <a:gd name="connsiteX332" fmla="*/ 5437 w 10000"/>
                <a:gd name="connsiteY332" fmla="*/ 1594 h 10000"/>
                <a:gd name="connsiteX333" fmla="*/ 5427 w 10000"/>
                <a:gd name="connsiteY333" fmla="*/ 1583 h 10000"/>
                <a:gd name="connsiteX334" fmla="*/ 5417 w 10000"/>
                <a:gd name="connsiteY334" fmla="*/ 1576 h 10000"/>
                <a:gd name="connsiteX335" fmla="*/ 5404 w 10000"/>
                <a:gd name="connsiteY335" fmla="*/ 1568 h 10000"/>
                <a:gd name="connsiteX336" fmla="*/ 5391 w 10000"/>
                <a:gd name="connsiteY336" fmla="*/ 1564 h 10000"/>
                <a:gd name="connsiteX337" fmla="*/ 5361 w 10000"/>
                <a:gd name="connsiteY337" fmla="*/ 1552 h 10000"/>
                <a:gd name="connsiteX338" fmla="*/ 5331 w 10000"/>
                <a:gd name="connsiteY338" fmla="*/ 1547 h 10000"/>
                <a:gd name="connsiteX339" fmla="*/ 5295 w 10000"/>
                <a:gd name="connsiteY339" fmla="*/ 1545 h 10000"/>
                <a:gd name="connsiteX340" fmla="*/ 5255 w 10000"/>
                <a:gd name="connsiteY340" fmla="*/ 1547 h 10000"/>
                <a:gd name="connsiteX341" fmla="*/ 5167 w 10000"/>
                <a:gd name="connsiteY341" fmla="*/ 1557 h 10000"/>
                <a:gd name="connsiteX342" fmla="*/ 5058 w 10000"/>
                <a:gd name="connsiteY342" fmla="*/ 1573 h 10000"/>
                <a:gd name="connsiteX343" fmla="*/ 5025 w 10000"/>
                <a:gd name="connsiteY343" fmla="*/ 1576 h 10000"/>
                <a:gd name="connsiteX344" fmla="*/ 4995 w 10000"/>
                <a:gd name="connsiteY344" fmla="*/ 1576 h 10000"/>
                <a:gd name="connsiteX345" fmla="*/ 4965 w 10000"/>
                <a:gd name="connsiteY345" fmla="*/ 1573 h 10000"/>
                <a:gd name="connsiteX346" fmla="*/ 4934 w 10000"/>
                <a:gd name="connsiteY346" fmla="*/ 1568 h 10000"/>
                <a:gd name="connsiteX347" fmla="*/ 4907 w 10000"/>
                <a:gd name="connsiteY347" fmla="*/ 1561 h 10000"/>
                <a:gd name="connsiteX348" fmla="*/ 4879 w 10000"/>
                <a:gd name="connsiteY348" fmla="*/ 1550 h 10000"/>
                <a:gd name="connsiteX349" fmla="*/ 4851 w 10000"/>
                <a:gd name="connsiteY349" fmla="*/ 1540 h 10000"/>
                <a:gd name="connsiteX350" fmla="*/ 4828 w 10000"/>
                <a:gd name="connsiteY350" fmla="*/ 1529 h 10000"/>
                <a:gd name="connsiteX351" fmla="*/ 4775 w 10000"/>
                <a:gd name="connsiteY351" fmla="*/ 1505 h 10000"/>
                <a:gd name="connsiteX352" fmla="*/ 4725 w 10000"/>
                <a:gd name="connsiteY352" fmla="*/ 1484 h 10000"/>
                <a:gd name="connsiteX353" fmla="*/ 4699 w 10000"/>
                <a:gd name="connsiteY353" fmla="*/ 1477 h 10000"/>
                <a:gd name="connsiteX354" fmla="*/ 4669 w 10000"/>
                <a:gd name="connsiteY354" fmla="*/ 1470 h 10000"/>
                <a:gd name="connsiteX355" fmla="*/ 4641 w 10000"/>
                <a:gd name="connsiteY355" fmla="*/ 1468 h 10000"/>
                <a:gd name="connsiteX356" fmla="*/ 4611 w 10000"/>
                <a:gd name="connsiteY356" fmla="*/ 1468 h 10000"/>
                <a:gd name="connsiteX357" fmla="*/ 4573 w 10000"/>
                <a:gd name="connsiteY357" fmla="*/ 1470 h 10000"/>
                <a:gd name="connsiteX358" fmla="*/ 4538 w 10000"/>
                <a:gd name="connsiteY358" fmla="*/ 1475 h 10000"/>
                <a:gd name="connsiteX359" fmla="*/ 4503 w 10000"/>
                <a:gd name="connsiteY359" fmla="*/ 1480 h 10000"/>
                <a:gd name="connsiteX360" fmla="*/ 4467 w 10000"/>
                <a:gd name="connsiteY360" fmla="*/ 1487 h 10000"/>
                <a:gd name="connsiteX361" fmla="*/ 4432 w 10000"/>
                <a:gd name="connsiteY361" fmla="*/ 1494 h 10000"/>
                <a:gd name="connsiteX362" fmla="*/ 4396 w 10000"/>
                <a:gd name="connsiteY362" fmla="*/ 1496 h 10000"/>
                <a:gd name="connsiteX363" fmla="*/ 4361 w 10000"/>
                <a:gd name="connsiteY363" fmla="*/ 1496 h 10000"/>
                <a:gd name="connsiteX364" fmla="*/ 4323 w 10000"/>
                <a:gd name="connsiteY364" fmla="*/ 1494 h 10000"/>
                <a:gd name="connsiteX365" fmla="*/ 4288 w 10000"/>
                <a:gd name="connsiteY365" fmla="*/ 1484 h 10000"/>
                <a:gd name="connsiteX366" fmla="*/ 4250 w 10000"/>
                <a:gd name="connsiteY366" fmla="*/ 1470 h 10000"/>
                <a:gd name="connsiteX367" fmla="*/ 4215 w 10000"/>
                <a:gd name="connsiteY367" fmla="*/ 1454 h 10000"/>
                <a:gd name="connsiteX368" fmla="*/ 4174 w 10000"/>
                <a:gd name="connsiteY368" fmla="*/ 1433 h 10000"/>
                <a:gd name="connsiteX369" fmla="*/ 4136 w 10000"/>
                <a:gd name="connsiteY369" fmla="*/ 1407 h 10000"/>
                <a:gd name="connsiteX370" fmla="*/ 4098 w 10000"/>
                <a:gd name="connsiteY370" fmla="*/ 1381 h 10000"/>
                <a:gd name="connsiteX371" fmla="*/ 4063 w 10000"/>
                <a:gd name="connsiteY371" fmla="*/ 1351 h 10000"/>
                <a:gd name="connsiteX372" fmla="*/ 4025 w 10000"/>
                <a:gd name="connsiteY372" fmla="*/ 1318 h 10000"/>
                <a:gd name="connsiteX373" fmla="*/ 3992 w 10000"/>
                <a:gd name="connsiteY373" fmla="*/ 1286 h 10000"/>
                <a:gd name="connsiteX374" fmla="*/ 3960 w 10000"/>
                <a:gd name="connsiteY374" fmla="*/ 1251 h 10000"/>
                <a:gd name="connsiteX375" fmla="*/ 3927 w 10000"/>
                <a:gd name="connsiteY375" fmla="*/ 1216 h 10000"/>
                <a:gd name="connsiteX376" fmla="*/ 3899 w 10000"/>
                <a:gd name="connsiteY376" fmla="*/ 1183 h 10000"/>
                <a:gd name="connsiteX377" fmla="*/ 3874 w 10000"/>
                <a:gd name="connsiteY377" fmla="*/ 1148 h 10000"/>
                <a:gd name="connsiteX378" fmla="*/ 3848 w 10000"/>
                <a:gd name="connsiteY378" fmla="*/ 1110 h 10000"/>
                <a:gd name="connsiteX379" fmla="*/ 3828 w 10000"/>
                <a:gd name="connsiteY379" fmla="*/ 1080 h 10000"/>
                <a:gd name="connsiteX380" fmla="*/ 3813 w 10000"/>
                <a:gd name="connsiteY380" fmla="*/ 1047 h 10000"/>
                <a:gd name="connsiteX381" fmla="*/ 3801 w 10000"/>
                <a:gd name="connsiteY381" fmla="*/ 1024 h 10000"/>
                <a:gd name="connsiteX382" fmla="*/ 3790 w 10000"/>
                <a:gd name="connsiteY382" fmla="*/ 996 h 10000"/>
                <a:gd name="connsiteX383" fmla="*/ 3783 w 10000"/>
                <a:gd name="connsiteY383" fmla="*/ 965 h 10000"/>
                <a:gd name="connsiteX384" fmla="*/ 3775 w 10000"/>
                <a:gd name="connsiteY384" fmla="*/ 935 h 10000"/>
                <a:gd name="connsiteX385" fmla="*/ 3760 w 10000"/>
                <a:gd name="connsiteY385" fmla="*/ 874 h 10000"/>
                <a:gd name="connsiteX386" fmla="*/ 3750 w 10000"/>
                <a:gd name="connsiteY386" fmla="*/ 811 h 10000"/>
                <a:gd name="connsiteX387" fmla="*/ 3740 w 10000"/>
                <a:gd name="connsiteY387" fmla="*/ 748 h 10000"/>
                <a:gd name="connsiteX388" fmla="*/ 3725 w 10000"/>
                <a:gd name="connsiteY388" fmla="*/ 690 h 10000"/>
                <a:gd name="connsiteX389" fmla="*/ 3715 w 10000"/>
                <a:gd name="connsiteY389" fmla="*/ 662 h 10000"/>
                <a:gd name="connsiteX390" fmla="*/ 3705 w 10000"/>
                <a:gd name="connsiteY390" fmla="*/ 633 h 10000"/>
                <a:gd name="connsiteX391" fmla="*/ 3692 w 10000"/>
                <a:gd name="connsiteY391" fmla="*/ 610 h 10000"/>
                <a:gd name="connsiteX392" fmla="*/ 3677 w 10000"/>
                <a:gd name="connsiteY392" fmla="*/ 587 h 10000"/>
                <a:gd name="connsiteX393" fmla="*/ 3657 w 10000"/>
                <a:gd name="connsiteY393" fmla="*/ 563 h 10000"/>
                <a:gd name="connsiteX394" fmla="*/ 3631 w 10000"/>
                <a:gd name="connsiteY394" fmla="*/ 542 h 10000"/>
                <a:gd name="connsiteX395" fmla="*/ 3606 w 10000"/>
                <a:gd name="connsiteY395" fmla="*/ 526 h 10000"/>
                <a:gd name="connsiteX396" fmla="*/ 3573 w 10000"/>
                <a:gd name="connsiteY396" fmla="*/ 512 h 10000"/>
                <a:gd name="connsiteX397" fmla="*/ 3540 w 10000"/>
                <a:gd name="connsiteY397" fmla="*/ 500 h 10000"/>
                <a:gd name="connsiteX398" fmla="*/ 3505 w 10000"/>
                <a:gd name="connsiteY398" fmla="*/ 493 h 10000"/>
                <a:gd name="connsiteX399" fmla="*/ 3470 w 10000"/>
                <a:gd name="connsiteY399" fmla="*/ 489 h 10000"/>
                <a:gd name="connsiteX400" fmla="*/ 3432 w 10000"/>
                <a:gd name="connsiteY400" fmla="*/ 484 h 10000"/>
                <a:gd name="connsiteX401" fmla="*/ 3391 w 10000"/>
                <a:gd name="connsiteY401" fmla="*/ 479 h 10000"/>
                <a:gd name="connsiteX402" fmla="*/ 3354 w 10000"/>
                <a:gd name="connsiteY402" fmla="*/ 479 h 10000"/>
                <a:gd name="connsiteX403" fmla="*/ 3313 w 10000"/>
                <a:gd name="connsiteY403" fmla="*/ 484 h 10000"/>
                <a:gd name="connsiteX404" fmla="*/ 3278 w 10000"/>
                <a:gd name="connsiteY404" fmla="*/ 484 h 10000"/>
                <a:gd name="connsiteX405" fmla="*/ 3207 w 10000"/>
                <a:gd name="connsiteY405" fmla="*/ 491 h 10000"/>
                <a:gd name="connsiteX406" fmla="*/ 3144 w 10000"/>
                <a:gd name="connsiteY406" fmla="*/ 498 h 10000"/>
                <a:gd name="connsiteX407" fmla="*/ 3114 w 10000"/>
                <a:gd name="connsiteY407" fmla="*/ 503 h 10000"/>
                <a:gd name="connsiteX408" fmla="*/ 3081 w 10000"/>
                <a:gd name="connsiteY408" fmla="*/ 503 h 10000"/>
                <a:gd name="connsiteX409" fmla="*/ 3051 w 10000"/>
                <a:gd name="connsiteY409" fmla="*/ 505 h 10000"/>
                <a:gd name="connsiteX410" fmla="*/ 3020 w 10000"/>
                <a:gd name="connsiteY410" fmla="*/ 503 h 10000"/>
                <a:gd name="connsiteX411" fmla="*/ 2962 w 10000"/>
                <a:gd name="connsiteY411" fmla="*/ 498 h 10000"/>
                <a:gd name="connsiteX412" fmla="*/ 2904 w 10000"/>
                <a:gd name="connsiteY412" fmla="*/ 491 h 10000"/>
                <a:gd name="connsiteX413" fmla="*/ 2843 w 10000"/>
                <a:gd name="connsiteY413" fmla="*/ 484 h 10000"/>
                <a:gd name="connsiteX414" fmla="*/ 2788 w 10000"/>
                <a:gd name="connsiteY414" fmla="*/ 477 h 10000"/>
                <a:gd name="connsiteX415" fmla="*/ 2758 w 10000"/>
                <a:gd name="connsiteY415" fmla="*/ 477 h 10000"/>
                <a:gd name="connsiteX416" fmla="*/ 2730 w 10000"/>
                <a:gd name="connsiteY416" fmla="*/ 477 h 10000"/>
                <a:gd name="connsiteX417" fmla="*/ 2702 w 10000"/>
                <a:gd name="connsiteY417" fmla="*/ 477 h 10000"/>
                <a:gd name="connsiteX418" fmla="*/ 2672 w 10000"/>
                <a:gd name="connsiteY418" fmla="*/ 479 h 10000"/>
                <a:gd name="connsiteX419" fmla="*/ 2578 w 10000"/>
                <a:gd name="connsiteY419" fmla="*/ 479 h 10000"/>
                <a:gd name="connsiteX420" fmla="*/ 2485 w 10000"/>
                <a:gd name="connsiteY420" fmla="*/ 477 h 10000"/>
                <a:gd name="connsiteX421" fmla="*/ 2432 w 10000"/>
                <a:gd name="connsiteY421" fmla="*/ 472 h 10000"/>
                <a:gd name="connsiteX422" fmla="*/ 2384 w 10000"/>
                <a:gd name="connsiteY422" fmla="*/ 468 h 10000"/>
                <a:gd name="connsiteX423" fmla="*/ 2333 w 10000"/>
                <a:gd name="connsiteY423" fmla="*/ 460 h 10000"/>
                <a:gd name="connsiteX424" fmla="*/ 2285 w 10000"/>
                <a:gd name="connsiteY424" fmla="*/ 449 h 10000"/>
                <a:gd name="connsiteX425" fmla="*/ 2237 w 10000"/>
                <a:gd name="connsiteY425" fmla="*/ 437 h 10000"/>
                <a:gd name="connsiteX426" fmla="*/ 2192 w 10000"/>
                <a:gd name="connsiteY426" fmla="*/ 423 h 10000"/>
                <a:gd name="connsiteX427" fmla="*/ 2149 w 10000"/>
                <a:gd name="connsiteY427" fmla="*/ 404 h 10000"/>
                <a:gd name="connsiteX428" fmla="*/ 2109 w 10000"/>
                <a:gd name="connsiteY428" fmla="*/ 381 h 10000"/>
                <a:gd name="connsiteX429" fmla="*/ 2068 w 10000"/>
                <a:gd name="connsiteY429" fmla="*/ 358 h 10000"/>
                <a:gd name="connsiteX430" fmla="*/ 2033 w 10000"/>
                <a:gd name="connsiteY430" fmla="*/ 327 h 10000"/>
                <a:gd name="connsiteX431" fmla="*/ 2018 w 10000"/>
                <a:gd name="connsiteY431" fmla="*/ 311 h 10000"/>
                <a:gd name="connsiteX432" fmla="*/ 2000 w 10000"/>
                <a:gd name="connsiteY432" fmla="*/ 295 h 10000"/>
                <a:gd name="connsiteX433" fmla="*/ 1987 w 10000"/>
                <a:gd name="connsiteY433" fmla="*/ 276 h 10000"/>
                <a:gd name="connsiteX434" fmla="*/ 1975 w 10000"/>
                <a:gd name="connsiteY434" fmla="*/ 255 h 10000"/>
                <a:gd name="connsiteX435" fmla="*/ 1949 w 10000"/>
                <a:gd name="connsiteY435" fmla="*/ 220 h 10000"/>
                <a:gd name="connsiteX436" fmla="*/ 1922 w 10000"/>
                <a:gd name="connsiteY436" fmla="*/ 187 h 10000"/>
                <a:gd name="connsiteX437" fmla="*/ 1891 w 10000"/>
                <a:gd name="connsiteY437" fmla="*/ 159 h 10000"/>
                <a:gd name="connsiteX438" fmla="*/ 1856 w 10000"/>
                <a:gd name="connsiteY438" fmla="*/ 138 h 10000"/>
                <a:gd name="connsiteX439" fmla="*/ 1823 w 10000"/>
                <a:gd name="connsiteY439" fmla="*/ 115 h 10000"/>
                <a:gd name="connsiteX440" fmla="*/ 1785 w 10000"/>
                <a:gd name="connsiteY440" fmla="*/ 96 h 10000"/>
                <a:gd name="connsiteX441" fmla="*/ 1747 w 10000"/>
                <a:gd name="connsiteY441" fmla="*/ 79 h 10000"/>
                <a:gd name="connsiteX442" fmla="*/ 1707 w 10000"/>
                <a:gd name="connsiteY442" fmla="*/ 65 h 10000"/>
                <a:gd name="connsiteX443" fmla="*/ 1667 w 10000"/>
                <a:gd name="connsiteY443" fmla="*/ 54 h 10000"/>
                <a:gd name="connsiteX444" fmla="*/ 1621 w 10000"/>
                <a:gd name="connsiteY444" fmla="*/ 44 h 10000"/>
                <a:gd name="connsiteX445" fmla="*/ 1578 w 10000"/>
                <a:gd name="connsiteY445" fmla="*/ 35 h 10000"/>
                <a:gd name="connsiteX446" fmla="*/ 1535 w 10000"/>
                <a:gd name="connsiteY446" fmla="*/ 28 h 10000"/>
                <a:gd name="connsiteX447" fmla="*/ 1447 w 10000"/>
                <a:gd name="connsiteY447" fmla="*/ 19 h 10000"/>
                <a:gd name="connsiteX448" fmla="*/ 1364 w 10000"/>
                <a:gd name="connsiteY448" fmla="*/ 12 h 10000"/>
                <a:gd name="connsiteX449" fmla="*/ 1015 w 10000"/>
                <a:gd name="connsiteY449" fmla="*/ 0 h 10000"/>
                <a:gd name="connsiteX450" fmla="*/ 1015 w 10000"/>
                <a:gd name="connsiteY450" fmla="*/ 0 h 10000"/>
                <a:gd name="connsiteX451" fmla="*/ 1008 w 10000"/>
                <a:gd name="connsiteY451" fmla="*/ 63 h 10000"/>
                <a:gd name="connsiteX452" fmla="*/ 997 w 10000"/>
                <a:gd name="connsiteY452" fmla="*/ 129 h 10000"/>
                <a:gd name="connsiteX453" fmla="*/ 987 w 10000"/>
                <a:gd name="connsiteY453" fmla="*/ 192 h 10000"/>
                <a:gd name="connsiteX454" fmla="*/ 972 w 10000"/>
                <a:gd name="connsiteY454" fmla="*/ 257 h 10000"/>
                <a:gd name="connsiteX455" fmla="*/ 957 w 10000"/>
                <a:gd name="connsiteY455" fmla="*/ 323 h 10000"/>
                <a:gd name="connsiteX456" fmla="*/ 937 w 10000"/>
                <a:gd name="connsiteY456" fmla="*/ 386 h 10000"/>
                <a:gd name="connsiteX457" fmla="*/ 927 w 10000"/>
                <a:gd name="connsiteY457" fmla="*/ 416 h 10000"/>
                <a:gd name="connsiteX458" fmla="*/ 912 w 10000"/>
                <a:gd name="connsiteY458" fmla="*/ 446 h 10000"/>
                <a:gd name="connsiteX459" fmla="*/ 899 w 10000"/>
                <a:gd name="connsiteY459" fmla="*/ 475 h 10000"/>
                <a:gd name="connsiteX460" fmla="*/ 886 w 10000"/>
                <a:gd name="connsiteY460" fmla="*/ 503 h 10000"/>
                <a:gd name="connsiteX461" fmla="*/ 861 w 10000"/>
                <a:gd name="connsiteY461" fmla="*/ 566 h 10000"/>
                <a:gd name="connsiteX462" fmla="*/ 831 w 10000"/>
                <a:gd name="connsiteY462" fmla="*/ 629 h 10000"/>
                <a:gd name="connsiteX463" fmla="*/ 801 w 10000"/>
                <a:gd name="connsiteY463" fmla="*/ 690 h 10000"/>
                <a:gd name="connsiteX464" fmla="*/ 768 w 10000"/>
                <a:gd name="connsiteY464" fmla="*/ 750 h 10000"/>
                <a:gd name="connsiteX465" fmla="*/ 694 w 10000"/>
                <a:gd name="connsiteY465" fmla="*/ 870 h 10000"/>
                <a:gd name="connsiteX466" fmla="*/ 619 w 10000"/>
                <a:gd name="connsiteY466" fmla="*/ 984 h 10000"/>
                <a:gd name="connsiteX467" fmla="*/ 545 w 10000"/>
                <a:gd name="connsiteY467" fmla="*/ 1103 h 10000"/>
                <a:gd name="connsiteX468" fmla="*/ 470 w 10000"/>
                <a:gd name="connsiteY468" fmla="*/ 1223 h 10000"/>
                <a:gd name="connsiteX469" fmla="*/ 434 w 10000"/>
                <a:gd name="connsiteY469" fmla="*/ 1283 h 10000"/>
                <a:gd name="connsiteX470" fmla="*/ 402 w 10000"/>
                <a:gd name="connsiteY470" fmla="*/ 1344 h 10000"/>
                <a:gd name="connsiteX471" fmla="*/ 374 w 10000"/>
                <a:gd name="connsiteY471" fmla="*/ 1405 h 10000"/>
                <a:gd name="connsiteX472" fmla="*/ 346 w 10000"/>
                <a:gd name="connsiteY472" fmla="*/ 1468 h 10000"/>
                <a:gd name="connsiteX473" fmla="*/ 326 w 10000"/>
                <a:gd name="connsiteY473" fmla="*/ 1515 h 10000"/>
                <a:gd name="connsiteX474" fmla="*/ 311 w 10000"/>
                <a:gd name="connsiteY474" fmla="*/ 1564 h 10000"/>
                <a:gd name="connsiteX475" fmla="*/ 295 w 10000"/>
                <a:gd name="connsiteY475" fmla="*/ 1613 h 10000"/>
                <a:gd name="connsiteX476" fmla="*/ 280 w 10000"/>
                <a:gd name="connsiteY476" fmla="*/ 1662 h 10000"/>
                <a:gd name="connsiteX477" fmla="*/ 265 w 10000"/>
                <a:gd name="connsiteY477" fmla="*/ 1709 h 10000"/>
                <a:gd name="connsiteX478" fmla="*/ 247 w 10000"/>
                <a:gd name="connsiteY478" fmla="*/ 1760 h 10000"/>
                <a:gd name="connsiteX479" fmla="*/ 230 w 10000"/>
                <a:gd name="connsiteY479" fmla="*/ 1805 h 10000"/>
                <a:gd name="connsiteX480" fmla="*/ 210 w 10000"/>
                <a:gd name="connsiteY480" fmla="*/ 1851 h 10000"/>
                <a:gd name="connsiteX481" fmla="*/ 172 w 10000"/>
                <a:gd name="connsiteY481" fmla="*/ 1919 h 10000"/>
                <a:gd name="connsiteX482" fmla="*/ 139 w 10000"/>
                <a:gd name="connsiteY482" fmla="*/ 1989 h 10000"/>
                <a:gd name="connsiteX483" fmla="*/ 111 w 10000"/>
                <a:gd name="connsiteY483" fmla="*/ 2064 h 10000"/>
                <a:gd name="connsiteX484" fmla="*/ 86 w 10000"/>
                <a:gd name="connsiteY484" fmla="*/ 2137 h 10000"/>
                <a:gd name="connsiteX485" fmla="*/ 68 w 10000"/>
                <a:gd name="connsiteY485" fmla="*/ 2209 h 10000"/>
                <a:gd name="connsiteX486" fmla="*/ 53 w 10000"/>
                <a:gd name="connsiteY486" fmla="*/ 2286 h 10000"/>
                <a:gd name="connsiteX487" fmla="*/ 45 w 10000"/>
                <a:gd name="connsiteY487" fmla="*/ 2361 h 10000"/>
                <a:gd name="connsiteX488" fmla="*/ 38 w 10000"/>
                <a:gd name="connsiteY488" fmla="*/ 2440 h 10000"/>
                <a:gd name="connsiteX489" fmla="*/ 38 w 10000"/>
                <a:gd name="connsiteY489" fmla="*/ 2480 h 10000"/>
                <a:gd name="connsiteX490" fmla="*/ 38 w 10000"/>
                <a:gd name="connsiteY490" fmla="*/ 2520 h 10000"/>
                <a:gd name="connsiteX491" fmla="*/ 40 w 10000"/>
                <a:gd name="connsiteY491" fmla="*/ 2560 h 10000"/>
                <a:gd name="connsiteX492" fmla="*/ 45 w 10000"/>
                <a:gd name="connsiteY492" fmla="*/ 2602 h 10000"/>
                <a:gd name="connsiteX493" fmla="*/ 53 w 10000"/>
                <a:gd name="connsiteY493" fmla="*/ 2683 h 10000"/>
                <a:gd name="connsiteX494" fmla="*/ 68 w 10000"/>
                <a:gd name="connsiteY494" fmla="*/ 2768 h 10000"/>
                <a:gd name="connsiteX495" fmla="*/ 78 w 10000"/>
                <a:gd name="connsiteY495" fmla="*/ 2847 h 10000"/>
                <a:gd name="connsiteX496" fmla="*/ 86 w 10000"/>
                <a:gd name="connsiteY496" fmla="*/ 2929 h 10000"/>
                <a:gd name="connsiteX497" fmla="*/ 88 w 10000"/>
                <a:gd name="connsiteY497" fmla="*/ 2969 h 10000"/>
                <a:gd name="connsiteX498" fmla="*/ 88 w 10000"/>
                <a:gd name="connsiteY498" fmla="*/ 3011 h 10000"/>
                <a:gd name="connsiteX499" fmla="*/ 86 w 10000"/>
                <a:gd name="connsiteY499" fmla="*/ 3050 h 10000"/>
                <a:gd name="connsiteX500" fmla="*/ 81 w 10000"/>
                <a:gd name="connsiteY500" fmla="*/ 3088 h 10000"/>
                <a:gd name="connsiteX501" fmla="*/ 98 w 10000"/>
                <a:gd name="connsiteY501" fmla="*/ 3184 h 10000"/>
                <a:gd name="connsiteX502" fmla="*/ 121 w 10000"/>
                <a:gd name="connsiteY502" fmla="*/ 3275 h 10000"/>
                <a:gd name="connsiteX503" fmla="*/ 126 w 10000"/>
                <a:gd name="connsiteY503" fmla="*/ 3324 h 10000"/>
                <a:gd name="connsiteX504" fmla="*/ 131 w 10000"/>
                <a:gd name="connsiteY504" fmla="*/ 3368 h 10000"/>
                <a:gd name="connsiteX505" fmla="*/ 136 w 10000"/>
                <a:gd name="connsiteY505" fmla="*/ 3415 h 10000"/>
                <a:gd name="connsiteX506" fmla="*/ 131 w 10000"/>
                <a:gd name="connsiteY506" fmla="*/ 3464 h 10000"/>
                <a:gd name="connsiteX507" fmla="*/ 124 w 10000"/>
                <a:gd name="connsiteY507" fmla="*/ 3509 h 10000"/>
                <a:gd name="connsiteX508" fmla="*/ 114 w 10000"/>
                <a:gd name="connsiteY508" fmla="*/ 3555 h 10000"/>
                <a:gd name="connsiteX509" fmla="*/ 96 w 10000"/>
                <a:gd name="connsiteY509" fmla="*/ 3597 h 10000"/>
                <a:gd name="connsiteX510" fmla="*/ 81 w 10000"/>
                <a:gd name="connsiteY510" fmla="*/ 3642 h 10000"/>
                <a:gd name="connsiteX511" fmla="*/ 43 w 10000"/>
                <a:gd name="connsiteY511" fmla="*/ 3726 h 10000"/>
                <a:gd name="connsiteX512" fmla="*/ 5 w 10000"/>
                <a:gd name="connsiteY512" fmla="*/ 3810 h 10000"/>
                <a:gd name="connsiteX513" fmla="*/ 0 w 10000"/>
                <a:gd name="connsiteY513" fmla="*/ 3822 h 10000"/>
                <a:gd name="connsiteX514" fmla="*/ 0 w 10000"/>
                <a:gd name="connsiteY514" fmla="*/ 3836 h 10000"/>
                <a:gd name="connsiteX515" fmla="*/ 3 w 10000"/>
                <a:gd name="connsiteY515" fmla="*/ 3845 h 10000"/>
                <a:gd name="connsiteX516" fmla="*/ 5 w 10000"/>
                <a:gd name="connsiteY516" fmla="*/ 3857 h 10000"/>
                <a:gd name="connsiteX517" fmla="*/ 13 w 10000"/>
                <a:gd name="connsiteY517" fmla="*/ 3869 h 10000"/>
                <a:gd name="connsiteX518" fmla="*/ 20 w 10000"/>
                <a:gd name="connsiteY518" fmla="*/ 3878 h 10000"/>
                <a:gd name="connsiteX519" fmla="*/ 30 w 10000"/>
                <a:gd name="connsiteY519" fmla="*/ 3887 h 10000"/>
                <a:gd name="connsiteX520" fmla="*/ 45 w 10000"/>
                <a:gd name="connsiteY520" fmla="*/ 3897 h 10000"/>
                <a:gd name="connsiteX521" fmla="*/ 76 w 10000"/>
                <a:gd name="connsiteY521" fmla="*/ 3913 h 10000"/>
                <a:gd name="connsiteX522" fmla="*/ 114 w 10000"/>
                <a:gd name="connsiteY522" fmla="*/ 3929 h 10000"/>
                <a:gd name="connsiteX523" fmla="*/ 154 w 10000"/>
                <a:gd name="connsiteY523" fmla="*/ 3941 h 10000"/>
                <a:gd name="connsiteX524" fmla="*/ 199 w 10000"/>
                <a:gd name="connsiteY524" fmla="*/ 3955 h 10000"/>
                <a:gd name="connsiteX525" fmla="*/ 247 w 10000"/>
                <a:gd name="connsiteY525" fmla="*/ 3962 h 10000"/>
                <a:gd name="connsiteX526" fmla="*/ 293 w 10000"/>
                <a:gd name="connsiteY526" fmla="*/ 3969 h 10000"/>
                <a:gd name="connsiteX527" fmla="*/ 341 w 10000"/>
                <a:gd name="connsiteY527" fmla="*/ 3974 h 10000"/>
                <a:gd name="connsiteX528" fmla="*/ 384 w 10000"/>
                <a:gd name="connsiteY528" fmla="*/ 3978 h 10000"/>
                <a:gd name="connsiteX529" fmla="*/ 424 w 10000"/>
                <a:gd name="connsiteY529" fmla="*/ 3981 h 10000"/>
                <a:gd name="connsiteX530" fmla="*/ 462 w 10000"/>
                <a:gd name="connsiteY530" fmla="*/ 3981 h 10000"/>
                <a:gd name="connsiteX531" fmla="*/ 492 w 10000"/>
                <a:gd name="connsiteY531" fmla="*/ 3978 h 10000"/>
                <a:gd name="connsiteX532" fmla="*/ 515 w 10000"/>
                <a:gd name="connsiteY532" fmla="*/ 3974 h 10000"/>
                <a:gd name="connsiteX533" fmla="*/ 538 w 10000"/>
                <a:gd name="connsiteY533" fmla="*/ 3971 h 10000"/>
                <a:gd name="connsiteX534" fmla="*/ 563 w 10000"/>
                <a:gd name="connsiteY534" fmla="*/ 3971 h 10000"/>
                <a:gd name="connsiteX535" fmla="*/ 588 w 10000"/>
                <a:gd name="connsiteY535" fmla="*/ 3978 h 10000"/>
                <a:gd name="connsiteX536" fmla="*/ 609 w 10000"/>
                <a:gd name="connsiteY536" fmla="*/ 3988 h 10000"/>
                <a:gd name="connsiteX537" fmla="*/ 634 w 10000"/>
                <a:gd name="connsiteY537" fmla="*/ 4000 h 10000"/>
                <a:gd name="connsiteX538" fmla="*/ 659 w 10000"/>
                <a:gd name="connsiteY538" fmla="*/ 4014 h 10000"/>
                <a:gd name="connsiteX539" fmla="*/ 682 w 10000"/>
                <a:gd name="connsiteY539" fmla="*/ 4032 h 10000"/>
                <a:gd name="connsiteX540" fmla="*/ 705 w 10000"/>
                <a:gd name="connsiteY540" fmla="*/ 4051 h 10000"/>
                <a:gd name="connsiteX541" fmla="*/ 753 w 10000"/>
                <a:gd name="connsiteY541" fmla="*/ 4088 h 10000"/>
                <a:gd name="connsiteX542" fmla="*/ 801 w 10000"/>
                <a:gd name="connsiteY542" fmla="*/ 4126 h 10000"/>
                <a:gd name="connsiteX543" fmla="*/ 826 w 10000"/>
                <a:gd name="connsiteY543" fmla="*/ 4140 h 10000"/>
                <a:gd name="connsiteX544" fmla="*/ 851 w 10000"/>
                <a:gd name="connsiteY544" fmla="*/ 4154 h 10000"/>
                <a:gd name="connsiteX545" fmla="*/ 874 w 10000"/>
                <a:gd name="connsiteY545" fmla="*/ 4165 h 10000"/>
                <a:gd name="connsiteX546" fmla="*/ 899 w 10000"/>
                <a:gd name="connsiteY546" fmla="*/ 4173 h 10000"/>
                <a:gd name="connsiteX547" fmla="*/ 952 w 10000"/>
                <a:gd name="connsiteY547" fmla="*/ 4247 h 10000"/>
                <a:gd name="connsiteX548" fmla="*/ 1025 w 10000"/>
                <a:gd name="connsiteY548" fmla="*/ 4348 h 10000"/>
                <a:gd name="connsiteX549" fmla="*/ 1043 w 10000"/>
                <a:gd name="connsiteY549" fmla="*/ 4374 h 10000"/>
                <a:gd name="connsiteX550" fmla="*/ 1066 w 10000"/>
                <a:gd name="connsiteY550" fmla="*/ 4397 h 10000"/>
                <a:gd name="connsiteX551" fmla="*/ 1088 w 10000"/>
                <a:gd name="connsiteY551" fmla="*/ 4418 h 10000"/>
                <a:gd name="connsiteX552" fmla="*/ 1109 w 10000"/>
                <a:gd name="connsiteY552" fmla="*/ 4437 h 10000"/>
                <a:gd name="connsiteX553" fmla="*/ 1129 w 10000"/>
                <a:gd name="connsiteY553" fmla="*/ 4451 h 10000"/>
                <a:gd name="connsiteX554" fmla="*/ 1149 w 10000"/>
                <a:gd name="connsiteY554" fmla="*/ 4462 h 10000"/>
                <a:gd name="connsiteX555" fmla="*/ 1159 w 10000"/>
                <a:gd name="connsiteY555" fmla="*/ 4465 h 10000"/>
                <a:gd name="connsiteX556" fmla="*/ 1169 w 10000"/>
                <a:gd name="connsiteY556" fmla="*/ 4467 h 10000"/>
                <a:gd name="connsiteX557" fmla="*/ 1179 w 10000"/>
                <a:gd name="connsiteY557" fmla="*/ 4467 h 10000"/>
                <a:gd name="connsiteX558" fmla="*/ 1189 w 10000"/>
                <a:gd name="connsiteY558" fmla="*/ 4467 h 10000"/>
                <a:gd name="connsiteX559" fmla="*/ 1235 w 10000"/>
                <a:gd name="connsiteY559" fmla="*/ 4460 h 10000"/>
                <a:gd name="connsiteX560" fmla="*/ 1280 w 10000"/>
                <a:gd name="connsiteY560" fmla="*/ 4446 h 10000"/>
                <a:gd name="connsiteX561" fmla="*/ 1328 w 10000"/>
                <a:gd name="connsiteY561" fmla="*/ 4434 h 10000"/>
                <a:gd name="connsiteX562" fmla="*/ 1374 w 10000"/>
                <a:gd name="connsiteY562" fmla="*/ 4418 h 10000"/>
                <a:gd name="connsiteX563" fmla="*/ 1470 w 10000"/>
                <a:gd name="connsiteY563" fmla="*/ 4385 h 10000"/>
                <a:gd name="connsiteX564" fmla="*/ 1558 w 10000"/>
                <a:gd name="connsiteY564" fmla="*/ 4357 h 10000"/>
                <a:gd name="connsiteX565" fmla="*/ 1586 w 10000"/>
                <a:gd name="connsiteY565" fmla="*/ 4348 h 10000"/>
                <a:gd name="connsiteX566" fmla="*/ 1606 w 10000"/>
                <a:gd name="connsiteY566" fmla="*/ 4338 h 10000"/>
                <a:gd name="connsiteX567" fmla="*/ 1624 w 10000"/>
                <a:gd name="connsiteY567" fmla="*/ 4324 h 10000"/>
                <a:gd name="connsiteX568" fmla="*/ 1641 w 10000"/>
                <a:gd name="connsiteY568" fmla="*/ 4317 h 10000"/>
                <a:gd name="connsiteX569" fmla="*/ 1649 w 10000"/>
                <a:gd name="connsiteY569" fmla="*/ 4315 h 10000"/>
                <a:gd name="connsiteX570" fmla="*/ 1654 w 10000"/>
                <a:gd name="connsiteY570" fmla="*/ 4313 h 10000"/>
                <a:gd name="connsiteX571" fmla="*/ 1667 w 10000"/>
                <a:gd name="connsiteY571" fmla="*/ 4313 h 10000"/>
                <a:gd name="connsiteX572" fmla="*/ 1674 w 10000"/>
                <a:gd name="connsiteY572" fmla="*/ 4315 h 10000"/>
                <a:gd name="connsiteX573" fmla="*/ 1684 w 10000"/>
                <a:gd name="connsiteY573" fmla="*/ 4317 h 10000"/>
                <a:gd name="connsiteX574" fmla="*/ 1694 w 10000"/>
                <a:gd name="connsiteY574" fmla="*/ 4322 h 10000"/>
                <a:gd name="connsiteX575" fmla="*/ 1710 w 10000"/>
                <a:gd name="connsiteY575" fmla="*/ 4329 h 10000"/>
                <a:gd name="connsiteX576" fmla="*/ 1722 w 10000"/>
                <a:gd name="connsiteY576" fmla="*/ 4343 h 10000"/>
                <a:gd name="connsiteX577" fmla="*/ 1745 w 10000"/>
                <a:gd name="connsiteY577" fmla="*/ 4360 h 10000"/>
                <a:gd name="connsiteX578" fmla="*/ 1768 w 10000"/>
                <a:gd name="connsiteY578" fmla="*/ 4383 h 10000"/>
                <a:gd name="connsiteX579" fmla="*/ 1788 w 10000"/>
                <a:gd name="connsiteY579" fmla="*/ 4409 h 10000"/>
                <a:gd name="connsiteX580" fmla="*/ 1808 w 10000"/>
                <a:gd name="connsiteY580" fmla="*/ 4437 h 10000"/>
                <a:gd name="connsiteX581" fmla="*/ 1823 w 10000"/>
                <a:gd name="connsiteY581" fmla="*/ 4467 h 10000"/>
                <a:gd name="connsiteX582" fmla="*/ 1836 w 10000"/>
                <a:gd name="connsiteY582" fmla="*/ 4497 h 10000"/>
                <a:gd name="connsiteX583" fmla="*/ 1843 w 10000"/>
                <a:gd name="connsiteY583" fmla="*/ 4525 h 10000"/>
                <a:gd name="connsiteX584" fmla="*/ 1846 w 10000"/>
                <a:gd name="connsiteY584" fmla="*/ 4556 h 10000"/>
                <a:gd name="connsiteX585" fmla="*/ 1846 w 10000"/>
                <a:gd name="connsiteY585" fmla="*/ 4582 h 10000"/>
                <a:gd name="connsiteX586" fmla="*/ 1843 w 10000"/>
                <a:gd name="connsiteY586" fmla="*/ 4607 h 10000"/>
                <a:gd name="connsiteX587" fmla="*/ 1846 w 10000"/>
                <a:gd name="connsiteY587" fmla="*/ 4619 h 10000"/>
                <a:gd name="connsiteX588" fmla="*/ 1851 w 10000"/>
                <a:gd name="connsiteY588" fmla="*/ 4628 h 10000"/>
                <a:gd name="connsiteX589" fmla="*/ 1861 w 10000"/>
                <a:gd name="connsiteY589" fmla="*/ 4638 h 10000"/>
                <a:gd name="connsiteX590" fmla="*/ 1876 w 10000"/>
                <a:gd name="connsiteY590" fmla="*/ 4645 h 10000"/>
                <a:gd name="connsiteX591" fmla="*/ 1904 w 10000"/>
                <a:gd name="connsiteY591" fmla="*/ 4659 h 10000"/>
                <a:gd name="connsiteX592" fmla="*/ 1927 w 10000"/>
                <a:gd name="connsiteY592" fmla="*/ 4673 h 10000"/>
                <a:gd name="connsiteX593" fmla="*/ 1949 w 10000"/>
                <a:gd name="connsiteY593" fmla="*/ 4687 h 10000"/>
                <a:gd name="connsiteX594" fmla="*/ 1967 w 10000"/>
                <a:gd name="connsiteY594" fmla="*/ 4698 h 10000"/>
                <a:gd name="connsiteX595" fmla="*/ 1985 w 10000"/>
                <a:gd name="connsiteY595" fmla="*/ 4715 h 10000"/>
                <a:gd name="connsiteX596" fmla="*/ 1997 w 10000"/>
                <a:gd name="connsiteY596" fmla="*/ 4729 h 10000"/>
                <a:gd name="connsiteX597" fmla="*/ 2010 w 10000"/>
                <a:gd name="connsiteY597" fmla="*/ 4745 h 10000"/>
                <a:gd name="connsiteX598" fmla="*/ 2018 w 10000"/>
                <a:gd name="connsiteY598" fmla="*/ 4759 h 10000"/>
                <a:gd name="connsiteX599" fmla="*/ 2023 w 10000"/>
                <a:gd name="connsiteY599" fmla="*/ 4778 h 10000"/>
                <a:gd name="connsiteX600" fmla="*/ 2023 w 10000"/>
                <a:gd name="connsiteY600" fmla="*/ 4797 h 10000"/>
                <a:gd name="connsiteX601" fmla="*/ 2023 w 10000"/>
                <a:gd name="connsiteY601" fmla="*/ 4815 h 10000"/>
                <a:gd name="connsiteX602" fmla="*/ 2018 w 10000"/>
                <a:gd name="connsiteY602" fmla="*/ 4839 h 10000"/>
                <a:gd name="connsiteX603" fmla="*/ 2010 w 10000"/>
                <a:gd name="connsiteY603" fmla="*/ 4860 h 10000"/>
                <a:gd name="connsiteX604" fmla="*/ 1995 w 10000"/>
                <a:gd name="connsiteY604" fmla="*/ 4885 h 10000"/>
                <a:gd name="connsiteX605" fmla="*/ 1980 w 10000"/>
                <a:gd name="connsiteY605" fmla="*/ 4914 h 10000"/>
                <a:gd name="connsiteX606" fmla="*/ 1960 w 10000"/>
                <a:gd name="connsiteY606" fmla="*/ 4944 h 10000"/>
                <a:gd name="connsiteX607" fmla="*/ 1949 w 10000"/>
                <a:gd name="connsiteY607" fmla="*/ 4979 h 10000"/>
                <a:gd name="connsiteX608" fmla="*/ 1939 w 10000"/>
                <a:gd name="connsiteY608" fmla="*/ 5021 h 10000"/>
                <a:gd name="connsiteX609" fmla="*/ 1932 w 10000"/>
                <a:gd name="connsiteY609" fmla="*/ 5072 h 10000"/>
                <a:gd name="connsiteX610" fmla="*/ 1927 w 10000"/>
                <a:gd name="connsiteY610" fmla="*/ 5126 h 10000"/>
                <a:gd name="connsiteX611" fmla="*/ 1927 w 10000"/>
                <a:gd name="connsiteY611" fmla="*/ 5175 h 10000"/>
                <a:gd name="connsiteX612" fmla="*/ 1929 w 10000"/>
                <a:gd name="connsiteY612" fmla="*/ 5227 h 10000"/>
                <a:gd name="connsiteX613" fmla="*/ 1937 w 10000"/>
                <a:gd name="connsiteY613" fmla="*/ 5271 h 10000"/>
                <a:gd name="connsiteX614" fmla="*/ 1944 w 10000"/>
                <a:gd name="connsiteY614" fmla="*/ 5306 h 10000"/>
                <a:gd name="connsiteX615" fmla="*/ 1949 w 10000"/>
                <a:gd name="connsiteY615" fmla="*/ 5327 h 10000"/>
                <a:gd name="connsiteX616" fmla="*/ 1949 w 10000"/>
                <a:gd name="connsiteY616" fmla="*/ 5348 h 10000"/>
                <a:gd name="connsiteX617" fmla="*/ 1947 w 10000"/>
                <a:gd name="connsiteY617" fmla="*/ 5369 h 10000"/>
                <a:gd name="connsiteX618" fmla="*/ 1942 w 10000"/>
                <a:gd name="connsiteY618" fmla="*/ 5393 h 10000"/>
                <a:gd name="connsiteX619" fmla="*/ 1937 w 10000"/>
                <a:gd name="connsiteY619" fmla="*/ 5416 h 10000"/>
                <a:gd name="connsiteX620" fmla="*/ 1927 w 10000"/>
                <a:gd name="connsiteY620" fmla="*/ 5439 h 10000"/>
                <a:gd name="connsiteX621" fmla="*/ 1917 w 10000"/>
                <a:gd name="connsiteY621" fmla="*/ 5463 h 10000"/>
                <a:gd name="connsiteX622" fmla="*/ 1904 w 10000"/>
                <a:gd name="connsiteY622" fmla="*/ 5486 h 10000"/>
                <a:gd name="connsiteX623" fmla="*/ 1876 w 10000"/>
                <a:gd name="connsiteY623" fmla="*/ 5533 h 10000"/>
                <a:gd name="connsiteX624" fmla="*/ 1846 w 10000"/>
                <a:gd name="connsiteY624" fmla="*/ 5575 h 10000"/>
                <a:gd name="connsiteX625" fmla="*/ 1816 w 10000"/>
                <a:gd name="connsiteY625" fmla="*/ 5612 h 10000"/>
                <a:gd name="connsiteX626" fmla="*/ 1788 w 10000"/>
                <a:gd name="connsiteY626" fmla="*/ 5643 h 10000"/>
                <a:gd name="connsiteX627" fmla="*/ 1753 w 10000"/>
                <a:gd name="connsiteY627" fmla="*/ 5680 h 10000"/>
                <a:gd name="connsiteX628" fmla="*/ 1722 w 10000"/>
                <a:gd name="connsiteY628" fmla="*/ 5713 h 10000"/>
                <a:gd name="connsiteX629" fmla="*/ 1699 w 10000"/>
                <a:gd name="connsiteY629" fmla="*/ 5741 h 10000"/>
                <a:gd name="connsiteX630" fmla="*/ 1682 w 10000"/>
                <a:gd name="connsiteY630" fmla="*/ 5771 h 10000"/>
                <a:gd name="connsiteX631" fmla="*/ 1674 w 10000"/>
                <a:gd name="connsiteY631" fmla="*/ 5788 h 10000"/>
                <a:gd name="connsiteX632" fmla="*/ 1669 w 10000"/>
                <a:gd name="connsiteY632" fmla="*/ 5802 h 10000"/>
                <a:gd name="connsiteX633" fmla="*/ 1667 w 10000"/>
                <a:gd name="connsiteY633" fmla="*/ 5820 h 10000"/>
                <a:gd name="connsiteX634" fmla="*/ 1659 w 10000"/>
                <a:gd name="connsiteY634" fmla="*/ 5837 h 10000"/>
                <a:gd name="connsiteX635" fmla="*/ 1657 w 10000"/>
                <a:gd name="connsiteY635" fmla="*/ 5877 h 10000"/>
                <a:gd name="connsiteX636" fmla="*/ 1654 w 10000"/>
                <a:gd name="connsiteY636" fmla="*/ 5928 h 10000"/>
                <a:gd name="connsiteX637" fmla="*/ 1652 w 10000"/>
                <a:gd name="connsiteY637" fmla="*/ 5949 h 10000"/>
                <a:gd name="connsiteX638" fmla="*/ 1646 w 10000"/>
                <a:gd name="connsiteY638" fmla="*/ 5968 h 10000"/>
                <a:gd name="connsiteX639" fmla="*/ 1636 w 10000"/>
                <a:gd name="connsiteY639" fmla="*/ 5991 h 10000"/>
                <a:gd name="connsiteX640" fmla="*/ 1619 w 10000"/>
                <a:gd name="connsiteY640" fmla="*/ 6017 h 10000"/>
                <a:gd name="connsiteX641" fmla="*/ 1604 w 10000"/>
                <a:gd name="connsiteY641" fmla="*/ 6043 h 10000"/>
                <a:gd name="connsiteX642" fmla="*/ 1583 w 10000"/>
                <a:gd name="connsiteY642" fmla="*/ 6066 h 10000"/>
                <a:gd name="connsiteX643" fmla="*/ 1563 w 10000"/>
                <a:gd name="connsiteY643" fmla="*/ 6094 h 10000"/>
                <a:gd name="connsiteX644" fmla="*/ 1538 w 10000"/>
                <a:gd name="connsiteY644" fmla="*/ 6120 h 10000"/>
                <a:gd name="connsiteX645" fmla="*/ 1487 w 10000"/>
                <a:gd name="connsiteY645" fmla="*/ 6171 h 10000"/>
                <a:gd name="connsiteX646" fmla="*/ 1439 w 10000"/>
                <a:gd name="connsiteY646" fmla="*/ 6216 h 10000"/>
                <a:gd name="connsiteX647" fmla="*/ 1396 w 10000"/>
                <a:gd name="connsiteY647" fmla="*/ 6253 h 10000"/>
                <a:gd name="connsiteX648" fmla="*/ 1356 w 10000"/>
                <a:gd name="connsiteY648" fmla="*/ 6279 h 10000"/>
                <a:gd name="connsiteX649" fmla="*/ 1336 w 10000"/>
                <a:gd name="connsiteY649" fmla="*/ 6302 h 10000"/>
                <a:gd name="connsiteX650" fmla="*/ 1316 w 10000"/>
                <a:gd name="connsiteY650" fmla="*/ 6328 h 10000"/>
                <a:gd name="connsiteX651" fmla="*/ 1295 w 10000"/>
                <a:gd name="connsiteY651" fmla="*/ 6356 h 10000"/>
                <a:gd name="connsiteX652" fmla="*/ 1275 w 10000"/>
                <a:gd name="connsiteY652" fmla="*/ 6381 h 10000"/>
                <a:gd name="connsiteX653" fmla="*/ 1258 w 10000"/>
                <a:gd name="connsiteY653" fmla="*/ 6412 h 10000"/>
                <a:gd name="connsiteX654" fmla="*/ 1240 w 10000"/>
                <a:gd name="connsiteY654" fmla="*/ 6445 h 10000"/>
                <a:gd name="connsiteX655" fmla="*/ 1225 w 10000"/>
                <a:gd name="connsiteY655" fmla="*/ 6482 h 10000"/>
                <a:gd name="connsiteX656" fmla="*/ 1210 w 10000"/>
                <a:gd name="connsiteY656" fmla="*/ 6515 h 10000"/>
                <a:gd name="connsiteX657" fmla="*/ 1199 w 10000"/>
                <a:gd name="connsiteY657" fmla="*/ 6550 h 10000"/>
                <a:gd name="connsiteX658" fmla="*/ 1189 w 10000"/>
                <a:gd name="connsiteY658" fmla="*/ 6585 h 10000"/>
                <a:gd name="connsiteX659" fmla="*/ 1179 w 10000"/>
                <a:gd name="connsiteY659" fmla="*/ 6620 h 10000"/>
                <a:gd name="connsiteX660" fmla="*/ 1174 w 10000"/>
                <a:gd name="connsiteY660" fmla="*/ 6655 h 10000"/>
                <a:gd name="connsiteX661" fmla="*/ 1172 w 10000"/>
                <a:gd name="connsiteY661" fmla="*/ 6688 h 10000"/>
                <a:gd name="connsiteX662" fmla="*/ 1172 w 10000"/>
                <a:gd name="connsiteY662" fmla="*/ 6720 h 10000"/>
                <a:gd name="connsiteX663" fmla="*/ 1177 w 10000"/>
                <a:gd name="connsiteY663" fmla="*/ 6753 h 10000"/>
                <a:gd name="connsiteX664" fmla="*/ 1182 w 10000"/>
                <a:gd name="connsiteY664" fmla="*/ 6784 h 10000"/>
                <a:gd name="connsiteX665" fmla="*/ 1199 w 10000"/>
                <a:gd name="connsiteY665" fmla="*/ 6851 h 10000"/>
                <a:gd name="connsiteX666" fmla="*/ 1212 w 10000"/>
                <a:gd name="connsiteY666" fmla="*/ 6912 h 10000"/>
                <a:gd name="connsiteX667" fmla="*/ 1217 w 10000"/>
                <a:gd name="connsiteY667" fmla="*/ 6940 h 10000"/>
                <a:gd name="connsiteX668" fmla="*/ 1225 w 10000"/>
                <a:gd name="connsiteY668" fmla="*/ 6968 h 10000"/>
                <a:gd name="connsiteX669" fmla="*/ 1230 w 10000"/>
                <a:gd name="connsiteY669" fmla="*/ 6992 h 10000"/>
                <a:gd name="connsiteX670" fmla="*/ 1240 w 10000"/>
                <a:gd name="connsiteY670" fmla="*/ 7013 h 10000"/>
                <a:gd name="connsiteX671" fmla="*/ 1250 w 10000"/>
                <a:gd name="connsiteY671" fmla="*/ 7034 h 10000"/>
                <a:gd name="connsiteX672" fmla="*/ 1265 w 10000"/>
                <a:gd name="connsiteY672" fmla="*/ 7052 h 10000"/>
                <a:gd name="connsiteX673" fmla="*/ 1283 w 10000"/>
                <a:gd name="connsiteY673" fmla="*/ 7069 h 10000"/>
                <a:gd name="connsiteX674" fmla="*/ 1306 w 10000"/>
                <a:gd name="connsiteY674" fmla="*/ 7083 h 10000"/>
                <a:gd name="connsiteX675" fmla="*/ 1333 w 10000"/>
                <a:gd name="connsiteY675" fmla="*/ 7094 h 10000"/>
                <a:gd name="connsiteX676" fmla="*/ 1366 w 10000"/>
                <a:gd name="connsiteY676" fmla="*/ 7104 h 10000"/>
                <a:gd name="connsiteX677" fmla="*/ 1407 w 10000"/>
                <a:gd name="connsiteY677" fmla="*/ 7113 h 10000"/>
                <a:gd name="connsiteX678" fmla="*/ 1449 w 10000"/>
                <a:gd name="connsiteY678" fmla="*/ 7118 h 10000"/>
                <a:gd name="connsiteX679" fmla="*/ 1535 w 10000"/>
                <a:gd name="connsiteY679" fmla="*/ 7118 h 10000"/>
                <a:gd name="connsiteX680" fmla="*/ 1619 w 10000"/>
                <a:gd name="connsiteY680" fmla="*/ 7115 h 10000"/>
                <a:gd name="connsiteX681" fmla="*/ 1641 w 10000"/>
                <a:gd name="connsiteY681" fmla="*/ 7118 h 10000"/>
                <a:gd name="connsiteX682" fmla="*/ 1659 w 10000"/>
                <a:gd name="connsiteY682" fmla="*/ 7120 h 10000"/>
                <a:gd name="connsiteX683" fmla="*/ 1679 w 10000"/>
                <a:gd name="connsiteY683" fmla="*/ 7122 h 10000"/>
                <a:gd name="connsiteX684" fmla="*/ 1694 w 10000"/>
                <a:gd name="connsiteY684" fmla="*/ 7129 h 10000"/>
                <a:gd name="connsiteX685" fmla="*/ 1712 w 10000"/>
                <a:gd name="connsiteY685" fmla="*/ 7137 h 10000"/>
                <a:gd name="connsiteX686" fmla="*/ 1727 w 10000"/>
                <a:gd name="connsiteY686" fmla="*/ 7148 h 10000"/>
                <a:gd name="connsiteX687" fmla="*/ 1740 w 10000"/>
                <a:gd name="connsiteY687" fmla="*/ 7160 h 10000"/>
                <a:gd name="connsiteX688" fmla="*/ 1750 w 10000"/>
                <a:gd name="connsiteY688" fmla="*/ 7179 h 10000"/>
                <a:gd name="connsiteX689" fmla="*/ 1773 w 10000"/>
                <a:gd name="connsiteY689" fmla="*/ 7216 h 10000"/>
                <a:gd name="connsiteX690" fmla="*/ 1795 w 10000"/>
                <a:gd name="connsiteY690" fmla="*/ 7253 h 10000"/>
                <a:gd name="connsiteX691" fmla="*/ 1811 w 10000"/>
                <a:gd name="connsiteY691" fmla="*/ 7274 h 10000"/>
                <a:gd name="connsiteX692" fmla="*/ 1823 w 10000"/>
                <a:gd name="connsiteY692" fmla="*/ 7291 h 10000"/>
                <a:gd name="connsiteX693" fmla="*/ 1838 w 10000"/>
                <a:gd name="connsiteY693" fmla="*/ 7307 h 10000"/>
                <a:gd name="connsiteX694" fmla="*/ 1854 w 10000"/>
                <a:gd name="connsiteY694" fmla="*/ 7321 h 10000"/>
                <a:gd name="connsiteX695" fmla="*/ 1871 w 10000"/>
                <a:gd name="connsiteY695" fmla="*/ 7338 h 10000"/>
                <a:gd name="connsiteX696" fmla="*/ 1781 w 10000"/>
                <a:gd name="connsiteY696" fmla="*/ 7393 h 10000"/>
                <a:gd name="connsiteX697" fmla="*/ 1739 w 10000"/>
                <a:gd name="connsiteY697" fmla="*/ 7577 h 10000"/>
                <a:gd name="connsiteX698" fmla="*/ 1600 w 10000"/>
                <a:gd name="connsiteY698" fmla="*/ 7774 h 10000"/>
                <a:gd name="connsiteX699" fmla="*/ 1410 w 10000"/>
                <a:gd name="connsiteY699" fmla="*/ 8130 h 10000"/>
                <a:gd name="connsiteX700" fmla="*/ 1236 w 10000"/>
                <a:gd name="connsiteY700" fmla="*/ 8181 h 10000"/>
                <a:gd name="connsiteX701" fmla="*/ 1149 w 10000"/>
                <a:gd name="connsiteY701" fmla="*/ 8256 h 10000"/>
                <a:gd name="connsiteX702" fmla="*/ 1139 w 10000"/>
                <a:gd name="connsiteY702" fmla="*/ 8249 h 10000"/>
                <a:gd name="connsiteX703" fmla="*/ 1126 w 10000"/>
                <a:gd name="connsiteY703" fmla="*/ 8240 h 10000"/>
                <a:gd name="connsiteX704" fmla="*/ 1114 w 10000"/>
                <a:gd name="connsiteY704" fmla="*/ 8240 h 10000"/>
                <a:gd name="connsiteX705" fmla="*/ 1091 w 10000"/>
                <a:gd name="connsiteY705" fmla="*/ 8242 h 10000"/>
                <a:gd name="connsiteX706" fmla="*/ 1071 w 10000"/>
                <a:gd name="connsiteY706" fmla="*/ 8252 h 10000"/>
                <a:gd name="connsiteX707" fmla="*/ 1048 w 10000"/>
                <a:gd name="connsiteY707" fmla="*/ 8261 h 10000"/>
                <a:gd name="connsiteX708" fmla="*/ 1030 w 10000"/>
                <a:gd name="connsiteY708" fmla="*/ 8273 h 10000"/>
                <a:gd name="connsiteX709" fmla="*/ 1010 w 10000"/>
                <a:gd name="connsiteY709" fmla="*/ 8287 h 10000"/>
                <a:gd name="connsiteX710" fmla="*/ 995 w 10000"/>
                <a:gd name="connsiteY710" fmla="*/ 8303 h 10000"/>
                <a:gd name="connsiteX711" fmla="*/ 975 w 10000"/>
                <a:gd name="connsiteY711" fmla="*/ 8322 h 10000"/>
                <a:gd name="connsiteX712" fmla="*/ 960 w 10000"/>
                <a:gd name="connsiteY712" fmla="*/ 8343 h 10000"/>
                <a:gd name="connsiteX713" fmla="*/ 927 w 10000"/>
                <a:gd name="connsiteY713" fmla="*/ 8380 h 10000"/>
                <a:gd name="connsiteX714" fmla="*/ 891 w 10000"/>
                <a:gd name="connsiteY714" fmla="*/ 8417 h 10000"/>
                <a:gd name="connsiteX715" fmla="*/ 874 w 10000"/>
                <a:gd name="connsiteY715" fmla="*/ 8436 h 10000"/>
                <a:gd name="connsiteX716" fmla="*/ 859 w 10000"/>
                <a:gd name="connsiteY716" fmla="*/ 8450 h 10000"/>
                <a:gd name="connsiteX717" fmla="*/ 838 w 10000"/>
                <a:gd name="connsiteY717" fmla="*/ 8462 h 10000"/>
                <a:gd name="connsiteX718" fmla="*/ 821 w 10000"/>
                <a:gd name="connsiteY718" fmla="*/ 8476 h 10000"/>
                <a:gd name="connsiteX719" fmla="*/ 742 w 10000"/>
                <a:gd name="connsiteY719" fmla="*/ 8562 h 10000"/>
                <a:gd name="connsiteX720" fmla="*/ 672 w 10000"/>
                <a:gd name="connsiteY720" fmla="*/ 8644 h 10000"/>
                <a:gd name="connsiteX721" fmla="*/ 639 w 10000"/>
                <a:gd name="connsiteY721" fmla="*/ 8684 h 10000"/>
                <a:gd name="connsiteX722" fmla="*/ 609 w 10000"/>
                <a:gd name="connsiteY722" fmla="*/ 8731 h 10000"/>
                <a:gd name="connsiteX723" fmla="*/ 583 w 10000"/>
                <a:gd name="connsiteY723" fmla="*/ 8777 h 10000"/>
                <a:gd name="connsiteX724" fmla="*/ 556 w 10000"/>
                <a:gd name="connsiteY724" fmla="*/ 8831 h 10000"/>
                <a:gd name="connsiteX725" fmla="*/ 545 w 10000"/>
                <a:gd name="connsiteY725" fmla="*/ 8852 h 10000"/>
                <a:gd name="connsiteX726" fmla="*/ 525 w 10000"/>
                <a:gd name="connsiteY726" fmla="*/ 8885 h 10000"/>
                <a:gd name="connsiteX727" fmla="*/ 503 w 10000"/>
                <a:gd name="connsiteY727" fmla="*/ 8925 h 10000"/>
                <a:gd name="connsiteX728" fmla="*/ 480 w 10000"/>
                <a:gd name="connsiteY728" fmla="*/ 8962 h 10000"/>
                <a:gd name="connsiteX729" fmla="*/ 465 w 10000"/>
                <a:gd name="connsiteY729" fmla="*/ 8981 h 10000"/>
                <a:gd name="connsiteX730" fmla="*/ 455 w 10000"/>
                <a:gd name="connsiteY730" fmla="*/ 8993 h 10000"/>
                <a:gd name="connsiteX731" fmla="*/ 444 w 10000"/>
                <a:gd name="connsiteY731" fmla="*/ 9000 h 10000"/>
                <a:gd name="connsiteX732" fmla="*/ 434 w 10000"/>
                <a:gd name="connsiteY732" fmla="*/ 9007 h 10000"/>
                <a:gd name="connsiteX733" fmla="*/ 432 w 10000"/>
                <a:gd name="connsiteY733" fmla="*/ 9007 h 10000"/>
                <a:gd name="connsiteX734" fmla="*/ 429 w 10000"/>
                <a:gd name="connsiteY734" fmla="*/ 9004 h 10000"/>
                <a:gd name="connsiteX735" fmla="*/ 427 w 10000"/>
                <a:gd name="connsiteY735" fmla="*/ 8997 h 10000"/>
                <a:gd name="connsiteX736" fmla="*/ 427 w 10000"/>
                <a:gd name="connsiteY736" fmla="*/ 8993 h 10000"/>
                <a:gd name="connsiteX737" fmla="*/ 424 w 10000"/>
                <a:gd name="connsiteY737" fmla="*/ 8976 h 10000"/>
                <a:gd name="connsiteX738" fmla="*/ 427 w 10000"/>
                <a:gd name="connsiteY738" fmla="*/ 8948 h 10000"/>
                <a:gd name="connsiteX739" fmla="*/ 437 w 10000"/>
                <a:gd name="connsiteY739" fmla="*/ 8913 h 10000"/>
                <a:gd name="connsiteX740" fmla="*/ 455 w 10000"/>
                <a:gd name="connsiteY740" fmla="*/ 8859 h 10000"/>
                <a:gd name="connsiteX741" fmla="*/ 462 w 10000"/>
                <a:gd name="connsiteY741" fmla="*/ 8834 h 10000"/>
                <a:gd name="connsiteX742" fmla="*/ 470 w 10000"/>
                <a:gd name="connsiteY742" fmla="*/ 8810 h 10000"/>
                <a:gd name="connsiteX743" fmla="*/ 472 w 10000"/>
                <a:gd name="connsiteY743" fmla="*/ 8794 h 10000"/>
                <a:gd name="connsiteX744" fmla="*/ 472 w 10000"/>
                <a:gd name="connsiteY744" fmla="*/ 8780 h 10000"/>
                <a:gd name="connsiteX745" fmla="*/ 462 w 10000"/>
                <a:gd name="connsiteY745" fmla="*/ 8784 h 10000"/>
                <a:gd name="connsiteX746" fmla="*/ 452 w 10000"/>
                <a:gd name="connsiteY746" fmla="*/ 8787 h 10000"/>
                <a:gd name="connsiteX747" fmla="*/ 437 w 10000"/>
                <a:gd name="connsiteY747" fmla="*/ 8794 h 10000"/>
                <a:gd name="connsiteX748" fmla="*/ 424 w 10000"/>
                <a:gd name="connsiteY748" fmla="*/ 8803 h 10000"/>
                <a:gd name="connsiteX749" fmla="*/ 394 w 10000"/>
                <a:gd name="connsiteY749" fmla="*/ 8829 h 10000"/>
                <a:gd name="connsiteX750" fmla="*/ 364 w 10000"/>
                <a:gd name="connsiteY750" fmla="*/ 8859 h 10000"/>
                <a:gd name="connsiteX751" fmla="*/ 311 w 10000"/>
                <a:gd name="connsiteY751" fmla="*/ 8922 h 10000"/>
                <a:gd name="connsiteX752" fmla="*/ 268 w 10000"/>
                <a:gd name="connsiteY752" fmla="*/ 8964 h 10000"/>
                <a:gd name="connsiteX753" fmla="*/ 205 w 10000"/>
                <a:gd name="connsiteY753" fmla="*/ 9016 h 10000"/>
                <a:gd name="connsiteX754" fmla="*/ 146 w 10000"/>
                <a:gd name="connsiteY754" fmla="*/ 9053 h 10000"/>
                <a:gd name="connsiteX755" fmla="*/ 139 w 10000"/>
                <a:gd name="connsiteY755" fmla="*/ 9063 h 10000"/>
                <a:gd name="connsiteX756" fmla="*/ 129 w 10000"/>
                <a:gd name="connsiteY756" fmla="*/ 9077 h 10000"/>
                <a:gd name="connsiteX757" fmla="*/ 126 w 10000"/>
                <a:gd name="connsiteY757" fmla="*/ 9086 h 10000"/>
                <a:gd name="connsiteX758" fmla="*/ 126 w 10000"/>
                <a:gd name="connsiteY758" fmla="*/ 9102 h 10000"/>
                <a:gd name="connsiteX759" fmla="*/ 129 w 10000"/>
                <a:gd name="connsiteY759" fmla="*/ 9116 h 10000"/>
                <a:gd name="connsiteX760" fmla="*/ 139 w 10000"/>
                <a:gd name="connsiteY760" fmla="*/ 9135 h 10000"/>
                <a:gd name="connsiteX761" fmla="*/ 149 w 10000"/>
                <a:gd name="connsiteY761" fmla="*/ 9151 h 10000"/>
                <a:gd name="connsiteX762" fmla="*/ 164 w 10000"/>
                <a:gd name="connsiteY762" fmla="*/ 9175 h 10000"/>
                <a:gd name="connsiteX763" fmla="*/ 184 w 10000"/>
                <a:gd name="connsiteY763" fmla="*/ 9196 h 10000"/>
                <a:gd name="connsiteX764" fmla="*/ 207 w 10000"/>
                <a:gd name="connsiteY764" fmla="*/ 9215 h 10000"/>
                <a:gd name="connsiteX765" fmla="*/ 227 w 10000"/>
                <a:gd name="connsiteY765" fmla="*/ 9233 h 10000"/>
                <a:gd name="connsiteX766" fmla="*/ 253 w 10000"/>
                <a:gd name="connsiteY766" fmla="*/ 9250 h 10000"/>
                <a:gd name="connsiteX767" fmla="*/ 303 w 10000"/>
                <a:gd name="connsiteY767" fmla="*/ 9282 h 10000"/>
                <a:gd name="connsiteX768" fmla="*/ 351 w 10000"/>
                <a:gd name="connsiteY768" fmla="*/ 9315 h 10000"/>
                <a:gd name="connsiteX769" fmla="*/ 414 w 10000"/>
                <a:gd name="connsiteY769" fmla="*/ 9364 h 10000"/>
                <a:gd name="connsiteX770" fmla="*/ 480 w 10000"/>
                <a:gd name="connsiteY770" fmla="*/ 9416 h 10000"/>
                <a:gd name="connsiteX771" fmla="*/ 513 w 10000"/>
                <a:gd name="connsiteY771" fmla="*/ 9437 h 10000"/>
                <a:gd name="connsiteX772" fmla="*/ 548 w 10000"/>
                <a:gd name="connsiteY772" fmla="*/ 9462 h 10000"/>
                <a:gd name="connsiteX773" fmla="*/ 581 w 10000"/>
                <a:gd name="connsiteY773" fmla="*/ 9483 h 10000"/>
                <a:gd name="connsiteX774" fmla="*/ 614 w 10000"/>
                <a:gd name="connsiteY774" fmla="*/ 9502 h 10000"/>
                <a:gd name="connsiteX775" fmla="*/ 641 w 10000"/>
                <a:gd name="connsiteY775" fmla="*/ 9525 h 10000"/>
                <a:gd name="connsiteX776" fmla="*/ 672 w 10000"/>
                <a:gd name="connsiteY776" fmla="*/ 9549 h 10000"/>
                <a:gd name="connsiteX777" fmla="*/ 702 w 10000"/>
                <a:gd name="connsiteY777" fmla="*/ 9568 h 10000"/>
                <a:gd name="connsiteX778" fmla="*/ 737 w 10000"/>
                <a:gd name="connsiteY778" fmla="*/ 9589 h 10000"/>
                <a:gd name="connsiteX779" fmla="*/ 770 w 10000"/>
                <a:gd name="connsiteY779" fmla="*/ 9605 h 10000"/>
                <a:gd name="connsiteX780" fmla="*/ 808 w 10000"/>
                <a:gd name="connsiteY780" fmla="*/ 9617 h 10000"/>
                <a:gd name="connsiteX781" fmla="*/ 843 w 10000"/>
                <a:gd name="connsiteY781" fmla="*/ 9624 h 10000"/>
                <a:gd name="connsiteX782" fmla="*/ 884 w 10000"/>
                <a:gd name="connsiteY782" fmla="*/ 9628 h 10000"/>
                <a:gd name="connsiteX783" fmla="*/ 902 w 10000"/>
                <a:gd name="connsiteY783" fmla="*/ 9628 h 10000"/>
                <a:gd name="connsiteX784" fmla="*/ 914 w 10000"/>
                <a:gd name="connsiteY784" fmla="*/ 9631 h 10000"/>
                <a:gd name="connsiteX785" fmla="*/ 932 w 10000"/>
                <a:gd name="connsiteY785" fmla="*/ 9638 h 10000"/>
                <a:gd name="connsiteX786" fmla="*/ 942 w 10000"/>
                <a:gd name="connsiteY786" fmla="*/ 9642 h 10000"/>
                <a:gd name="connsiteX787" fmla="*/ 967 w 10000"/>
                <a:gd name="connsiteY787" fmla="*/ 9652 h 10000"/>
                <a:gd name="connsiteX788" fmla="*/ 987 w 10000"/>
                <a:gd name="connsiteY788" fmla="*/ 9668 h 10000"/>
                <a:gd name="connsiteX789" fmla="*/ 1005 w 10000"/>
                <a:gd name="connsiteY789" fmla="*/ 9682 h 10000"/>
                <a:gd name="connsiteX790" fmla="*/ 1025 w 10000"/>
                <a:gd name="connsiteY790" fmla="*/ 9698 h 10000"/>
                <a:gd name="connsiteX791" fmla="*/ 1045 w 10000"/>
                <a:gd name="connsiteY791" fmla="*/ 9712 h 10000"/>
                <a:gd name="connsiteX792" fmla="*/ 1073 w 10000"/>
                <a:gd name="connsiteY792" fmla="*/ 9724 h 10000"/>
                <a:gd name="connsiteX793" fmla="*/ 1098 w 10000"/>
                <a:gd name="connsiteY793" fmla="*/ 9738 h 10000"/>
                <a:gd name="connsiteX794" fmla="*/ 1121 w 10000"/>
                <a:gd name="connsiteY794" fmla="*/ 9750 h 10000"/>
                <a:gd name="connsiteX795" fmla="*/ 1141 w 10000"/>
                <a:gd name="connsiteY795" fmla="*/ 9762 h 10000"/>
                <a:gd name="connsiteX796" fmla="*/ 1159 w 10000"/>
                <a:gd name="connsiteY796" fmla="*/ 9776 h 10000"/>
                <a:gd name="connsiteX797" fmla="*/ 1172 w 10000"/>
                <a:gd name="connsiteY797" fmla="*/ 9787 h 10000"/>
                <a:gd name="connsiteX798" fmla="*/ 1182 w 10000"/>
                <a:gd name="connsiteY798" fmla="*/ 9804 h 10000"/>
                <a:gd name="connsiteX799" fmla="*/ 1194 w 10000"/>
                <a:gd name="connsiteY799" fmla="*/ 9818 h 10000"/>
                <a:gd name="connsiteX800" fmla="*/ 1202 w 10000"/>
                <a:gd name="connsiteY800" fmla="*/ 9834 h 10000"/>
                <a:gd name="connsiteX801" fmla="*/ 1212 w 10000"/>
                <a:gd name="connsiteY801" fmla="*/ 9869 h 10000"/>
                <a:gd name="connsiteX802" fmla="*/ 1220 w 10000"/>
                <a:gd name="connsiteY802" fmla="*/ 9906 h 10000"/>
                <a:gd name="connsiteX803" fmla="*/ 1230 w 10000"/>
                <a:gd name="connsiteY803" fmla="*/ 9951 h 10000"/>
                <a:gd name="connsiteX804" fmla="*/ 1237 w 10000"/>
                <a:gd name="connsiteY804" fmla="*/ 10000 h 10000"/>
                <a:gd name="connsiteX805" fmla="*/ 1237 w 10000"/>
                <a:gd name="connsiteY805"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Lst>
              <a:rect l="l" t="t" r="r" b="b"/>
              <a:pathLst>
                <a:path w="10000" h="10000">
                  <a:moveTo>
                    <a:pt x="1237" y="10000"/>
                  </a:moveTo>
                  <a:lnTo>
                    <a:pt x="1409" y="9876"/>
                  </a:lnTo>
                  <a:cubicBezTo>
                    <a:pt x="1419" y="9871"/>
                    <a:pt x="1429" y="9865"/>
                    <a:pt x="1439" y="9860"/>
                  </a:cubicBezTo>
                  <a:cubicBezTo>
                    <a:pt x="1449" y="9854"/>
                    <a:pt x="1460" y="9847"/>
                    <a:pt x="1470" y="9841"/>
                  </a:cubicBezTo>
                  <a:cubicBezTo>
                    <a:pt x="1482" y="9836"/>
                    <a:pt x="1493" y="9832"/>
                    <a:pt x="1505" y="9827"/>
                  </a:cubicBezTo>
                  <a:cubicBezTo>
                    <a:pt x="1517" y="9822"/>
                    <a:pt x="1528" y="9816"/>
                    <a:pt x="1540" y="9811"/>
                  </a:cubicBezTo>
                  <a:cubicBezTo>
                    <a:pt x="1564" y="9801"/>
                    <a:pt x="1587" y="9790"/>
                    <a:pt x="1611" y="9780"/>
                  </a:cubicBezTo>
                  <a:cubicBezTo>
                    <a:pt x="1635" y="9769"/>
                    <a:pt x="1660" y="9759"/>
                    <a:pt x="1684" y="9748"/>
                  </a:cubicBezTo>
                  <a:cubicBezTo>
                    <a:pt x="1695" y="9742"/>
                    <a:pt x="1706" y="9737"/>
                    <a:pt x="1717" y="9731"/>
                  </a:cubicBezTo>
                  <a:cubicBezTo>
                    <a:pt x="1728" y="9725"/>
                    <a:pt x="1739" y="9718"/>
                    <a:pt x="1750" y="9712"/>
                  </a:cubicBezTo>
                  <a:lnTo>
                    <a:pt x="1780" y="9691"/>
                  </a:lnTo>
                  <a:cubicBezTo>
                    <a:pt x="1789" y="9685"/>
                    <a:pt x="1799" y="9679"/>
                    <a:pt x="1808" y="9673"/>
                  </a:cubicBezTo>
                  <a:lnTo>
                    <a:pt x="1831" y="9647"/>
                  </a:lnTo>
                  <a:cubicBezTo>
                    <a:pt x="1838" y="9638"/>
                    <a:pt x="1844" y="9630"/>
                    <a:pt x="1851" y="9621"/>
                  </a:cubicBezTo>
                  <a:cubicBezTo>
                    <a:pt x="1854" y="9616"/>
                    <a:pt x="1856" y="9612"/>
                    <a:pt x="1859" y="9607"/>
                  </a:cubicBezTo>
                  <a:cubicBezTo>
                    <a:pt x="1861" y="9602"/>
                    <a:pt x="1864" y="9596"/>
                    <a:pt x="1866" y="9591"/>
                  </a:cubicBezTo>
                  <a:cubicBezTo>
                    <a:pt x="1869" y="9586"/>
                    <a:pt x="1871" y="9582"/>
                    <a:pt x="1874" y="9577"/>
                  </a:cubicBezTo>
                  <a:cubicBezTo>
                    <a:pt x="1875" y="9572"/>
                    <a:pt x="1875" y="9566"/>
                    <a:pt x="1876" y="9561"/>
                  </a:cubicBezTo>
                  <a:lnTo>
                    <a:pt x="1891" y="9495"/>
                  </a:lnTo>
                  <a:cubicBezTo>
                    <a:pt x="1899" y="9474"/>
                    <a:pt x="1906" y="9453"/>
                    <a:pt x="1914" y="9432"/>
                  </a:cubicBezTo>
                  <a:cubicBezTo>
                    <a:pt x="1922" y="9412"/>
                    <a:pt x="1931" y="9391"/>
                    <a:pt x="1939" y="9371"/>
                  </a:cubicBezTo>
                  <a:cubicBezTo>
                    <a:pt x="1948" y="9351"/>
                    <a:pt x="1956" y="9330"/>
                    <a:pt x="1965" y="9310"/>
                  </a:cubicBezTo>
                  <a:cubicBezTo>
                    <a:pt x="1976" y="9292"/>
                    <a:pt x="1986" y="9275"/>
                    <a:pt x="1997" y="9257"/>
                  </a:cubicBezTo>
                  <a:cubicBezTo>
                    <a:pt x="2010" y="9239"/>
                    <a:pt x="2022" y="9221"/>
                    <a:pt x="2035" y="9203"/>
                  </a:cubicBezTo>
                  <a:cubicBezTo>
                    <a:pt x="2042" y="9194"/>
                    <a:pt x="2049" y="9186"/>
                    <a:pt x="2056" y="9177"/>
                  </a:cubicBezTo>
                  <a:cubicBezTo>
                    <a:pt x="2063" y="9169"/>
                    <a:pt x="2071" y="9162"/>
                    <a:pt x="2078" y="9154"/>
                  </a:cubicBezTo>
                  <a:cubicBezTo>
                    <a:pt x="2085" y="9146"/>
                    <a:pt x="2091" y="9138"/>
                    <a:pt x="2098" y="9130"/>
                  </a:cubicBezTo>
                  <a:cubicBezTo>
                    <a:pt x="2107" y="9123"/>
                    <a:pt x="2115" y="9116"/>
                    <a:pt x="2124" y="9109"/>
                  </a:cubicBezTo>
                  <a:cubicBezTo>
                    <a:pt x="2131" y="9101"/>
                    <a:pt x="2139" y="9094"/>
                    <a:pt x="2146" y="9086"/>
                  </a:cubicBezTo>
                  <a:cubicBezTo>
                    <a:pt x="2155" y="9080"/>
                    <a:pt x="2163" y="9073"/>
                    <a:pt x="2172" y="9067"/>
                  </a:cubicBezTo>
                  <a:cubicBezTo>
                    <a:pt x="2180" y="9060"/>
                    <a:pt x="2189" y="9053"/>
                    <a:pt x="2197" y="9046"/>
                  </a:cubicBezTo>
                  <a:cubicBezTo>
                    <a:pt x="2206" y="9039"/>
                    <a:pt x="2216" y="9032"/>
                    <a:pt x="2225" y="9025"/>
                  </a:cubicBezTo>
                  <a:cubicBezTo>
                    <a:pt x="2234" y="9020"/>
                    <a:pt x="2244" y="9014"/>
                    <a:pt x="2253" y="9009"/>
                  </a:cubicBezTo>
                  <a:cubicBezTo>
                    <a:pt x="2263" y="9004"/>
                    <a:pt x="2273" y="8998"/>
                    <a:pt x="2283" y="8993"/>
                  </a:cubicBezTo>
                  <a:lnTo>
                    <a:pt x="2313" y="8978"/>
                  </a:lnTo>
                  <a:cubicBezTo>
                    <a:pt x="2322" y="8973"/>
                    <a:pt x="2332" y="8967"/>
                    <a:pt x="2341" y="8962"/>
                  </a:cubicBezTo>
                  <a:lnTo>
                    <a:pt x="2374" y="8950"/>
                  </a:lnTo>
                  <a:cubicBezTo>
                    <a:pt x="2385" y="8945"/>
                    <a:pt x="2396" y="8941"/>
                    <a:pt x="2407" y="8936"/>
                  </a:cubicBezTo>
                  <a:cubicBezTo>
                    <a:pt x="2419" y="8932"/>
                    <a:pt x="2430" y="8929"/>
                    <a:pt x="2442" y="8925"/>
                  </a:cubicBezTo>
                  <a:cubicBezTo>
                    <a:pt x="2453" y="8923"/>
                    <a:pt x="2464" y="8920"/>
                    <a:pt x="2475" y="8918"/>
                  </a:cubicBezTo>
                  <a:lnTo>
                    <a:pt x="2510" y="8906"/>
                  </a:lnTo>
                  <a:cubicBezTo>
                    <a:pt x="2524" y="8904"/>
                    <a:pt x="2537" y="8901"/>
                    <a:pt x="2551" y="8899"/>
                  </a:cubicBezTo>
                  <a:cubicBezTo>
                    <a:pt x="2563" y="8897"/>
                    <a:pt x="2574" y="8896"/>
                    <a:pt x="2586" y="8894"/>
                  </a:cubicBezTo>
                  <a:cubicBezTo>
                    <a:pt x="2599" y="8893"/>
                    <a:pt x="2611" y="8891"/>
                    <a:pt x="2624" y="8890"/>
                  </a:cubicBezTo>
                  <a:cubicBezTo>
                    <a:pt x="2657" y="8887"/>
                    <a:pt x="2689" y="8883"/>
                    <a:pt x="2722" y="8880"/>
                  </a:cubicBezTo>
                  <a:cubicBezTo>
                    <a:pt x="2746" y="8875"/>
                    <a:pt x="2771" y="8871"/>
                    <a:pt x="2795" y="8866"/>
                  </a:cubicBezTo>
                  <a:cubicBezTo>
                    <a:pt x="2805" y="8864"/>
                    <a:pt x="2816" y="8861"/>
                    <a:pt x="2826" y="8859"/>
                  </a:cubicBezTo>
                  <a:cubicBezTo>
                    <a:pt x="2834" y="8857"/>
                    <a:pt x="2843" y="8854"/>
                    <a:pt x="2851" y="8852"/>
                  </a:cubicBezTo>
                  <a:cubicBezTo>
                    <a:pt x="2859" y="8848"/>
                    <a:pt x="2868" y="8845"/>
                    <a:pt x="2876" y="8841"/>
                  </a:cubicBezTo>
                  <a:cubicBezTo>
                    <a:pt x="2884" y="8838"/>
                    <a:pt x="2891" y="8834"/>
                    <a:pt x="2899" y="8831"/>
                  </a:cubicBezTo>
                  <a:cubicBezTo>
                    <a:pt x="2906" y="8827"/>
                    <a:pt x="2912" y="8824"/>
                    <a:pt x="2919" y="8820"/>
                  </a:cubicBezTo>
                  <a:cubicBezTo>
                    <a:pt x="2927" y="8814"/>
                    <a:pt x="2934" y="8809"/>
                    <a:pt x="2942" y="8803"/>
                  </a:cubicBezTo>
                  <a:cubicBezTo>
                    <a:pt x="2950" y="8798"/>
                    <a:pt x="2957" y="8794"/>
                    <a:pt x="2965" y="8789"/>
                  </a:cubicBezTo>
                  <a:cubicBezTo>
                    <a:pt x="2972" y="8782"/>
                    <a:pt x="2980" y="8775"/>
                    <a:pt x="2987" y="8768"/>
                  </a:cubicBezTo>
                  <a:lnTo>
                    <a:pt x="3043" y="8724"/>
                  </a:lnTo>
                  <a:lnTo>
                    <a:pt x="3111" y="8665"/>
                  </a:lnTo>
                  <a:lnTo>
                    <a:pt x="3141" y="8644"/>
                  </a:lnTo>
                  <a:cubicBezTo>
                    <a:pt x="3151" y="8638"/>
                    <a:pt x="3162" y="8632"/>
                    <a:pt x="3172" y="8626"/>
                  </a:cubicBezTo>
                  <a:cubicBezTo>
                    <a:pt x="3183" y="8620"/>
                    <a:pt x="3194" y="8615"/>
                    <a:pt x="3205" y="8609"/>
                  </a:cubicBezTo>
                  <a:cubicBezTo>
                    <a:pt x="3215" y="8604"/>
                    <a:pt x="3225" y="8600"/>
                    <a:pt x="3235" y="8595"/>
                  </a:cubicBezTo>
                  <a:lnTo>
                    <a:pt x="3301" y="8574"/>
                  </a:lnTo>
                  <a:cubicBezTo>
                    <a:pt x="3323" y="8568"/>
                    <a:pt x="3344" y="8561"/>
                    <a:pt x="3366" y="8555"/>
                  </a:cubicBezTo>
                  <a:cubicBezTo>
                    <a:pt x="3388" y="8550"/>
                    <a:pt x="3410" y="8544"/>
                    <a:pt x="3432" y="8539"/>
                  </a:cubicBezTo>
                  <a:lnTo>
                    <a:pt x="3495" y="8518"/>
                  </a:lnTo>
                  <a:lnTo>
                    <a:pt x="3528" y="8506"/>
                  </a:lnTo>
                  <a:cubicBezTo>
                    <a:pt x="3539" y="8501"/>
                    <a:pt x="3550" y="8495"/>
                    <a:pt x="3561" y="8490"/>
                  </a:cubicBezTo>
                  <a:cubicBezTo>
                    <a:pt x="3572" y="8484"/>
                    <a:pt x="3582" y="8477"/>
                    <a:pt x="3593" y="8471"/>
                  </a:cubicBezTo>
                  <a:cubicBezTo>
                    <a:pt x="3603" y="8463"/>
                    <a:pt x="3614" y="8456"/>
                    <a:pt x="3624" y="8448"/>
                  </a:cubicBezTo>
                  <a:cubicBezTo>
                    <a:pt x="3640" y="8435"/>
                    <a:pt x="3656" y="8423"/>
                    <a:pt x="3672" y="8410"/>
                  </a:cubicBezTo>
                  <a:lnTo>
                    <a:pt x="3715" y="8373"/>
                  </a:lnTo>
                  <a:lnTo>
                    <a:pt x="3758" y="8333"/>
                  </a:lnTo>
                  <a:cubicBezTo>
                    <a:pt x="3774" y="8322"/>
                    <a:pt x="3790" y="8312"/>
                    <a:pt x="3806" y="8301"/>
                  </a:cubicBezTo>
                  <a:cubicBezTo>
                    <a:pt x="3813" y="8296"/>
                    <a:pt x="3819" y="8292"/>
                    <a:pt x="3826" y="8287"/>
                  </a:cubicBezTo>
                  <a:cubicBezTo>
                    <a:pt x="3834" y="8283"/>
                    <a:pt x="3843" y="8279"/>
                    <a:pt x="3851" y="8275"/>
                  </a:cubicBezTo>
                  <a:cubicBezTo>
                    <a:pt x="3860" y="8272"/>
                    <a:pt x="3870" y="8269"/>
                    <a:pt x="3879" y="8266"/>
                  </a:cubicBezTo>
                  <a:cubicBezTo>
                    <a:pt x="3887" y="8263"/>
                    <a:pt x="3896" y="8259"/>
                    <a:pt x="3904" y="8256"/>
                  </a:cubicBezTo>
                  <a:cubicBezTo>
                    <a:pt x="3913" y="8255"/>
                    <a:pt x="3923" y="8255"/>
                    <a:pt x="3932" y="8254"/>
                  </a:cubicBezTo>
                  <a:cubicBezTo>
                    <a:pt x="3942" y="8253"/>
                    <a:pt x="3952" y="8253"/>
                    <a:pt x="3962" y="8252"/>
                  </a:cubicBezTo>
                  <a:lnTo>
                    <a:pt x="3992" y="8252"/>
                  </a:lnTo>
                  <a:cubicBezTo>
                    <a:pt x="4003" y="8253"/>
                    <a:pt x="4014" y="8255"/>
                    <a:pt x="4025" y="8256"/>
                  </a:cubicBezTo>
                  <a:lnTo>
                    <a:pt x="4048" y="8259"/>
                  </a:lnTo>
                  <a:lnTo>
                    <a:pt x="4068" y="8259"/>
                  </a:lnTo>
                  <a:lnTo>
                    <a:pt x="4091" y="8259"/>
                  </a:lnTo>
                  <a:lnTo>
                    <a:pt x="4116" y="8256"/>
                  </a:lnTo>
                  <a:cubicBezTo>
                    <a:pt x="4130" y="8251"/>
                    <a:pt x="4145" y="8247"/>
                    <a:pt x="4159" y="8242"/>
                  </a:cubicBezTo>
                  <a:cubicBezTo>
                    <a:pt x="4174" y="8237"/>
                    <a:pt x="4190" y="8233"/>
                    <a:pt x="4205" y="8228"/>
                  </a:cubicBezTo>
                  <a:lnTo>
                    <a:pt x="4250" y="8207"/>
                  </a:lnTo>
                  <a:cubicBezTo>
                    <a:pt x="4264" y="8200"/>
                    <a:pt x="4279" y="8193"/>
                    <a:pt x="4293" y="8186"/>
                  </a:cubicBezTo>
                  <a:lnTo>
                    <a:pt x="4331" y="8160"/>
                  </a:lnTo>
                  <a:lnTo>
                    <a:pt x="4366" y="8137"/>
                  </a:lnTo>
                  <a:cubicBezTo>
                    <a:pt x="4379" y="8129"/>
                    <a:pt x="4391" y="8122"/>
                    <a:pt x="4404" y="8114"/>
                  </a:cubicBezTo>
                  <a:cubicBezTo>
                    <a:pt x="4417" y="8107"/>
                    <a:pt x="4429" y="8100"/>
                    <a:pt x="4442" y="8093"/>
                  </a:cubicBezTo>
                  <a:cubicBezTo>
                    <a:pt x="4455" y="8085"/>
                    <a:pt x="4467" y="8077"/>
                    <a:pt x="4480" y="8069"/>
                  </a:cubicBezTo>
                  <a:cubicBezTo>
                    <a:pt x="4494" y="8062"/>
                    <a:pt x="4509" y="8055"/>
                    <a:pt x="4523" y="8048"/>
                  </a:cubicBezTo>
                  <a:cubicBezTo>
                    <a:pt x="4552" y="8035"/>
                    <a:pt x="4580" y="8021"/>
                    <a:pt x="4609" y="8008"/>
                  </a:cubicBezTo>
                  <a:lnTo>
                    <a:pt x="4697" y="7971"/>
                  </a:lnTo>
                  <a:lnTo>
                    <a:pt x="4788" y="7938"/>
                  </a:lnTo>
                  <a:cubicBezTo>
                    <a:pt x="4818" y="7927"/>
                    <a:pt x="4849" y="7917"/>
                    <a:pt x="4879" y="7906"/>
                  </a:cubicBezTo>
                  <a:cubicBezTo>
                    <a:pt x="4908" y="7897"/>
                    <a:pt x="4938" y="7889"/>
                    <a:pt x="4967" y="7880"/>
                  </a:cubicBezTo>
                  <a:lnTo>
                    <a:pt x="5053" y="7856"/>
                  </a:lnTo>
                  <a:cubicBezTo>
                    <a:pt x="5061" y="7855"/>
                    <a:pt x="5068" y="7853"/>
                    <a:pt x="5076" y="7852"/>
                  </a:cubicBezTo>
                  <a:lnTo>
                    <a:pt x="5098" y="7849"/>
                  </a:lnTo>
                  <a:cubicBezTo>
                    <a:pt x="5104" y="7848"/>
                    <a:pt x="5110" y="7848"/>
                    <a:pt x="5116" y="7847"/>
                  </a:cubicBezTo>
                  <a:lnTo>
                    <a:pt x="5136" y="7847"/>
                  </a:lnTo>
                  <a:cubicBezTo>
                    <a:pt x="5149" y="7848"/>
                    <a:pt x="5161" y="7848"/>
                    <a:pt x="5174" y="7849"/>
                  </a:cubicBezTo>
                  <a:lnTo>
                    <a:pt x="5210" y="7852"/>
                  </a:lnTo>
                  <a:cubicBezTo>
                    <a:pt x="5221" y="7853"/>
                    <a:pt x="5231" y="7855"/>
                    <a:pt x="5242" y="7856"/>
                  </a:cubicBezTo>
                  <a:cubicBezTo>
                    <a:pt x="5254" y="7858"/>
                    <a:pt x="5266" y="7859"/>
                    <a:pt x="5278" y="7861"/>
                  </a:cubicBezTo>
                  <a:cubicBezTo>
                    <a:pt x="5291" y="7862"/>
                    <a:pt x="5303" y="7862"/>
                    <a:pt x="5316" y="7863"/>
                  </a:cubicBezTo>
                  <a:lnTo>
                    <a:pt x="5354" y="7863"/>
                  </a:lnTo>
                  <a:cubicBezTo>
                    <a:pt x="5361" y="7862"/>
                    <a:pt x="5367" y="7860"/>
                    <a:pt x="5374" y="7859"/>
                  </a:cubicBezTo>
                  <a:cubicBezTo>
                    <a:pt x="5381" y="7857"/>
                    <a:pt x="5387" y="7856"/>
                    <a:pt x="5394" y="7854"/>
                  </a:cubicBezTo>
                  <a:cubicBezTo>
                    <a:pt x="5401" y="7852"/>
                    <a:pt x="5407" y="7851"/>
                    <a:pt x="5414" y="7849"/>
                  </a:cubicBezTo>
                  <a:cubicBezTo>
                    <a:pt x="5419" y="7847"/>
                    <a:pt x="5424" y="7844"/>
                    <a:pt x="5429" y="7842"/>
                  </a:cubicBezTo>
                  <a:lnTo>
                    <a:pt x="5462" y="7821"/>
                  </a:lnTo>
                  <a:cubicBezTo>
                    <a:pt x="5473" y="7813"/>
                    <a:pt x="5484" y="7806"/>
                    <a:pt x="5495" y="7798"/>
                  </a:cubicBezTo>
                  <a:lnTo>
                    <a:pt x="5553" y="7749"/>
                  </a:lnTo>
                  <a:cubicBezTo>
                    <a:pt x="5572" y="7732"/>
                    <a:pt x="5592" y="7715"/>
                    <a:pt x="5611" y="7698"/>
                  </a:cubicBezTo>
                  <a:lnTo>
                    <a:pt x="5654" y="7667"/>
                  </a:lnTo>
                  <a:cubicBezTo>
                    <a:pt x="5667" y="7655"/>
                    <a:pt x="5681" y="7644"/>
                    <a:pt x="5694" y="7632"/>
                  </a:cubicBezTo>
                  <a:cubicBezTo>
                    <a:pt x="5708" y="7621"/>
                    <a:pt x="5721" y="7610"/>
                    <a:pt x="5735" y="7599"/>
                  </a:cubicBezTo>
                  <a:cubicBezTo>
                    <a:pt x="5749" y="7587"/>
                    <a:pt x="5764" y="7576"/>
                    <a:pt x="5778" y="7564"/>
                  </a:cubicBezTo>
                  <a:cubicBezTo>
                    <a:pt x="5803" y="7540"/>
                    <a:pt x="5829" y="7516"/>
                    <a:pt x="5854" y="7492"/>
                  </a:cubicBezTo>
                  <a:cubicBezTo>
                    <a:pt x="5880" y="7466"/>
                    <a:pt x="5906" y="7441"/>
                    <a:pt x="5932" y="7415"/>
                  </a:cubicBezTo>
                  <a:lnTo>
                    <a:pt x="6010" y="7340"/>
                  </a:lnTo>
                  <a:cubicBezTo>
                    <a:pt x="6037" y="7317"/>
                    <a:pt x="6064" y="7293"/>
                    <a:pt x="6091" y="7270"/>
                  </a:cubicBezTo>
                  <a:cubicBezTo>
                    <a:pt x="6104" y="7257"/>
                    <a:pt x="6118" y="7245"/>
                    <a:pt x="6131" y="7232"/>
                  </a:cubicBezTo>
                  <a:cubicBezTo>
                    <a:pt x="6145" y="7221"/>
                    <a:pt x="6160" y="7211"/>
                    <a:pt x="6174" y="7200"/>
                  </a:cubicBezTo>
                  <a:lnTo>
                    <a:pt x="6220" y="7169"/>
                  </a:lnTo>
                  <a:lnTo>
                    <a:pt x="6265" y="7139"/>
                  </a:lnTo>
                  <a:lnTo>
                    <a:pt x="6311" y="7111"/>
                  </a:lnTo>
                  <a:cubicBezTo>
                    <a:pt x="6327" y="7101"/>
                    <a:pt x="6343" y="7090"/>
                    <a:pt x="6359" y="7080"/>
                  </a:cubicBezTo>
                  <a:cubicBezTo>
                    <a:pt x="6374" y="7068"/>
                    <a:pt x="6389" y="7055"/>
                    <a:pt x="6404" y="7043"/>
                  </a:cubicBezTo>
                  <a:cubicBezTo>
                    <a:pt x="6419" y="7031"/>
                    <a:pt x="6434" y="7020"/>
                    <a:pt x="6449" y="7008"/>
                  </a:cubicBezTo>
                  <a:cubicBezTo>
                    <a:pt x="6479" y="6985"/>
                    <a:pt x="6508" y="6961"/>
                    <a:pt x="6538" y="6938"/>
                  </a:cubicBezTo>
                  <a:lnTo>
                    <a:pt x="6626" y="6863"/>
                  </a:lnTo>
                  <a:cubicBezTo>
                    <a:pt x="6654" y="6837"/>
                    <a:pt x="6682" y="6812"/>
                    <a:pt x="6710" y="6786"/>
                  </a:cubicBezTo>
                  <a:lnTo>
                    <a:pt x="6798" y="6713"/>
                  </a:lnTo>
                  <a:cubicBezTo>
                    <a:pt x="6812" y="6701"/>
                    <a:pt x="6827" y="6690"/>
                    <a:pt x="6841" y="6678"/>
                  </a:cubicBezTo>
                  <a:cubicBezTo>
                    <a:pt x="6856" y="6666"/>
                    <a:pt x="6871" y="6655"/>
                    <a:pt x="6886" y="6643"/>
                  </a:cubicBezTo>
                  <a:cubicBezTo>
                    <a:pt x="6902" y="6632"/>
                    <a:pt x="6918" y="6622"/>
                    <a:pt x="6934" y="6611"/>
                  </a:cubicBezTo>
                  <a:lnTo>
                    <a:pt x="6980" y="6580"/>
                  </a:lnTo>
                  <a:lnTo>
                    <a:pt x="8164" y="5549"/>
                  </a:lnTo>
                  <a:lnTo>
                    <a:pt x="8164" y="5549"/>
                  </a:lnTo>
                  <a:lnTo>
                    <a:pt x="8581" y="5743"/>
                  </a:lnTo>
                  <a:lnTo>
                    <a:pt x="8581" y="5743"/>
                  </a:lnTo>
                  <a:lnTo>
                    <a:pt x="10000" y="3820"/>
                  </a:lnTo>
                  <a:cubicBezTo>
                    <a:pt x="9955" y="3747"/>
                    <a:pt x="9911" y="3673"/>
                    <a:pt x="9866" y="3600"/>
                  </a:cubicBezTo>
                  <a:lnTo>
                    <a:pt x="9866" y="3600"/>
                  </a:lnTo>
                  <a:cubicBezTo>
                    <a:pt x="9853" y="3580"/>
                    <a:pt x="9839" y="3559"/>
                    <a:pt x="9826" y="3539"/>
                  </a:cubicBezTo>
                  <a:cubicBezTo>
                    <a:pt x="9810" y="3520"/>
                    <a:pt x="9794" y="3502"/>
                    <a:pt x="9778" y="3483"/>
                  </a:cubicBezTo>
                  <a:lnTo>
                    <a:pt x="9732" y="3422"/>
                  </a:lnTo>
                  <a:lnTo>
                    <a:pt x="9687" y="3359"/>
                  </a:lnTo>
                  <a:cubicBezTo>
                    <a:pt x="9672" y="3338"/>
                    <a:pt x="9656" y="3317"/>
                    <a:pt x="9641" y="3296"/>
                  </a:cubicBezTo>
                  <a:cubicBezTo>
                    <a:pt x="9628" y="3275"/>
                    <a:pt x="9614" y="3254"/>
                    <a:pt x="9601" y="3233"/>
                  </a:cubicBezTo>
                  <a:lnTo>
                    <a:pt x="9583" y="3200"/>
                  </a:lnTo>
                  <a:cubicBezTo>
                    <a:pt x="9577" y="3189"/>
                    <a:pt x="9572" y="3178"/>
                    <a:pt x="9566" y="3167"/>
                  </a:cubicBezTo>
                  <a:cubicBezTo>
                    <a:pt x="9561" y="3156"/>
                    <a:pt x="9556" y="3146"/>
                    <a:pt x="9551" y="3135"/>
                  </a:cubicBezTo>
                  <a:cubicBezTo>
                    <a:pt x="9546" y="3123"/>
                    <a:pt x="9540" y="3112"/>
                    <a:pt x="9535" y="3100"/>
                  </a:cubicBezTo>
                  <a:cubicBezTo>
                    <a:pt x="9524" y="3076"/>
                    <a:pt x="9514" y="3051"/>
                    <a:pt x="9503" y="3027"/>
                  </a:cubicBezTo>
                  <a:cubicBezTo>
                    <a:pt x="9490" y="3001"/>
                    <a:pt x="9478" y="2974"/>
                    <a:pt x="9465" y="2948"/>
                  </a:cubicBezTo>
                  <a:cubicBezTo>
                    <a:pt x="9451" y="2921"/>
                    <a:pt x="9436" y="2893"/>
                    <a:pt x="9422" y="2866"/>
                  </a:cubicBezTo>
                  <a:cubicBezTo>
                    <a:pt x="9406" y="2840"/>
                    <a:pt x="9390" y="2815"/>
                    <a:pt x="9374" y="2789"/>
                  </a:cubicBezTo>
                  <a:cubicBezTo>
                    <a:pt x="9365" y="2775"/>
                    <a:pt x="9357" y="2761"/>
                    <a:pt x="9348" y="2747"/>
                  </a:cubicBezTo>
                  <a:cubicBezTo>
                    <a:pt x="9339" y="2734"/>
                    <a:pt x="9330" y="2722"/>
                    <a:pt x="9321" y="2709"/>
                  </a:cubicBezTo>
                  <a:cubicBezTo>
                    <a:pt x="9312" y="2697"/>
                    <a:pt x="9302" y="2686"/>
                    <a:pt x="9293" y="2674"/>
                  </a:cubicBezTo>
                  <a:cubicBezTo>
                    <a:pt x="9283" y="2662"/>
                    <a:pt x="9273" y="2651"/>
                    <a:pt x="9263" y="2639"/>
                  </a:cubicBezTo>
                  <a:lnTo>
                    <a:pt x="9230" y="2609"/>
                  </a:lnTo>
                  <a:lnTo>
                    <a:pt x="9199" y="2578"/>
                  </a:lnTo>
                  <a:cubicBezTo>
                    <a:pt x="9188" y="2569"/>
                    <a:pt x="9178" y="2559"/>
                    <a:pt x="9167" y="2550"/>
                  </a:cubicBezTo>
                  <a:cubicBezTo>
                    <a:pt x="9155" y="2542"/>
                    <a:pt x="9143" y="2535"/>
                    <a:pt x="9131" y="2527"/>
                  </a:cubicBezTo>
                  <a:lnTo>
                    <a:pt x="9131" y="2527"/>
                  </a:lnTo>
                  <a:lnTo>
                    <a:pt x="9000" y="2548"/>
                  </a:lnTo>
                  <a:cubicBezTo>
                    <a:pt x="8991" y="2553"/>
                    <a:pt x="8981" y="2557"/>
                    <a:pt x="8972" y="2562"/>
                  </a:cubicBezTo>
                  <a:lnTo>
                    <a:pt x="8942" y="2583"/>
                  </a:lnTo>
                  <a:lnTo>
                    <a:pt x="8909" y="2604"/>
                  </a:lnTo>
                  <a:lnTo>
                    <a:pt x="8876" y="2625"/>
                  </a:lnTo>
                  <a:cubicBezTo>
                    <a:pt x="8865" y="2634"/>
                    <a:pt x="8854" y="2642"/>
                    <a:pt x="8843" y="2651"/>
                  </a:cubicBezTo>
                  <a:cubicBezTo>
                    <a:pt x="8833" y="2660"/>
                    <a:pt x="8823" y="2670"/>
                    <a:pt x="8813" y="2679"/>
                  </a:cubicBezTo>
                  <a:lnTo>
                    <a:pt x="8780" y="2709"/>
                  </a:lnTo>
                  <a:cubicBezTo>
                    <a:pt x="8770" y="2719"/>
                    <a:pt x="8760" y="2730"/>
                    <a:pt x="8750" y="2740"/>
                  </a:cubicBezTo>
                  <a:lnTo>
                    <a:pt x="8720" y="2770"/>
                  </a:lnTo>
                  <a:cubicBezTo>
                    <a:pt x="8711" y="2780"/>
                    <a:pt x="8701" y="2790"/>
                    <a:pt x="8692" y="2800"/>
                  </a:cubicBezTo>
                  <a:cubicBezTo>
                    <a:pt x="8684" y="2811"/>
                    <a:pt x="8675" y="2822"/>
                    <a:pt x="8667" y="2833"/>
                  </a:cubicBezTo>
                  <a:cubicBezTo>
                    <a:pt x="8658" y="2844"/>
                    <a:pt x="8650" y="2855"/>
                    <a:pt x="8641" y="2866"/>
                  </a:cubicBezTo>
                  <a:cubicBezTo>
                    <a:pt x="8634" y="2876"/>
                    <a:pt x="8626" y="2886"/>
                    <a:pt x="8619" y="2896"/>
                  </a:cubicBezTo>
                  <a:cubicBezTo>
                    <a:pt x="8613" y="2906"/>
                    <a:pt x="8607" y="2917"/>
                    <a:pt x="8601" y="2927"/>
                  </a:cubicBezTo>
                  <a:lnTo>
                    <a:pt x="8583" y="2957"/>
                  </a:lnTo>
                  <a:cubicBezTo>
                    <a:pt x="8580" y="2967"/>
                    <a:pt x="8576" y="2977"/>
                    <a:pt x="8573" y="2987"/>
                  </a:cubicBezTo>
                  <a:cubicBezTo>
                    <a:pt x="8567" y="3002"/>
                    <a:pt x="8562" y="3017"/>
                    <a:pt x="8556" y="3032"/>
                  </a:cubicBezTo>
                  <a:cubicBezTo>
                    <a:pt x="8550" y="3048"/>
                    <a:pt x="8544" y="3063"/>
                    <a:pt x="8538" y="3079"/>
                  </a:cubicBezTo>
                  <a:cubicBezTo>
                    <a:pt x="8534" y="3085"/>
                    <a:pt x="8529" y="3091"/>
                    <a:pt x="8525" y="3097"/>
                  </a:cubicBezTo>
                  <a:lnTo>
                    <a:pt x="8513" y="3118"/>
                  </a:lnTo>
                  <a:cubicBezTo>
                    <a:pt x="8508" y="3124"/>
                    <a:pt x="8502" y="3131"/>
                    <a:pt x="8497" y="3137"/>
                  </a:cubicBezTo>
                  <a:cubicBezTo>
                    <a:pt x="8490" y="3141"/>
                    <a:pt x="8482" y="3145"/>
                    <a:pt x="8475" y="3149"/>
                  </a:cubicBezTo>
                  <a:lnTo>
                    <a:pt x="8404" y="3179"/>
                  </a:lnTo>
                  <a:lnTo>
                    <a:pt x="8331" y="3207"/>
                  </a:lnTo>
                  <a:lnTo>
                    <a:pt x="8295" y="3219"/>
                  </a:lnTo>
                  <a:cubicBezTo>
                    <a:pt x="8284" y="3225"/>
                    <a:pt x="8274" y="3231"/>
                    <a:pt x="8263" y="3237"/>
                  </a:cubicBezTo>
                  <a:cubicBezTo>
                    <a:pt x="8252" y="3243"/>
                    <a:pt x="8241" y="3248"/>
                    <a:pt x="8230" y="3254"/>
                  </a:cubicBezTo>
                  <a:cubicBezTo>
                    <a:pt x="8219" y="3262"/>
                    <a:pt x="8208" y="3269"/>
                    <a:pt x="8197" y="3277"/>
                  </a:cubicBezTo>
                  <a:cubicBezTo>
                    <a:pt x="8189" y="3285"/>
                    <a:pt x="8182" y="3293"/>
                    <a:pt x="8174" y="3301"/>
                  </a:cubicBezTo>
                  <a:cubicBezTo>
                    <a:pt x="8168" y="3310"/>
                    <a:pt x="8163" y="3320"/>
                    <a:pt x="8157" y="3329"/>
                  </a:cubicBezTo>
                  <a:cubicBezTo>
                    <a:pt x="8153" y="3333"/>
                    <a:pt x="8148" y="3336"/>
                    <a:pt x="8144" y="3340"/>
                  </a:cubicBezTo>
                  <a:lnTo>
                    <a:pt x="8134" y="3350"/>
                  </a:lnTo>
                  <a:cubicBezTo>
                    <a:pt x="8131" y="3354"/>
                    <a:pt x="8127" y="3357"/>
                    <a:pt x="8124" y="3361"/>
                  </a:cubicBezTo>
                  <a:cubicBezTo>
                    <a:pt x="8120" y="3363"/>
                    <a:pt x="8115" y="3366"/>
                    <a:pt x="8111" y="3368"/>
                  </a:cubicBezTo>
                  <a:lnTo>
                    <a:pt x="8038" y="3492"/>
                  </a:lnTo>
                  <a:cubicBezTo>
                    <a:pt x="8014" y="3533"/>
                    <a:pt x="7991" y="3575"/>
                    <a:pt x="7967" y="3616"/>
                  </a:cubicBezTo>
                  <a:cubicBezTo>
                    <a:pt x="7954" y="3636"/>
                    <a:pt x="7942" y="3657"/>
                    <a:pt x="7929" y="3677"/>
                  </a:cubicBezTo>
                  <a:cubicBezTo>
                    <a:pt x="7916" y="3697"/>
                    <a:pt x="7904" y="3718"/>
                    <a:pt x="7891" y="3738"/>
                  </a:cubicBezTo>
                  <a:cubicBezTo>
                    <a:pt x="7879" y="3758"/>
                    <a:pt x="7866" y="3779"/>
                    <a:pt x="7854" y="3799"/>
                  </a:cubicBezTo>
                  <a:cubicBezTo>
                    <a:pt x="7839" y="3818"/>
                    <a:pt x="7823" y="3836"/>
                    <a:pt x="7808" y="3855"/>
                  </a:cubicBezTo>
                  <a:cubicBezTo>
                    <a:pt x="7794" y="3874"/>
                    <a:pt x="7779" y="3892"/>
                    <a:pt x="7765" y="3911"/>
                  </a:cubicBezTo>
                  <a:cubicBezTo>
                    <a:pt x="7751" y="3930"/>
                    <a:pt x="7736" y="3948"/>
                    <a:pt x="7722" y="3967"/>
                  </a:cubicBezTo>
                  <a:cubicBezTo>
                    <a:pt x="7705" y="3985"/>
                    <a:pt x="7689" y="4003"/>
                    <a:pt x="7672" y="4021"/>
                  </a:cubicBezTo>
                  <a:cubicBezTo>
                    <a:pt x="7655" y="4037"/>
                    <a:pt x="7638" y="4054"/>
                    <a:pt x="7621" y="4070"/>
                  </a:cubicBezTo>
                  <a:lnTo>
                    <a:pt x="7566" y="4119"/>
                  </a:lnTo>
                  <a:cubicBezTo>
                    <a:pt x="7546" y="4133"/>
                    <a:pt x="7525" y="4147"/>
                    <a:pt x="7505" y="4161"/>
                  </a:cubicBezTo>
                  <a:cubicBezTo>
                    <a:pt x="7496" y="4169"/>
                    <a:pt x="7486" y="4176"/>
                    <a:pt x="7477" y="4184"/>
                  </a:cubicBezTo>
                  <a:cubicBezTo>
                    <a:pt x="7466" y="4190"/>
                    <a:pt x="7455" y="4197"/>
                    <a:pt x="7444" y="4203"/>
                  </a:cubicBezTo>
                  <a:cubicBezTo>
                    <a:pt x="7433" y="4209"/>
                    <a:pt x="7423" y="4216"/>
                    <a:pt x="7412" y="4222"/>
                  </a:cubicBezTo>
                  <a:lnTo>
                    <a:pt x="7376" y="4243"/>
                  </a:lnTo>
                  <a:cubicBezTo>
                    <a:pt x="7358" y="4251"/>
                    <a:pt x="7339" y="4258"/>
                    <a:pt x="7321" y="4266"/>
                  </a:cubicBezTo>
                  <a:lnTo>
                    <a:pt x="7260" y="4294"/>
                  </a:lnTo>
                  <a:cubicBezTo>
                    <a:pt x="7238" y="4303"/>
                    <a:pt x="7216" y="4311"/>
                    <a:pt x="7194" y="4320"/>
                  </a:cubicBezTo>
                  <a:cubicBezTo>
                    <a:pt x="7171" y="4328"/>
                    <a:pt x="7149" y="4337"/>
                    <a:pt x="7126" y="4345"/>
                  </a:cubicBezTo>
                  <a:lnTo>
                    <a:pt x="7058" y="4369"/>
                  </a:lnTo>
                  <a:cubicBezTo>
                    <a:pt x="7034" y="4374"/>
                    <a:pt x="7011" y="4380"/>
                    <a:pt x="6987" y="4385"/>
                  </a:cubicBezTo>
                  <a:cubicBezTo>
                    <a:pt x="6975" y="4387"/>
                    <a:pt x="6964" y="4388"/>
                    <a:pt x="6952" y="4390"/>
                  </a:cubicBezTo>
                  <a:lnTo>
                    <a:pt x="6917" y="4399"/>
                  </a:lnTo>
                  <a:cubicBezTo>
                    <a:pt x="6905" y="4401"/>
                    <a:pt x="6893" y="4402"/>
                    <a:pt x="6881" y="4404"/>
                  </a:cubicBezTo>
                  <a:cubicBezTo>
                    <a:pt x="6869" y="4405"/>
                    <a:pt x="6858" y="4405"/>
                    <a:pt x="6846" y="4406"/>
                  </a:cubicBezTo>
                  <a:lnTo>
                    <a:pt x="6813" y="4406"/>
                  </a:lnTo>
                  <a:lnTo>
                    <a:pt x="6780" y="4406"/>
                  </a:lnTo>
                  <a:cubicBezTo>
                    <a:pt x="6769" y="4405"/>
                    <a:pt x="6758" y="4405"/>
                    <a:pt x="6747" y="4404"/>
                  </a:cubicBezTo>
                  <a:cubicBezTo>
                    <a:pt x="6737" y="4402"/>
                    <a:pt x="6727" y="4401"/>
                    <a:pt x="6717" y="4399"/>
                  </a:cubicBezTo>
                  <a:lnTo>
                    <a:pt x="6687" y="4390"/>
                  </a:lnTo>
                  <a:lnTo>
                    <a:pt x="6657" y="4381"/>
                  </a:lnTo>
                  <a:cubicBezTo>
                    <a:pt x="6649" y="4378"/>
                    <a:pt x="6642" y="4374"/>
                    <a:pt x="6634" y="4371"/>
                  </a:cubicBezTo>
                  <a:cubicBezTo>
                    <a:pt x="6626" y="4366"/>
                    <a:pt x="6617" y="4360"/>
                    <a:pt x="6609" y="4355"/>
                  </a:cubicBezTo>
                  <a:cubicBezTo>
                    <a:pt x="6600" y="4349"/>
                    <a:pt x="6592" y="4344"/>
                    <a:pt x="6583" y="4338"/>
                  </a:cubicBezTo>
                  <a:cubicBezTo>
                    <a:pt x="6577" y="4331"/>
                    <a:pt x="6572" y="4324"/>
                    <a:pt x="6566" y="4317"/>
                  </a:cubicBezTo>
                  <a:cubicBezTo>
                    <a:pt x="6559" y="4309"/>
                    <a:pt x="6552" y="4302"/>
                    <a:pt x="6545" y="4294"/>
                  </a:cubicBezTo>
                  <a:cubicBezTo>
                    <a:pt x="6540" y="4286"/>
                    <a:pt x="6535" y="4279"/>
                    <a:pt x="6530" y="4271"/>
                  </a:cubicBezTo>
                  <a:cubicBezTo>
                    <a:pt x="6525" y="4262"/>
                    <a:pt x="6520" y="4252"/>
                    <a:pt x="6515" y="4243"/>
                  </a:cubicBezTo>
                  <a:lnTo>
                    <a:pt x="6503" y="4210"/>
                  </a:lnTo>
                  <a:cubicBezTo>
                    <a:pt x="6500" y="4198"/>
                    <a:pt x="6498" y="4185"/>
                    <a:pt x="6495" y="4173"/>
                  </a:cubicBezTo>
                  <a:cubicBezTo>
                    <a:pt x="6493" y="4160"/>
                    <a:pt x="6492" y="4146"/>
                    <a:pt x="6490" y="4133"/>
                  </a:cubicBezTo>
                  <a:cubicBezTo>
                    <a:pt x="6487" y="4118"/>
                    <a:pt x="6485" y="4103"/>
                    <a:pt x="6482" y="4088"/>
                  </a:cubicBezTo>
                  <a:cubicBezTo>
                    <a:pt x="6479" y="4074"/>
                    <a:pt x="6475" y="4060"/>
                    <a:pt x="6472" y="4046"/>
                  </a:cubicBezTo>
                  <a:cubicBezTo>
                    <a:pt x="6468" y="4034"/>
                    <a:pt x="6464" y="4021"/>
                    <a:pt x="6460" y="4009"/>
                  </a:cubicBezTo>
                  <a:cubicBezTo>
                    <a:pt x="6454" y="3999"/>
                    <a:pt x="6448" y="3988"/>
                    <a:pt x="6442" y="3978"/>
                  </a:cubicBezTo>
                  <a:lnTo>
                    <a:pt x="6427" y="3948"/>
                  </a:lnTo>
                  <a:lnTo>
                    <a:pt x="6404" y="3925"/>
                  </a:lnTo>
                  <a:cubicBezTo>
                    <a:pt x="6396" y="3917"/>
                    <a:pt x="6389" y="3909"/>
                    <a:pt x="6381" y="3901"/>
                  </a:cubicBezTo>
                  <a:cubicBezTo>
                    <a:pt x="6374" y="3893"/>
                    <a:pt x="6366" y="3886"/>
                    <a:pt x="6359" y="3878"/>
                  </a:cubicBezTo>
                  <a:cubicBezTo>
                    <a:pt x="6341" y="3864"/>
                    <a:pt x="6324" y="3850"/>
                    <a:pt x="6306" y="3836"/>
                  </a:cubicBezTo>
                  <a:lnTo>
                    <a:pt x="6253" y="3789"/>
                  </a:lnTo>
                  <a:cubicBezTo>
                    <a:pt x="6244" y="3782"/>
                    <a:pt x="6234" y="3775"/>
                    <a:pt x="6225" y="3768"/>
                  </a:cubicBezTo>
                  <a:lnTo>
                    <a:pt x="6199" y="3742"/>
                  </a:lnTo>
                  <a:lnTo>
                    <a:pt x="6172" y="3712"/>
                  </a:lnTo>
                  <a:cubicBezTo>
                    <a:pt x="6163" y="3701"/>
                    <a:pt x="6155" y="3690"/>
                    <a:pt x="6146" y="3679"/>
                  </a:cubicBezTo>
                  <a:cubicBezTo>
                    <a:pt x="6127" y="3648"/>
                    <a:pt x="6107" y="3617"/>
                    <a:pt x="6088" y="3586"/>
                  </a:cubicBezTo>
                  <a:cubicBezTo>
                    <a:pt x="6064" y="3549"/>
                    <a:pt x="6039" y="3513"/>
                    <a:pt x="6015" y="3476"/>
                  </a:cubicBezTo>
                  <a:lnTo>
                    <a:pt x="5972" y="3424"/>
                  </a:lnTo>
                  <a:lnTo>
                    <a:pt x="5932" y="3375"/>
                  </a:lnTo>
                  <a:lnTo>
                    <a:pt x="5909" y="3352"/>
                  </a:lnTo>
                  <a:cubicBezTo>
                    <a:pt x="5902" y="3347"/>
                    <a:pt x="5896" y="3341"/>
                    <a:pt x="5889" y="3336"/>
                  </a:cubicBezTo>
                  <a:cubicBezTo>
                    <a:pt x="5881" y="3330"/>
                    <a:pt x="5874" y="3323"/>
                    <a:pt x="5866" y="3317"/>
                  </a:cubicBezTo>
                  <a:cubicBezTo>
                    <a:pt x="5859" y="3312"/>
                    <a:pt x="5853" y="3308"/>
                    <a:pt x="5846" y="3303"/>
                  </a:cubicBezTo>
                  <a:cubicBezTo>
                    <a:pt x="5838" y="3298"/>
                    <a:pt x="5829" y="3294"/>
                    <a:pt x="5821" y="3289"/>
                  </a:cubicBezTo>
                  <a:cubicBezTo>
                    <a:pt x="5811" y="3285"/>
                    <a:pt x="5800" y="3281"/>
                    <a:pt x="5790" y="3277"/>
                  </a:cubicBezTo>
                  <a:cubicBezTo>
                    <a:pt x="5780" y="3275"/>
                    <a:pt x="5770" y="3272"/>
                    <a:pt x="5760" y="3270"/>
                  </a:cubicBezTo>
                  <a:lnTo>
                    <a:pt x="5727" y="3261"/>
                  </a:lnTo>
                  <a:cubicBezTo>
                    <a:pt x="5704" y="3256"/>
                    <a:pt x="5680" y="3252"/>
                    <a:pt x="5657" y="3247"/>
                  </a:cubicBezTo>
                  <a:cubicBezTo>
                    <a:pt x="5634" y="3242"/>
                    <a:pt x="5611" y="3238"/>
                    <a:pt x="5588" y="3233"/>
                  </a:cubicBezTo>
                  <a:cubicBezTo>
                    <a:pt x="5577" y="3230"/>
                    <a:pt x="5567" y="3226"/>
                    <a:pt x="5556" y="3223"/>
                  </a:cubicBezTo>
                  <a:cubicBezTo>
                    <a:pt x="5545" y="3221"/>
                    <a:pt x="5534" y="3218"/>
                    <a:pt x="5523" y="3216"/>
                  </a:cubicBezTo>
                  <a:lnTo>
                    <a:pt x="5492" y="3207"/>
                  </a:lnTo>
                  <a:cubicBezTo>
                    <a:pt x="5483" y="3202"/>
                    <a:pt x="5474" y="3198"/>
                    <a:pt x="5465" y="3193"/>
                  </a:cubicBezTo>
                  <a:cubicBezTo>
                    <a:pt x="5457" y="3189"/>
                    <a:pt x="5450" y="3185"/>
                    <a:pt x="5442" y="3181"/>
                  </a:cubicBezTo>
                  <a:cubicBezTo>
                    <a:pt x="5435" y="3175"/>
                    <a:pt x="5429" y="3169"/>
                    <a:pt x="5422" y="3163"/>
                  </a:cubicBezTo>
                  <a:cubicBezTo>
                    <a:pt x="5419" y="3160"/>
                    <a:pt x="5417" y="3156"/>
                    <a:pt x="5414" y="3153"/>
                  </a:cubicBezTo>
                  <a:cubicBezTo>
                    <a:pt x="5412" y="3150"/>
                    <a:pt x="5409" y="3147"/>
                    <a:pt x="5407" y="3144"/>
                  </a:cubicBezTo>
                  <a:cubicBezTo>
                    <a:pt x="5404" y="3141"/>
                    <a:pt x="5402" y="3138"/>
                    <a:pt x="5399" y="3135"/>
                  </a:cubicBezTo>
                  <a:cubicBezTo>
                    <a:pt x="5397" y="3130"/>
                    <a:pt x="5396" y="3126"/>
                    <a:pt x="5394" y="3121"/>
                  </a:cubicBezTo>
                  <a:cubicBezTo>
                    <a:pt x="5392" y="3112"/>
                    <a:pt x="5391" y="3102"/>
                    <a:pt x="5389" y="3093"/>
                  </a:cubicBezTo>
                  <a:cubicBezTo>
                    <a:pt x="5387" y="3082"/>
                    <a:pt x="5386" y="3071"/>
                    <a:pt x="5384" y="3060"/>
                  </a:cubicBezTo>
                  <a:lnTo>
                    <a:pt x="5384" y="3025"/>
                  </a:lnTo>
                  <a:cubicBezTo>
                    <a:pt x="5385" y="3012"/>
                    <a:pt x="5385" y="2998"/>
                    <a:pt x="5386" y="2985"/>
                  </a:cubicBezTo>
                  <a:cubicBezTo>
                    <a:pt x="5388" y="2960"/>
                    <a:pt x="5389" y="2935"/>
                    <a:pt x="5391" y="2910"/>
                  </a:cubicBezTo>
                  <a:cubicBezTo>
                    <a:pt x="5394" y="2888"/>
                    <a:pt x="5396" y="2867"/>
                    <a:pt x="5399" y="2845"/>
                  </a:cubicBezTo>
                  <a:cubicBezTo>
                    <a:pt x="5402" y="2837"/>
                    <a:pt x="5404" y="2829"/>
                    <a:pt x="5407" y="2821"/>
                  </a:cubicBezTo>
                  <a:cubicBezTo>
                    <a:pt x="5409" y="2813"/>
                    <a:pt x="5410" y="2804"/>
                    <a:pt x="5412" y="2796"/>
                  </a:cubicBezTo>
                  <a:cubicBezTo>
                    <a:pt x="5414" y="2788"/>
                    <a:pt x="5417" y="2780"/>
                    <a:pt x="5419" y="2772"/>
                  </a:cubicBezTo>
                  <a:cubicBezTo>
                    <a:pt x="5422" y="2765"/>
                    <a:pt x="5426" y="2758"/>
                    <a:pt x="5429" y="2751"/>
                  </a:cubicBezTo>
                  <a:cubicBezTo>
                    <a:pt x="5433" y="2746"/>
                    <a:pt x="5438" y="2740"/>
                    <a:pt x="5442" y="2735"/>
                  </a:cubicBezTo>
                  <a:cubicBezTo>
                    <a:pt x="5446" y="2729"/>
                    <a:pt x="5451" y="2722"/>
                    <a:pt x="5455" y="2716"/>
                  </a:cubicBezTo>
                  <a:cubicBezTo>
                    <a:pt x="5459" y="2711"/>
                    <a:pt x="5463" y="2705"/>
                    <a:pt x="5467" y="2700"/>
                  </a:cubicBezTo>
                  <a:cubicBezTo>
                    <a:pt x="5472" y="2694"/>
                    <a:pt x="5477" y="2689"/>
                    <a:pt x="5482" y="2683"/>
                  </a:cubicBezTo>
                  <a:cubicBezTo>
                    <a:pt x="5506" y="2663"/>
                    <a:pt x="5529" y="2643"/>
                    <a:pt x="5553" y="2623"/>
                  </a:cubicBezTo>
                  <a:cubicBezTo>
                    <a:pt x="5577" y="2601"/>
                    <a:pt x="5602" y="2579"/>
                    <a:pt x="5626" y="2557"/>
                  </a:cubicBezTo>
                  <a:cubicBezTo>
                    <a:pt x="5634" y="2548"/>
                    <a:pt x="5641" y="2538"/>
                    <a:pt x="5649" y="2529"/>
                  </a:cubicBezTo>
                  <a:cubicBezTo>
                    <a:pt x="5654" y="2521"/>
                    <a:pt x="5659" y="2514"/>
                    <a:pt x="5664" y="2506"/>
                  </a:cubicBezTo>
                  <a:cubicBezTo>
                    <a:pt x="5669" y="2497"/>
                    <a:pt x="5674" y="2487"/>
                    <a:pt x="5679" y="2478"/>
                  </a:cubicBezTo>
                  <a:cubicBezTo>
                    <a:pt x="5682" y="2469"/>
                    <a:pt x="5684" y="2459"/>
                    <a:pt x="5687" y="2450"/>
                  </a:cubicBezTo>
                  <a:cubicBezTo>
                    <a:pt x="5692" y="2430"/>
                    <a:pt x="5697" y="2411"/>
                    <a:pt x="5702" y="2391"/>
                  </a:cubicBezTo>
                  <a:cubicBezTo>
                    <a:pt x="5709" y="2371"/>
                    <a:pt x="5715" y="2351"/>
                    <a:pt x="5722" y="2331"/>
                  </a:cubicBezTo>
                  <a:cubicBezTo>
                    <a:pt x="5721" y="2318"/>
                    <a:pt x="5721" y="2304"/>
                    <a:pt x="5720" y="2291"/>
                  </a:cubicBezTo>
                  <a:cubicBezTo>
                    <a:pt x="5718" y="2278"/>
                    <a:pt x="5717" y="2266"/>
                    <a:pt x="5715" y="2253"/>
                  </a:cubicBezTo>
                  <a:cubicBezTo>
                    <a:pt x="5711" y="2241"/>
                    <a:pt x="5706" y="2228"/>
                    <a:pt x="5702" y="2216"/>
                  </a:cubicBezTo>
                  <a:cubicBezTo>
                    <a:pt x="5698" y="2205"/>
                    <a:pt x="5693" y="2194"/>
                    <a:pt x="5689" y="2183"/>
                  </a:cubicBezTo>
                  <a:cubicBezTo>
                    <a:pt x="5683" y="2173"/>
                    <a:pt x="5678" y="2163"/>
                    <a:pt x="5672" y="2153"/>
                  </a:cubicBezTo>
                  <a:cubicBezTo>
                    <a:pt x="5666" y="2144"/>
                    <a:pt x="5660" y="2136"/>
                    <a:pt x="5654" y="2127"/>
                  </a:cubicBezTo>
                  <a:cubicBezTo>
                    <a:pt x="5646" y="2118"/>
                    <a:pt x="5639" y="2108"/>
                    <a:pt x="5631" y="2099"/>
                  </a:cubicBezTo>
                  <a:cubicBezTo>
                    <a:pt x="5625" y="2090"/>
                    <a:pt x="5620" y="2082"/>
                    <a:pt x="5614" y="2073"/>
                  </a:cubicBezTo>
                  <a:cubicBezTo>
                    <a:pt x="5606" y="2064"/>
                    <a:pt x="5599" y="2054"/>
                    <a:pt x="5591" y="2045"/>
                  </a:cubicBezTo>
                  <a:cubicBezTo>
                    <a:pt x="5585" y="2037"/>
                    <a:pt x="5579" y="2028"/>
                    <a:pt x="5573" y="2020"/>
                  </a:cubicBezTo>
                  <a:cubicBezTo>
                    <a:pt x="5566" y="2010"/>
                    <a:pt x="5560" y="1999"/>
                    <a:pt x="5553" y="1989"/>
                  </a:cubicBezTo>
                  <a:cubicBezTo>
                    <a:pt x="5547" y="1980"/>
                    <a:pt x="5541" y="1970"/>
                    <a:pt x="5535" y="1961"/>
                  </a:cubicBezTo>
                  <a:lnTo>
                    <a:pt x="5520" y="1928"/>
                  </a:lnTo>
                  <a:cubicBezTo>
                    <a:pt x="5517" y="1917"/>
                    <a:pt x="5513" y="1907"/>
                    <a:pt x="5510" y="1896"/>
                  </a:cubicBezTo>
                  <a:cubicBezTo>
                    <a:pt x="5507" y="1883"/>
                    <a:pt x="5503" y="1871"/>
                    <a:pt x="5500" y="1858"/>
                  </a:cubicBezTo>
                  <a:lnTo>
                    <a:pt x="5497" y="1819"/>
                  </a:lnTo>
                  <a:cubicBezTo>
                    <a:pt x="5496" y="1800"/>
                    <a:pt x="5496" y="1782"/>
                    <a:pt x="5495" y="1763"/>
                  </a:cubicBezTo>
                  <a:cubicBezTo>
                    <a:pt x="5493" y="1748"/>
                    <a:pt x="5492" y="1733"/>
                    <a:pt x="5490" y="1718"/>
                  </a:cubicBezTo>
                  <a:cubicBezTo>
                    <a:pt x="5487" y="1704"/>
                    <a:pt x="5485" y="1690"/>
                    <a:pt x="5482" y="1676"/>
                  </a:cubicBezTo>
                  <a:lnTo>
                    <a:pt x="5467" y="1643"/>
                  </a:lnTo>
                  <a:cubicBezTo>
                    <a:pt x="5465" y="1638"/>
                    <a:pt x="5464" y="1634"/>
                    <a:pt x="5462" y="1629"/>
                  </a:cubicBezTo>
                  <a:cubicBezTo>
                    <a:pt x="5460" y="1624"/>
                    <a:pt x="5457" y="1620"/>
                    <a:pt x="5455" y="1615"/>
                  </a:cubicBezTo>
                  <a:cubicBezTo>
                    <a:pt x="5452" y="1611"/>
                    <a:pt x="5450" y="1608"/>
                    <a:pt x="5447" y="1604"/>
                  </a:cubicBezTo>
                  <a:lnTo>
                    <a:pt x="5437" y="1594"/>
                  </a:lnTo>
                  <a:cubicBezTo>
                    <a:pt x="5434" y="1590"/>
                    <a:pt x="5430" y="1587"/>
                    <a:pt x="5427" y="1583"/>
                  </a:cubicBezTo>
                  <a:cubicBezTo>
                    <a:pt x="5424" y="1581"/>
                    <a:pt x="5420" y="1578"/>
                    <a:pt x="5417" y="1576"/>
                  </a:cubicBezTo>
                  <a:cubicBezTo>
                    <a:pt x="5413" y="1573"/>
                    <a:pt x="5408" y="1571"/>
                    <a:pt x="5404" y="1568"/>
                  </a:cubicBezTo>
                  <a:cubicBezTo>
                    <a:pt x="5400" y="1567"/>
                    <a:pt x="5395" y="1565"/>
                    <a:pt x="5391" y="1564"/>
                  </a:cubicBezTo>
                  <a:lnTo>
                    <a:pt x="5361" y="1552"/>
                  </a:lnTo>
                  <a:cubicBezTo>
                    <a:pt x="5351" y="1550"/>
                    <a:pt x="5341" y="1549"/>
                    <a:pt x="5331" y="1547"/>
                  </a:cubicBezTo>
                  <a:cubicBezTo>
                    <a:pt x="5319" y="1546"/>
                    <a:pt x="5307" y="1546"/>
                    <a:pt x="5295" y="1545"/>
                  </a:cubicBezTo>
                  <a:cubicBezTo>
                    <a:pt x="5282" y="1546"/>
                    <a:pt x="5268" y="1546"/>
                    <a:pt x="5255" y="1547"/>
                  </a:cubicBezTo>
                  <a:cubicBezTo>
                    <a:pt x="5226" y="1550"/>
                    <a:pt x="5196" y="1554"/>
                    <a:pt x="5167" y="1557"/>
                  </a:cubicBezTo>
                  <a:lnTo>
                    <a:pt x="5058" y="1573"/>
                  </a:lnTo>
                  <a:lnTo>
                    <a:pt x="5025" y="1576"/>
                  </a:lnTo>
                  <a:lnTo>
                    <a:pt x="4995" y="1576"/>
                  </a:lnTo>
                  <a:lnTo>
                    <a:pt x="4965" y="1573"/>
                  </a:lnTo>
                  <a:cubicBezTo>
                    <a:pt x="4955" y="1571"/>
                    <a:pt x="4944" y="1570"/>
                    <a:pt x="4934" y="1568"/>
                  </a:cubicBezTo>
                  <a:cubicBezTo>
                    <a:pt x="4925" y="1566"/>
                    <a:pt x="4916" y="1563"/>
                    <a:pt x="4907" y="1561"/>
                  </a:cubicBezTo>
                  <a:cubicBezTo>
                    <a:pt x="4898" y="1557"/>
                    <a:pt x="4888" y="1554"/>
                    <a:pt x="4879" y="1550"/>
                  </a:cubicBezTo>
                  <a:cubicBezTo>
                    <a:pt x="4870" y="1547"/>
                    <a:pt x="4860" y="1543"/>
                    <a:pt x="4851" y="1540"/>
                  </a:cubicBezTo>
                  <a:cubicBezTo>
                    <a:pt x="4843" y="1536"/>
                    <a:pt x="4836" y="1533"/>
                    <a:pt x="4828" y="1529"/>
                  </a:cubicBezTo>
                  <a:lnTo>
                    <a:pt x="4775" y="1505"/>
                  </a:lnTo>
                  <a:lnTo>
                    <a:pt x="4725" y="1484"/>
                  </a:lnTo>
                  <a:cubicBezTo>
                    <a:pt x="4716" y="1482"/>
                    <a:pt x="4708" y="1479"/>
                    <a:pt x="4699" y="1477"/>
                  </a:cubicBezTo>
                  <a:cubicBezTo>
                    <a:pt x="4689" y="1475"/>
                    <a:pt x="4679" y="1472"/>
                    <a:pt x="4669" y="1470"/>
                  </a:cubicBezTo>
                  <a:cubicBezTo>
                    <a:pt x="4660" y="1469"/>
                    <a:pt x="4650" y="1469"/>
                    <a:pt x="4641" y="1468"/>
                  </a:cubicBezTo>
                  <a:lnTo>
                    <a:pt x="4611" y="1468"/>
                  </a:lnTo>
                  <a:cubicBezTo>
                    <a:pt x="4598" y="1469"/>
                    <a:pt x="4586" y="1469"/>
                    <a:pt x="4573" y="1470"/>
                  </a:cubicBezTo>
                  <a:cubicBezTo>
                    <a:pt x="4561" y="1472"/>
                    <a:pt x="4550" y="1473"/>
                    <a:pt x="4538" y="1475"/>
                  </a:cubicBezTo>
                  <a:cubicBezTo>
                    <a:pt x="4526" y="1477"/>
                    <a:pt x="4515" y="1478"/>
                    <a:pt x="4503" y="1480"/>
                  </a:cubicBezTo>
                  <a:cubicBezTo>
                    <a:pt x="4491" y="1482"/>
                    <a:pt x="4479" y="1485"/>
                    <a:pt x="4467" y="1487"/>
                  </a:cubicBezTo>
                  <a:cubicBezTo>
                    <a:pt x="4455" y="1489"/>
                    <a:pt x="4444" y="1492"/>
                    <a:pt x="4432" y="1494"/>
                  </a:cubicBezTo>
                  <a:cubicBezTo>
                    <a:pt x="4420" y="1495"/>
                    <a:pt x="4408" y="1495"/>
                    <a:pt x="4396" y="1496"/>
                  </a:cubicBezTo>
                  <a:lnTo>
                    <a:pt x="4361" y="1496"/>
                  </a:lnTo>
                  <a:cubicBezTo>
                    <a:pt x="4348" y="1495"/>
                    <a:pt x="4336" y="1495"/>
                    <a:pt x="4323" y="1494"/>
                  </a:cubicBezTo>
                  <a:cubicBezTo>
                    <a:pt x="4311" y="1491"/>
                    <a:pt x="4300" y="1487"/>
                    <a:pt x="4288" y="1484"/>
                  </a:cubicBezTo>
                  <a:cubicBezTo>
                    <a:pt x="4275" y="1479"/>
                    <a:pt x="4263" y="1475"/>
                    <a:pt x="4250" y="1470"/>
                  </a:cubicBezTo>
                  <a:cubicBezTo>
                    <a:pt x="4238" y="1465"/>
                    <a:pt x="4227" y="1459"/>
                    <a:pt x="4215" y="1454"/>
                  </a:cubicBezTo>
                  <a:cubicBezTo>
                    <a:pt x="4201" y="1447"/>
                    <a:pt x="4188" y="1440"/>
                    <a:pt x="4174" y="1433"/>
                  </a:cubicBezTo>
                  <a:lnTo>
                    <a:pt x="4136" y="1407"/>
                  </a:lnTo>
                  <a:lnTo>
                    <a:pt x="4098" y="1381"/>
                  </a:lnTo>
                  <a:cubicBezTo>
                    <a:pt x="4086" y="1371"/>
                    <a:pt x="4075" y="1361"/>
                    <a:pt x="4063" y="1351"/>
                  </a:cubicBezTo>
                  <a:cubicBezTo>
                    <a:pt x="4050" y="1340"/>
                    <a:pt x="4038" y="1329"/>
                    <a:pt x="4025" y="1318"/>
                  </a:cubicBezTo>
                  <a:cubicBezTo>
                    <a:pt x="4014" y="1307"/>
                    <a:pt x="4003" y="1297"/>
                    <a:pt x="3992" y="1286"/>
                  </a:cubicBezTo>
                  <a:lnTo>
                    <a:pt x="3960" y="1251"/>
                  </a:lnTo>
                  <a:cubicBezTo>
                    <a:pt x="3949" y="1239"/>
                    <a:pt x="3938" y="1228"/>
                    <a:pt x="3927" y="1216"/>
                  </a:cubicBezTo>
                  <a:cubicBezTo>
                    <a:pt x="3918" y="1205"/>
                    <a:pt x="3908" y="1194"/>
                    <a:pt x="3899" y="1183"/>
                  </a:cubicBezTo>
                  <a:cubicBezTo>
                    <a:pt x="3891" y="1171"/>
                    <a:pt x="3882" y="1160"/>
                    <a:pt x="3874" y="1148"/>
                  </a:cubicBezTo>
                  <a:cubicBezTo>
                    <a:pt x="3865" y="1135"/>
                    <a:pt x="3857" y="1123"/>
                    <a:pt x="3848" y="1110"/>
                  </a:cubicBezTo>
                  <a:cubicBezTo>
                    <a:pt x="3841" y="1100"/>
                    <a:pt x="3835" y="1090"/>
                    <a:pt x="3828" y="1080"/>
                  </a:cubicBezTo>
                  <a:lnTo>
                    <a:pt x="3813" y="1047"/>
                  </a:lnTo>
                  <a:cubicBezTo>
                    <a:pt x="3809" y="1039"/>
                    <a:pt x="3805" y="1032"/>
                    <a:pt x="3801" y="1024"/>
                  </a:cubicBezTo>
                  <a:cubicBezTo>
                    <a:pt x="3797" y="1015"/>
                    <a:pt x="3794" y="1005"/>
                    <a:pt x="3790" y="996"/>
                  </a:cubicBezTo>
                  <a:cubicBezTo>
                    <a:pt x="3788" y="986"/>
                    <a:pt x="3785" y="975"/>
                    <a:pt x="3783" y="965"/>
                  </a:cubicBezTo>
                  <a:cubicBezTo>
                    <a:pt x="3780" y="955"/>
                    <a:pt x="3778" y="945"/>
                    <a:pt x="3775" y="935"/>
                  </a:cubicBezTo>
                  <a:cubicBezTo>
                    <a:pt x="3770" y="915"/>
                    <a:pt x="3765" y="894"/>
                    <a:pt x="3760" y="874"/>
                  </a:cubicBezTo>
                  <a:cubicBezTo>
                    <a:pt x="3757" y="853"/>
                    <a:pt x="3753" y="832"/>
                    <a:pt x="3750" y="811"/>
                  </a:cubicBezTo>
                  <a:cubicBezTo>
                    <a:pt x="3747" y="790"/>
                    <a:pt x="3743" y="769"/>
                    <a:pt x="3740" y="748"/>
                  </a:cubicBezTo>
                  <a:cubicBezTo>
                    <a:pt x="3735" y="729"/>
                    <a:pt x="3730" y="709"/>
                    <a:pt x="3725" y="690"/>
                  </a:cubicBezTo>
                  <a:cubicBezTo>
                    <a:pt x="3722" y="681"/>
                    <a:pt x="3718" y="671"/>
                    <a:pt x="3715" y="662"/>
                  </a:cubicBezTo>
                  <a:cubicBezTo>
                    <a:pt x="3712" y="652"/>
                    <a:pt x="3708" y="643"/>
                    <a:pt x="3705" y="633"/>
                  </a:cubicBezTo>
                  <a:cubicBezTo>
                    <a:pt x="3701" y="625"/>
                    <a:pt x="3696" y="618"/>
                    <a:pt x="3692" y="610"/>
                  </a:cubicBezTo>
                  <a:cubicBezTo>
                    <a:pt x="3687" y="602"/>
                    <a:pt x="3682" y="595"/>
                    <a:pt x="3677" y="587"/>
                  </a:cubicBezTo>
                  <a:cubicBezTo>
                    <a:pt x="3670" y="579"/>
                    <a:pt x="3664" y="571"/>
                    <a:pt x="3657" y="563"/>
                  </a:cubicBezTo>
                  <a:cubicBezTo>
                    <a:pt x="3648" y="556"/>
                    <a:pt x="3640" y="549"/>
                    <a:pt x="3631" y="542"/>
                  </a:cubicBezTo>
                  <a:cubicBezTo>
                    <a:pt x="3623" y="537"/>
                    <a:pt x="3614" y="531"/>
                    <a:pt x="3606" y="526"/>
                  </a:cubicBezTo>
                  <a:cubicBezTo>
                    <a:pt x="3595" y="521"/>
                    <a:pt x="3584" y="517"/>
                    <a:pt x="3573" y="512"/>
                  </a:cubicBezTo>
                  <a:lnTo>
                    <a:pt x="3540" y="500"/>
                  </a:lnTo>
                  <a:cubicBezTo>
                    <a:pt x="3528" y="498"/>
                    <a:pt x="3517" y="495"/>
                    <a:pt x="3505" y="493"/>
                  </a:cubicBezTo>
                  <a:cubicBezTo>
                    <a:pt x="3493" y="492"/>
                    <a:pt x="3482" y="490"/>
                    <a:pt x="3470" y="489"/>
                  </a:cubicBezTo>
                  <a:cubicBezTo>
                    <a:pt x="3457" y="487"/>
                    <a:pt x="3445" y="486"/>
                    <a:pt x="3432" y="484"/>
                  </a:cubicBezTo>
                  <a:cubicBezTo>
                    <a:pt x="3418" y="482"/>
                    <a:pt x="3405" y="481"/>
                    <a:pt x="3391" y="479"/>
                  </a:cubicBezTo>
                  <a:lnTo>
                    <a:pt x="3354" y="479"/>
                  </a:lnTo>
                  <a:cubicBezTo>
                    <a:pt x="3340" y="481"/>
                    <a:pt x="3327" y="482"/>
                    <a:pt x="3313" y="484"/>
                  </a:cubicBezTo>
                  <a:lnTo>
                    <a:pt x="3278" y="484"/>
                  </a:lnTo>
                  <a:cubicBezTo>
                    <a:pt x="3254" y="486"/>
                    <a:pt x="3231" y="489"/>
                    <a:pt x="3207" y="491"/>
                  </a:cubicBezTo>
                  <a:cubicBezTo>
                    <a:pt x="3186" y="493"/>
                    <a:pt x="3165" y="496"/>
                    <a:pt x="3144" y="498"/>
                  </a:cubicBezTo>
                  <a:cubicBezTo>
                    <a:pt x="3134" y="500"/>
                    <a:pt x="3124" y="501"/>
                    <a:pt x="3114" y="503"/>
                  </a:cubicBezTo>
                  <a:lnTo>
                    <a:pt x="3081" y="503"/>
                  </a:lnTo>
                  <a:cubicBezTo>
                    <a:pt x="3071" y="504"/>
                    <a:pt x="3061" y="504"/>
                    <a:pt x="3051" y="505"/>
                  </a:cubicBezTo>
                  <a:cubicBezTo>
                    <a:pt x="3041" y="504"/>
                    <a:pt x="3030" y="504"/>
                    <a:pt x="3020" y="503"/>
                  </a:cubicBezTo>
                  <a:cubicBezTo>
                    <a:pt x="3001" y="501"/>
                    <a:pt x="2981" y="500"/>
                    <a:pt x="2962" y="498"/>
                  </a:cubicBezTo>
                  <a:cubicBezTo>
                    <a:pt x="2943" y="496"/>
                    <a:pt x="2923" y="493"/>
                    <a:pt x="2904" y="491"/>
                  </a:cubicBezTo>
                  <a:cubicBezTo>
                    <a:pt x="2884" y="489"/>
                    <a:pt x="2863" y="486"/>
                    <a:pt x="2843" y="484"/>
                  </a:cubicBezTo>
                  <a:cubicBezTo>
                    <a:pt x="2825" y="482"/>
                    <a:pt x="2806" y="479"/>
                    <a:pt x="2788" y="477"/>
                  </a:cubicBezTo>
                  <a:lnTo>
                    <a:pt x="2758" y="477"/>
                  </a:lnTo>
                  <a:lnTo>
                    <a:pt x="2730" y="477"/>
                  </a:lnTo>
                  <a:lnTo>
                    <a:pt x="2702" y="477"/>
                  </a:lnTo>
                  <a:cubicBezTo>
                    <a:pt x="2692" y="478"/>
                    <a:pt x="2682" y="478"/>
                    <a:pt x="2672" y="479"/>
                  </a:cubicBezTo>
                  <a:lnTo>
                    <a:pt x="2578" y="479"/>
                  </a:lnTo>
                  <a:cubicBezTo>
                    <a:pt x="2547" y="478"/>
                    <a:pt x="2516" y="478"/>
                    <a:pt x="2485" y="477"/>
                  </a:cubicBezTo>
                  <a:cubicBezTo>
                    <a:pt x="2467" y="475"/>
                    <a:pt x="2450" y="474"/>
                    <a:pt x="2432" y="472"/>
                  </a:cubicBezTo>
                  <a:cubicBezTo>
                    <a:pt x="2416" y="471"/>
                    <a:pt x="2400" y="469"/>
                    <a:pt x="2384" y="468"/>
                  </a:cubicBezTo>
                  <a:cubicBezTo>
                    <a:pt x="2367" y="465"/>
                    <a:pt x="2350" y="463"/>
                    <a:pt x="2333" y="460"/>
                  </a:cubicBezTo>
                  <a:cubicBezTo>
                    <a:pt x="2317" y="456"/>
                    <a:pt x="2301" y="453"/>
                    <a:pt x="2285" y="449"/>
                  </a:cubicBezTo>
                  <a:lnTo>
                    <a:pt x="2237" y="437"/>
                  </a:lnTo>
                  <a:cubicBezTo>
                    <a:pt x="2222" y="432"/>
                    <a:pt x="2207" y="428"/>
                    <a:pt x="2192" y="423"/>
                  </a:cubicBezTo>
                  <a:cubicBezTo>
                    <a:pt x="2178" y="417"/>
                    <a:pt x="2163" y="410"/>
                    <a:pt x="2149" y="404"/>
                  </a:cubicBezTo>
                  <a:cubicBezTo>
                    <a:pt x="2136" y="396"/>
                    <a:pt x="2122" y="389"/>
                    <a:pt x="2109" y="381"/>
                  </a:cubicBezTo>
                  <a:cubicBezTo>
                    <a:pt x="2095" y="373"/>
                    <a:pt x="2082" y="366"/>
                    <a:pt x="2068" y="358"/>
                  </a:cubicBezTo>
                  <a:cubicBezTo>
                    <a:pt x="2056" y="348"/>
                    <a:pt x="2045" y="337"/>
                    <a:pt x="2033" y="327"/>
                  </a:cubicBezTo>
                  <a:cubicBezTo>
                    <a:pt x="2028" y="322"/>
                    <a:pt x="2023" y="316"/>
                    <a:pt x="2018" y="311"/>
                  </a:cubicBezTo>
                  <a:cubicBezTo>
                    <a:pt x="2012" y="306"/>
                    <a:pt x="2006" y="300"/>
                    <a:pt x="2000" y="295"/>
                  </a:cubicBezTo>
                  <a:cubicBezTo>
                    <a:pt x="1996" y="289"/>
                    <a:pt x="1991" y="282"/>
                    <a:pt x="1987" y="276"/>
                  </a:cubicBezTo>
                  <a:lnTo>
                    <a:pt x="1975" y="255"/>
                  </a:lnTo>
                  <a:cubicBezTo>
                    <a:pt x="1966" y="243"/>
                    <a:pt x="1958" y="232"/>
                    <a:pt x="1949" y="220"/>
                  </a:cubicBezTo>
                  <a:lnTo>
                    <a:pt x="1922" y="187"/>
                  </a:lnTo>
                  <a:lnTo>
                    <a:pt x="1891" y="159"/>
                  </a:lnTo>
                  <a:cubicBezTo>
                    <a:pt x="1879" y="152"/>
                    <a:pt x="1868" y="145"/>
                    <a:pt x="1856" y="138"/>
                  </a:cubicBezTo>
                  <a:cubicBezTo>
                    <a:pt x="1845" y="130"/>
                    <a:pt x="1834" y="123"/>
                    <a:pt x="1823" y="115"/>
                  </a:cubicBezTo>
                  <a:cubicBezTo>
                    <a:pt x="1810" y="109"/>
                    <a:pt x="1798" y="102"/>
                    <a:pt x="1785" y="96"/>
                  </a:cubicBezTo>
                  <a:cubicBezTo>
                    <a:pt x="1772" y="90"/>
                    <a:pt x="1760" y="85"/>
                    <a:pt x="1747" y="79"/>
                  </a:cubicBezTo>
                  <a:cubicBezTo>
                    <a:pt x="1734" y="74"/>
                    <a:pt x="1720" y="70"/>
                    <a:pt x="1707" y="65"/>
                  </a:cubicBezTo>
                  <a:cubicBezTo>
                    <a:pt x="1694" y="61"/>
                    <a:pt x="1680" y="58"/>
                    <a:pt x="1667" y="54"/>
                  </a:cubicBezTo>
                  <a:cubicBezTo>
                    <a:pt x="1652" y="51"/>
                    <a:pt x="1636" y="47"/>
                    <a:pt x="1621" y="44"/>
                  </a:cubicBezTo>
                  <a:lnTo>
                    <a:pt x="1578" y="35"/>
                  </a:lnTo>
                  <a:cubicBezTo>
                    <a:pt x="1564" y="33"/>
                    <a:pt x="1549" y="30"/>
                    <a:pt x="1535" y="28"/>
                  </a:cubicBezTo>
                  <a:lnTo>
                    <a:pt x="1447" y="19"/>
                  </a:lnTo>
                  <a:cubicBezTo>
                    <a:pt x="1419" y="17"/>
                    <a:pt x="1392" y="14"/>
                    <a:pt x="1364" y="12"/>
                  </a:cubicBezTo>
                  <a:lnTo>
                    <a:pt x="1015" y="0"/>
                  </a:lnTo>
                  <a:lnTo>
                    <a:pt x="1015" y="0"/>
                  </a:lnTo>
                  <a:cubicBezTo>
                    <a:pt x="1013" y="21"/>
                    <a:pt x="1010" y="42"/>
                    <a:pt x="1008" y="63"/>
                  </a:cubicBezTo>
                  <a:cubicBezTo>
                    <a:pt x="1004" y="85"/>
                    <a:pt x="1001" y="107"/>
                    <a:pt x="997" y="129"/>
                  </a:cubicBezTo>
                  <a:cubicBezTo>
                    <a:pt x="994" y="150"/>
                    <a:pt x="990" y="171"/>
                    <a:pt x="987" y="192"/>
                  </a:cubicBezTo>
                  <a:cubicBezTo>
                    <a:pt x="982" y="214"/>
                    <a:pt x="977" y="235"/>
                    <a:pt x="972" y="257"/>
                  </a:cubicBezTo>
                  <a:lnTo>
                    <a:pt x="957" y="323"/>
                  </a:lnTo>
                  <a:cubicBezTo>
                    <a:pt x="950" y="344"/>
                    <a:pt x="944" y="365"/>
                    <a:pt x="937" y="386"/>
                  </a:cubicBezTo>
                  <a:cubicBezTo>
                    <a:pt x="934" y="396"/>
                    <a:pt x="930" y="406"/>
                    <a:pt x="927" y="416"/>
                  </a:cubicBezTo>
                  <a:lnTo>
                    <a:pt x="912" y="446"/>
                  </a:lnTo>
                  <a:cubicBezTo>
                    <a:pt x="908" y="456"/>
                    <a:pt x="903" y="465"/>
                    <a:pt x="899" y="475"/>
                  </a:cubicBezTo>
                  <a:cubicBezTo>
                    <a:pt x="895" y="484"/>
                    <a:pt x="890" y="494"/>
                    <a:pt x="886" y="503"/>
                  </a:cubicBezTo>
                  <a:cubicBezTo>
                    <a:pt x="878" y="524"/>
                    <a:pt x="869" y="545"/>
                    <a:pt x="861" y="566"/>
                  </a:cubicBezTo>
                  <a:lnTo>
                    <a:pt x="831" y="629"/>
                  </a:lnTo>
                  <a:cubicBezTo>
                    <a:pt x="821" y="649"/>
                    <a:pt x="811" y="670"/>
                    <a:pt x="801" y="690"/>
                  </a:cubicBezTo>
                  <a:lnTo>
                    <a:pt x="768" y="750"/>
                  </a:lnTo>
                  <a:cubicBezTo>
                    <a:pt x="743" y="790"/>
                    <a:pt x="719" y="830"/>
                    <a:pt x="694" y="870"/>
                  </a:cubicBezTo>
                  <a:lnTo>
                    <a:pt x="619" y="984"/>
                  </a:lnTo>
                  <a:lnTo>
                    <a:pt x="545" y="1103"/>
                  </a:lnTo>
                  <a:lnTo>
                    <a:pt x="470" y="1223"/>
                  </a:lnTo>
                  <a:lnTo>
                    <a:pt x="434" y="1283"/>
                  </a:lnTo>
                  <a:cubicBezTo>
                    <a:pt x="423" y="1303"/>
                    <a:pt x="413" y="1324"/>
                    <a:pt x="402" y="1344"/>
                  </a:cubicBezTo>
                  <a:cubicBezTo>
                    <a:pt x="393" y="1364"/>
                    <a:pt x="383" y="1385"/>
                    <a:pt x="374" y="1405"/>
                  </a:cubicBezTo>
                  <a:cubicBezTo>
                    <a:pt x="365" y="1426"/>
                    <a:pt x="355" y="1447"/>
                    <a:pt x="346" y="1468"/>
                  </a:cubicBezTo>
                  <a:cubicBezTo>
                    <a:pt x="339" y="1484"/>
                    <a:pt x="333" y="1499"/>
                    <a:pt x="326" y="1515"/>
                  </a:cubicBezTo>
                  <a:cubicBezTo>
                    <a:pt x="321" y="1531"/>
                    <a:pt x="316" y="1548"/>
                    <a:pt x="311" y="1564"/>
                  </a:cubicBezTo>
                  <a:cubicBezTo>
                    <a:pt x="306" y="1580"/>
                    <a:pt x="300" y="1597"/>
                    <a:pt x="295" y="1613"/>
                  </a:cubicBezTo>
                  <a:cubicBezTo>
                    <a:pt x="290" y="1629"/>
                    <a:pt x="285" y="1646"/>
                    <a:pt x="280" y="1662"/>
                  </a:cubicBezTo>
                  <a:cubicBezTo>
                    <a:pt x="275" y="1678"/>
                    <a:pt x="270" y="1693"/>
                    <a:pt x="265" y="1709"/>
                  </a:cubicBezTo>
                  <a:lnTo>
                    <a:pt x="247" y="1760"/>
                  </a:lnTo>
                  <a:cubicBezTo>
                    <a:pt x="241" y="1775"/>
                    <a:pt x="236" y="1790"/>
                    <a:pt x="230" y="1805"/>
                  </a:cubicBezTo>
                  <a:cubicBezTo>
                    <a:pt x="223" y="1820"/>
                    <a:pt x="217" y="1836"/>
                    <a:pt x="210" y="1851"/>
                  </a:cubicBezTo>
                  <a:cubicBezTo>
                    <a:pt x="197" y="1874"/>
                    <a:pt x="185" y="1896"/>
                    <a:pt x="172" y="1919"/>
                  </a:cubicBezTo>
                  <a:cubicBezTo>
                    <a:pt x="161" y="1942"/>
                    <a:pt x="150" y="1966"/>
                    <a:pt x="139" y="1989"/>
                  </a:cubicBezTo>
                  <a:cubicBezTo>
                    <a:pt x="130" y="2014"/>
                    <a:pt x="120" y="2039"/>
                    <a:pt x="111" y="2064"/>
                  </a:cubicBezTo>
                  <a:cubicBezTo>
                    <a:pt x="103" y="2088"/>
                    <a:pt x="94" y="2113"/>
                    <a:pt x="86" y="2137"/>
                  </a:cubicBezTo>
                  <a:lnTo>
                    <a:pt x="68" y="2209"/>
                  </a:lnTo>
                  <a:cubicBezTo>
                    <a:pt x="63" y="2235"/>
                    <a:pt x="58" y="2260"/>
                    <a:pt x="53" y="2286"/>
                  </a:cubicBezTo>
                  <a:cubicBezTo>
                    <a:pt x="50" y="2311"/>
                    <a:pt x="48" y="2336"/>
                    <a:pt x="45" y="2361"/>
                  </a:cubicBezTo>
                  <a:cubicBezTo>
                    <a:pt x="43" y="2387"/>
                    <a:pt x="40" y="2414"/>
                    <a:pt x="38" y="2440"/>
                  </a:cubicBezTo>
                  <a:lnTo>
                    <a:pt x="38" y="2480"/>
                  </a:lnTo>
                  <a:lnTo>
                    <a:pt x="38" y="2520"/>
                  </a:lnTo>
                  <a:cubicBezTo>
                    <a:pt x="39" y="2533"/>
                    <a:pt x="39" y="2547"/>
                    <a:pt x="40" y="2560"/>
                  </a:cubicBezTo>
                  <a:cubicBezTo>
                    <a:pt x="42" y="2574"/>
                    <a:pt x="43" y="2588"/>
                    <a:pt x="45" y="2602"/>
                  </a:cubicBezTo>
                  <a:cubicBezTo>
                    <a:pt x="48" y="2629"/>
                    <a:pt x="50" y="2656"/>
                    <a:pt x="53" y="2683"/>
                  </a:cubicBezTo>
                  <a:cubicBezTo>
                    <a:pt x="58" y="2711"/>
                    <a:pt x="63" y="2740"/>
                    <a:pt x="68" y="2768"/>
                  </a:cubicBezTo>
                  <a:cubicBezTo>
                    <a:pt x="71" y="2794"/>
                    <a:pt x="75" y="2821"/>
                    <a:pt x="78" y="2847"/>
                  </a:cubicBezTo>
                  <a:cubicBezTo>
                    <a:pt x="81" y="2874"/>
                    <a:pt x="83" y="2902"/>
                    <a:pt x="86" y="2929"/>
                  </a:cubicBezTo>
                  <a:cubicBezTo>
                    <a:pt x="87" y="2942"/>
                    <a:pt x="87" y="2956"/>
                    <a:pt x="88" y="2969"/>
                  </a:cubicBezTo>
                  <a:lnTo>
                    <a:pt x="88" y="3011"/>
                  </a:lnTo>
                  <a:cubicBezTo>
                    <a:pt x="87" y="3024"/>
                    <a:pt x="87" y="3037"/>
                    <a:pt x="86" y="3050"/>
                  </a:cubicBezTo>
                  <a:cubicBezTo>
                    <a:pt x="84" y="3063"/>
                    <a:pt x="83" y="3075"/>
                    <a:pt x="81" y="3088"/>
                  </a:cubicBezTo>
                  <a:cubicBezTo>
                    <a:pt x="87" y="3120"/>
                    <a:pt x="92" y="3152"/>
                    <a:pt x="98" y="3184"/>
                  </a:cubicBezTo>
                  <a:cubicBezTo>
                    <a:pt x="106" y="3214"/>
                    <a:pt x="113" y="3245"/>
                    <a:pt x="121" y="3275"/>
                  </a:cubicBezTo>
                  <a:cubicBezTo>
                    <a:pt x="123" y="3291"/>
                    <a:pt x="124" y="3308"/>
                    <a:pt x="126" y="3324"/>
                  </a:cubicBezTo>
                  <a:cubicBezTo>
                    <a:pt x="128" y="3339"/>
                    <a:pt x="129" y="3353"/>
                    <a:pt x="131" y="3368"/>
                  </a:cubicBezTo>
                  <a:cubicBezTo>
                    <a:pt x="133" y="3384"/>
                    <a:pt x="134" y="3399"/>
                    <a:pt x="136" y="3415"/>
                  </a:cubicBezTo>
                  <a:cubicBezTo>
                    <a:pt x="134" y="3431"/>
                    <a:pt x="133" y="3448"/>
                    <a:pt x="131" y="3464"/>
                  </a:cubicBezTo>
                  <a:cubicBezTo>
                    <a:pt x="129" y="3479"/>
                    <a:pt x="126" y="3494"/>
                    <a:pt x="124" y="3509"/>
                  </a:cubicBezTo>
                  <a:cubicBezTo>
                    <a:pt x="121" y="3524"/>
                    <a:pt x="117" y="3540"/>
                    <a:pt x="114" y="3555"/>
                  </a:cubicBezTo>
                  <a:lnTo>
                    <a:pt x="96" y="3597"/>
                  </a:lnTo>
                  <a:lnTo>
                    <a:pt x="81" y="3642"/>
                  </a:lnTo>
                  <a:cubicBezTo>
                    <a:pt x="68" y="3670"/>
                    <a:pt x="56" y="3698"/>
                    <a:pt x="43" y="3726"/>
                  </a:cubicBezTo>
                  <a:cubicBezTo>
                    <a:pt x="30" y="3754"/>
                    <a:pt x="18" y="3782"/>
                    <a:pt x="5" y="3810"/>
                  </a:cubicBezTo>
                  <a:cubicBezTo>
                    <a:pt x="3" y="3814"/>
                    <a:pt x="2" y="3818"/>
                    <a:pt x="0" y="3822"/>
                  </a:cubicBezTo>
                  <a:lnTo>
                    <a:pt x="0" y="3836"/>
                  </a:lnTo>
                  <a:lnTo>
                    <a:pt x="3" y="3845"/>
                  </a:lnTo>
                  <a:cubicBezTo>
                    <a:pt x="4" y="3849"/>
                    <a:pt x="4" y="3853"/>
                    <a:pt x="5" y="3857"/>
                  </a:cubicBezTo>
                  <a:cubicBezTo>
                    <a:pt x="8" y="3861"/>
                    <a:pt x="10" y="3865"/>
                    <a:pt x="13" y="3869"/>
                  </a:cubicBezTo>
                  <a:cubicBezTo>
                    <a:pt x="15" y="3872"/>
                    <a:pt x="18" y="3875"/>
                    <a:pt x="20" y="3878"/>
                  </a:cubicBezTo>
                  <a:cubicBezTo>
                    <a:pt x="23" y="3881"/>
                    <a:pt x="27" y="3884"/>
                    <a:pt x="30" y="3887"/>
                  </a:cubicBezTo>
                  <a:cubicBezTo>
                    <a:pt x="35" y="3890"/>
                    <a:pt x="40" y="3894"/>
                    <a:pt x="45" y="3897"/>
                  </a:cubicBezTo>
                  <a:cubicBezTo>
                    <a:pt x="55" y="3902"/>
                    <a:pt x="66" y="3908"/>
                    <a:pt x="76" y="3913"/>
                  </a:cubicBezTo>
                  <a:cubicBezTo>
                    <a:pt x="89" y="3918"/>
                    <a:pt x="101" y="3924"/>
                    <a:pt x="114" y="3929"/>
                  </a:cubicBezTo>
                  <a:lnTo>
                    <a:pt x="154" y="3941"/>
                  </a:lnTo>
                  <a:cubicBezTo>
                    <a:pt x="169" y="3946"/>
                    <a:pt x="184" y="3950"/>
                    <a:pt x="199" y="3955"/>
                  </a:cubicBezTo>
                  <a:cubicBezTo>
                    <a:pt x="215" y="3957"/>
                    <a:pt x="231" y="3960"/>
                    <a:pt x="247" y="3962"/>
                  </a:cubicBezTo>
                  <a:cubicBezTo>
                    <a:pt x="262" y="3964"/>
                    <a:pt x="278" y="3967"/>
                    <a:pt x="293" y="3969"/>
                  </a:cubicBezTo>
                  <a:cubicBezTo>
                    <a:pt x="309" y="3971"/>
                    <a:pt x="325" y="3972"/>
                    <a:pt x="341" y="3974"/>
                  </a:cubicBezTo>
                  <a:cubicBezTo>
                    <a:pt x="355" y="3975"/>
                    <a:pt x="370" y="3977"/>
                    <a:pt x="384" y="3978"/>
                  </a:cubicBezTo>
                  <a:lnTo>
                    <a:pt x="424" y="3981"/>
                  </a:lnTo>
                  <a:lnTo>
                    <a:pt x="462" y="3981"/>
                  </a:lnTo>
                  <a:lnTo>
                    <a:pt x="492" y="3978"/>
                  </a:lnTo>
                  <a:cubicBezTo>
                    <a:pt x="500" y="3977"/>
                    <a:pt x="507" y="3975"/>
                    <a:pt x="515" y="3974"/>
                  </a:cubicBezTo>
                  <a:lnTo>
                    <a:pt x="538" y="3971"/>
                  </a:lnTo>
                  <a:lnTo>
                    <a:pt x="563" y="3971"/>
                  </a:lnTo>
                  <a:cubicBezTo>
                    <a:pt x="571" y="3973"/>
                    <a:pt x="580" y="3976"/>
                    <a:pt x="588" y="3978"/>
                  </a:cubicBezTo>
                  <a:cubicBezTo>
                    <a:pt x="595" y="3981"/>
                    <a:pt x="602" y="3985"/>
                    <a:pt x="609" y="3988"/>
                  </a:cubicBezTo>
                  <a:cubicBezTo>
                    <a:pt x="617" y="3992"/>
                    <a:pt x="626" y="3996"/>
                    <a:pt x="634" y="4000"/>
                  </a:cubicBezTo>
                  <a:cubicBezTo>
                    <a:pt x="642" y="4005"/>
                    <a:pt x="651" y="4009"/>
                    <a:pt x="659" y="4014"/>
                  </a:cubicBezTo>
                  <a:cubicBezTo>
                    <a:pt x="667" y="4020"/>
                    <a:pt x="674" y="4026"/>
                    <a:pt x="682" y="4032"/>
                  </a:cubicBezTo>
                  <a:cubicBezTo>
                    <a:pt x="690" y="4038"/>
                    <a:pt x="697" y="4045"/>
                    <a:pt x="705" y="4051"/>
                  </a:cubicBezTo>
                  <a:cubicBezTo>
                    <a:pt x="721" y="4063"/>
                    <a:pt x="737" y="4076"/>
                    <a:pt x="753" y="4088"/>
                  </a:cubicBezTo>
                  <a:cubicBezTo>
                    <a:pt x="769" y="4101"/>
                    <a:pt x="785" y="4113"/>
                    <a:pt x="801" y="4126"/>
                  </a:cubicBezTo>
                  <a:cubicBezTo>
                    <a:pt x="809" y="4131"/>
                    <a:pt x="818" y="4135"/>
                    <a:pt x="826" y="4140"/>
                  </a:cubicBezTo>
                  <a:cubicBezTo>
                    <a:pt x="834" y="4145"/>
                    <a:pt x="843" y="4149"/>
                    <a:pt x="851" y="4154"/>
                  </a:cubicBezTo>
                  <a:cubicBezTo>
                    <a:pt x="859" y="4158"/>
                    <a:pt x="866" y="4161"/>
                    <a:pt x="874" y="4165"/>
                  </a:cubicBezTo>
                  <a:cubicBezTo>
                    <a:pt x="882" y="4168"/>
                    <a:pt x="891" y="4170"/>
                    <a:pt x="899" y="4173"/>
                  </a:cubicBezTo>
                  <a:lnTo>
                    <a:pt x="952" y="4247"/>
                  </a:lnTo>
                  <a:cubicBezTo>
                    <a:pt x="976" y="4281"/>
                    <a:pt x="1001" y="4314"/>
                    <a:pt x="1025" y="4348"/>
                  </a:cubicBezTo>
                  <a:cubicBezTo>
                    <a:pt x="1031" y="4357"/>
                    <a:pt x="1037" y="4365"/>
                    <a:pt x="1043" y="4374"/>
                  </a:cubicBezTo>
                  <a:lnTo>
                    <a:pt x="1066" y="4397"/>
                  </a:lnTo>
                  <a:cubicBezTo>
                    <a:pt x="1073" y="4404"/>
                    <a:pt x="1081" y="4411"/>
                    <a:pt x="1088" y="4418"/>
                  </a:cubicBezTo>
                  <a:cubicBezTo>
                    <a:pt x="1095" y="4424"/>
                    <a:pt x="1102" y="4431"/>
                    <a:pt x="1109" y="4437"/>
                  </a:cubicBezTo>
                  <a:cubicBezTo>
                    <a:pt x="1116" y="4442"/>
                    <a:pt x="1122" y="4446"/>
                    <a:pt x="1129" y="4451"/>
                  </a:cubicBezTo>
                  <a:cubicBezTo>
                    <a:pt x="1136" y="4455"/>
                    <a:pt x="1142" y="4458"/>
                    <a:pt x="1149" y="4462"/>
                  </a:cubicBezTo>
                  <a:cubicBezTo>
                    <a:pt x="1152" y="4463"/>
                    <a:pt x="1156" y="4464"/>
                    <a:pt x="1159" y="4465"/>
                  </a:cubicBezTo>
                  <a:cubicBezTo>
                    <a:pt x="1162" y="4466"/>
                    <a:pt x="1166" y="4466"/>
                    <a:pt x="1169" y="4467"/>
                  </a:cubicBezTo>
                  <a:lnTo>
                    <a:pt x="1179" y="4467"/>
                  </a:lnTo>
                  <a:lnTo>
                    <a:pt x="1189" y="4467"/>
                  </a:lnTo>
                  <a:cubicBezTo>
                    <a:pt x="1204" y="4465"/>
                    <a:pt x="1220" y="4462"/>
                    <a:pt x="1235" y="4460"/>
                  </a:cubicBezTo>
                  <a:cubicBezTo>
                    <a:pt x="1250" y="4455"/>
                    <a:pt x="1265" y="4451"/>
                    <a:pt x="1280" y="4446"/>
                  </a:cubicBezTo>
                  <a:lnTo>
                    <a:pt x="1328" y="4434"/>
                  </a:lnTo>
                  <a:cubicBezTo>
                    <a:pt x="1343" y="4429"/>
                    <a:pt x="1359" y="4423"/>
                    <a:pt x="1374" y="4418"/>
                  </a:cubicBezTo>
                  <a:lnTo>
                    <a:pt x="1470" y="4385"/>
                  </a:lnTo>
                  <a:lnTo>
                    <a:pt x="1558" y="4357"/>
                  </a:lnTo>
                  <a:cubicBezTo>
                    <a:pt x="1567" y="4354"/>
                    <a:pt x="1577" y="4351"/>
                    <a:pt x="1586" y="4348"/>
                  </a:cubicBezTo>
                  <a:cubicBezTo>
                    <a:pt x="1593" y="4345"/>
                    <a:pt x="1599" y="4341"/>
                    <a:pt x="1606" y="4338"/>
                  </a:cubicBezTo>
                  <a:cubicBezTo>
                    <a:pt x="1612" y="4333"/>
                    <a:pt x="1618" y="4329"/>
                    <a:pt x="1624" y="4324"/>
                  </a:cubicBezTo>
                  <a:cubicBezTo>
                    <a:pt x="1630" y="4322"/>
                    <a:pt x="1635" y="4319"/>
                    <a:pt x="1641" y="4317"/>
                  </a:cubicBezTo>
                  <a:cubicBezTo>
                    <a:pt x="1644" y="4316"/>
                    <a:pt x="1646" y="4316"/>
                    <a:pt x="1649" y="4315"/>
                  </a:cubicBezTo>
                  <a:cubicBezTo>
                    <a:pt x="1651" y="4314"/>
                    <a:pt x="1652" y="4314"/>
                    <a:pt x="1654" y="4313"/>
                  </a:cubicBezTo>
                  <a:lnTo>
                    <a:pt x="1667" y="4313"/>
                  </a:lnTo>
                  <a:cubicBezTo>
                    <a:pt x="1669" y="4314"/>
                    <a:pt x="1672" y="4314"/>
                    <a:pt x="1674" y="4315"/>
                  </a:cubicBezTo>
                  <a:cubicBezTo>
                    <a:pt x="1677" y="4316"/>
                    <a:pt x="1681" y="4316"/>
                    <a:pt x="1684" y="4317"/>
                  </a:cubicBezTo>
                  <a:cubicBezTo>
                    <a:pt x="1687" y="4319"/>
                    <a:pt x="1691" y="4320"/>
                    <a:pt x="1694" y="4322"/>
                  </a:cubicBezTo>
                  <a:cubicBezTo>
                    <a:pt x="1699" y="4324"/>
                    <a:pt x="1705" y="4327"/>
                    <a:pt x="1710" y="4329"/>
                  </a:cubicBezTo>
                  <a:cubicBezTo>
                    <a:pt x="1714" y="4334"/>
                    <a:pt x="1718" y="4338"/>
                    <a:pt x="1722" y="4343"/>
                  </a:cubicBezTo>
                  <a:cubicBezTo>
                    <a:pt x="1730" y="4349"/>
                    <a:pt x="1737" y="4354"/>
                    <a:pt x="1745" y="4360"/>
                  </a:cubicBezTo>
                  <a:lnTo>
                    <a:pt x="1768" y="4383"/>
                  </a:lnTo>
                  <a:cubicBezTo>
                    <a:pt x="1775" y="4392"/>
                    <a:pt x="1781" y="4400"/>
                    <a:pt x="1788" y="4409"/>
                  </a:cubicBezTo>
                  <a:cubicBezTo>
                    <a:pt x="1795" y="4418"/>
                    <a:pt x="1801" y="4428"/>
                    <a:pt x="1808" y="4437"/>
                  </a:cubicBezTo>
                  <a:lnTo>
                    <a:pt x="1823" y="4467"/>
                  </a:lnTo>
                  <a:cubicBezTo>
                    <a:pt x="1827" y="4477"/>
                    <a:pt x="1832" y="4487"/>
                    <a:pt x="1836" y="4497"/>
                  </a:cubicBezTo>
                  <a:cubicBezTo>
                    <a:pt x="1838" y="4506"/>
                    <a:pt x="1841" y="4516"/>
                    <a:pt x="1843" y="4525"/>
                  </a:cubicBezTo>
                  <a:cubicBezTo>
                    <a:pt x="1844" y="4535"/>
                    <a:pt x="1845" y="4546"/>
                    <a:pt x="1846" y="4556"/>
                  </a:cubicBezTo>
                  <a:lnTo>
                    <a:pt x="1846" y="4582"/>
                  </a:lnTo>
                  <a:cubicBezTo>
                    <a:pt x="1845" y="4590"/>
                    <a:pt x="1844" y="4599"/>
                    <a:pt x="1843" y="4607"/>
                  </a:cubicBezTo>
                  <a:lnTo>
                    <a:pt x="1846" y="4619"/>
                  </a:lnTo>
                  <a:cubicBezTo>
                    <a:pt x="1848" y="4622"/>
                    <a:pt x="1849" y="4625"/>
                    <a:pt x="1851" y="4628"/>
                  </a:cubicBezTo>
                  <a:lnTo>
                    <a:pt x="1861" y="4638"/>
                  </a:lnTo>
                  <a:cubicBezTo>
                    <a:pt x="1866" y="4640"/>
                    <a:pt x="1871" y="4643"/>
                    <a:pt x="1876" y="4645"/>
                  </a:cubicBezTo>
                  <a:cubicBezTo>
                    <a:pt x="1885" y="4650"/>
                    <a:pt x="1895" y="4654"/>
                    <a:pt x="1904" y="4659"/>
                  </a:cubicBezTo>
                  <a:cubicBezTo>
                    <a:pt x="1912" y="4664"/>
                    <a:pt x="1919" y="4668"/>
                    <a:pt x="1927" y="4673"/>
                  </a:cubicBezTo>
                  <a:cubicBezTo>
                    <a:pt x="1934" y="4678"/>
                    <a:pt x="1942" y="4682"/>
                    <a:pt x="1949" y="4687"/>
                  </a:cubicBezTo>
                  <a:cubicBezTo>
                    <a:pt x="1955" y="4691"/>
                    <a:pt x="1961" y="4694"/>
                    <a:pt x="1967" y="4698"/>
                  </a:cubicBezTo>
                  <a:cubicBezTo>
                    <a:pt x="1973" y="4704"/>
                    <a:pt x="1979" y="4709"/>
                    <a:pt x="1985" y="4715"/>
                  </a:cubicBezTo>
                  <a:cubicBezTo>
                    <a:pt x="1989" y="4720"/>
                    <a:pt x="1993" y="4724"/>
                    <a:pt x="1997" y="4729"/>
                  </a:cubicBezTo>
                  <a:cubicBezTo>
                    <a:pt x="2001" y="4734"/>
                    <a:pt x="2006" y="4740"/>
                    <a:pt x="2010" y="4745"/>
                  </a:cubicBezTo>
                  <a:cubicBezTo>
                    <a:pt x="2013" y="4750"/>
                    <a:pt x="2015" y="4754"/>
                    <a:pt x="2018" y="4759"/>
                  </a:cubicBezTo>
                  <a:cubicBezTo>
                    <a:pt x="2020" y="4765"/>
                    <a:pt x="2021" y="4772"/>
                    <a:pt x="2023" y="4778"/>
                  </a:cubicBezTo>
                  <a:lnTo>
                    <a:pt x="2023" y="4797"/>
                  </a:lnTo>
                  <a:lnTo>
                    <a:pt x="2023" y="4815"/>
                  </a:lnTo>
                  <a:cubicBezTo>
                    <a:pt x="2021" y="4823"/>
                    <a:pt x="2020" y="4831"/>
                    <a:pt x="2018" y="4839"/>
                  </a:cubicBezTo>
                  <a:cubicBezTo>
                    <a:pt x="2015" y="4846"/>
                    <a:pt x="2013" y="4853"/>
                    <a:pt x="2010" y="4860"/>
                  </a:cubicBezTo>
                  <a:cubicBezTo>
                    <a:pt x="2005" y="4868"/>
                    <a:pt x="2000" y="4877"/>
                    <a:pt x="1995" y="4885"/>
                  </a:cubicBezTo>
                  <a:cubicBezTo>
                    <a:pt x="1990" y="4895"/>
                    <a:pt x="1985" y="4904"/>
                    <a:pt x="1980" y="4914"/>
                  </a:cubicBezTo>
                  <a:cubicBezTo>
                    <a:pt x="1973" y="4924"/>
                    <a:pt x="1967" y="4934"/>
                    <a:pt x="1960" y="4944"/>
                  </a:cubicBezTo>
                  <a:cubicBezTo>
                    <a:pt x="1956" y="4956"/>
                    <a:pt x="1953" y="4967"/>
                    <a:pt x="1949" y="4979"/>
                  </a:cubicBezTo>
                  <a:cubicBezTo>
                    <a:pt x="1946" y="4993"/>
                    <a:pt x="1942" y="5007"/>
                    <a:pt x="1939" y="5021"/>
                  </a:cubicBezTo>
                  <a:cubicBezTo>
                    <a:pt x="1937" y="5038"/>
                    <a:pt x="1934" y="5055"/>
                    <a:pt x="1932" y="5072"/>
                  </a:cubicBezTo>
                  <a:cubicBezTo>
                    <a:pt x="1930" y="5090"/>
                    <a:pt x="1929" y="5108"/>
                    <a:pt x="1927" y="5126"/>
                  </a:cubicBezTo>
                  <a:lnTo>
                    <a:pt x="1927" y="5175"/>
                  </a:lnTo>
                  <a:cubicBezTo>
                    <a:pt x="1928" y="5192"/>
                    <a:pt x="1928" y="5210"/>
                    <a:pt x="1929" y="5227"/>
                  </a:cubicBezTo>
                  <a:cubicBezTo>
                    <a:pt x="1932" y="5242"/>
                    <a:pt x="1934" y="5256"/>
                    <a:pt x="1937" y="5271"/>
                  </a:cubicBezTo>
                  <a:cubicBezTo>
                    <a:pt x="1939" y="5283"/>
                    <a:pt x="1942" y="5294"/>
                    <a:pt x="1944" y="5306"/>
                  </a:cubicBezTo>
                  <a:cubicBezTo>
                    <a:pt x="1946" y="5313"/>
                    <a:pt x="1947" y="5320"/>
                    <a:pt x="1949" y="5327"/>
                  </a:cubicBezTo>
                  <a:lnTo>
                    <a:pt x="1949" y="5348"/>
                  </a:lnTo>
                  <a:cubicBezTo>
                    <a:pt x="1948" y="5355"/>
                    <a:pt x="1948" y="5362"/>
                    <a:pt x="1947" y="5369"/>
                  </a:cubicBezTo>
                  <a:cubicBezTo>
                    <a:pt x="1945" y="5377"/>
                    <a:pt x="1944" y="5385"/>
                    <a:pt x="1942" y="5393"/>
                  </a:cubicBezTo>
                  <a:cubicBezTo>
                    <a:pt x="1940" y="5401"/>
                    <a:pt x="1939" y="5408"/>
                    <a:pt x="1937" y="5416"/>
                  </a:cubicBezTo>
                  <a:cubicBezTo>
                    <a:pt x="1934" y="5424"/>
                    <a:pt x="1930" y="5431"/>
                    <a:pt x="1927" y="5439"/>
                  </a:cubicBezTo>
                  <a:cubicBezTo>
                    <a:pt x="1924" y="5447"/>
                    <a:pt x="1920" y="5455"/>
                    <a:pt x="1917" y="5463"/>
                  </a:cubicBezTo>
                  <a:cubicBezTo>
                    <a:pt x="1913" y="5471"/>
                    <a:pt x="1908" y="5478"/>
                    <a:pt x="1904" y="5486"/>
                  </a:cubicBezTo>
                  <a:cubicBezTo>
                    <a:pt x="1895" y="5502"/>
                    <a:pt x="1885" y="5517"/>
                    <a:pt x="1876" y="5533"/>
                  </a:cubicBezTo>
                  <a:lnTo>
                    <a:pt x="1846" y="5575"/>
                  </a:lnTo>
                  <a:cubicBezTo>
                    <a:pt x="1836" y="5587"/>
                    <a:pt x="1826" y="5600"/>
                    <a:pt x="1816" y="5612"/>
                  </a:cubicBezTo>
                  <a:lnTo>
                    <a:pt x="1788" y="5643"/>
                  </a:lnTo>
                  <a:cubicBezTo>
                    <a:pt x="1776" y="5655"/>
                    <a:pt x="1765" y="5668"/>
                    <a:pt x="1753" y="5680"/>
                  </a:cubicBezTo>
                  <a:cubicBezTo>
                    <a:pt x="1743" y="5691"/>
                    <a:pt x="1732" y="5702"/>
                    <a:pt x="1722" y="5713"/>
                  </a:cubicBezTo>
                  <a:cubicBezTo>
                    <a:pt x="1714" y="5722"/>
                    <a:pt x="1707" y="5732"/>
                    <a:pt x="1699" y="5741"/>
                  </a:cubicBezTo>
                  <a:cubicBezTo>
                    <a:pt x="1693" y="5751"/>
                    <a:pt x="1688" y="5761"/>
                    <a:pt x="1682" y="5771"/>
                  </a:cubicBezTo>
                  <a:cubicBezTo>
                    <a:pt x="1679" y="5777"/>
                    <a:pt x="1677" y="5782"/>
                    <a:pt x="1674" y="5788"/>
                  </a:cubicBezTo>
                  <a:cubicBezTo>
                    <a:pt x="1672" y="5793"/>
                    <a:pt x="1671" y="5797"/>
                    <a:pt x="1669" y="5802"/>
                  </a:cubicBezTo>
                  <a:cubicBezTo>
                    <a:pt x="1668" y="5808"/>
                    <a:pt x="1668" y="5814"/>
                    <a:pt x="1667" y="5820"/>
                  </a:cubicBezTo>
                  <a:cubicBezTo>
                    <a:pt x="1664" y="5826"/>
                    <a:pt x="1662" y="5831"/>
                    <a:pt x="1659" y="5837"/>
                  </a:cubicBezTo>
                  <a:cubicBezTo>
                    <a:pt x="1658" y="5850"/>
                    <a:pt x="1658" y="5864"/>
                    <a:pt x="1657" y="5877"/>
                  </a:cubicBezTo>
                  <a:lnTo>
                    <a:pt x="1654" y="5928"/>
                  </a:lnTo>
                  <a:cubicBezTo>
                    <a:pt x="1653" y="5935"/>
                    <a:pt x="1653" y="5942"/>
                    <a:pt x="1652" y="5949"/>
                  </a:cubicBezTo>
                  <a:cubicBezTo>
                    <a:pt x="1650" y="5955"/>
                    <a:pt x="1648" y="5962"/>
                    <a:pt x="1646" y="5968"/>
                  </a:cubicBezTo>
                  <a:cubicBezTo>
                    <a:pt x="1643" y="5976"/>
                    <a:pt x="1639" y="5983"/>
                    <a:pt x="1636" y="5991"/>
                  </a:cubicBezTo>
                  <a:cubicBezTo>
                    <a:pt x="1630" y="6000"/>
                    <a:pt x="1625" y="6008"/>
                    <a:pt x="1619" y="6017"/>
                  </a:cubicBezTo>
                  <a:cubicBezTo>
                    <a:pt x="1614" y="6026"/>
                    <a:pt x="1609" y="6034"/>
                    <a:pt x="1604" y="6043"/>
                  </a:cubicBezTo>
                  <a:cubicBezTo>
                    <a:pt x="1597" y="6051"/>
                    <a:pt x="1590" y="6058"/>
                    <a:pt x="1583" y="6066"/>
                  </a:cubicBezTo>
                  <a:cubicBezTo>
                    <a:pt x="1576" y="6075"/>
                    <a:pt x="1570" y="6085"/>
                    <a:pt x="1563" y="6094"/>
                  </a:cubicBezTo>
                  <a:cubicBezTo>
                    <a:pt x="1555" y="6103"/>
                    <a:pt x="1546" y="6111"/>
                    <a:pt x="1538" y="6120"/>
                  </a:cubicBezTo>
                  <a:lnTo>
                    <a:pt x="1487" y="6171"/>
                  </a:lnTo>
                  <a:lnTo>
                    <a:pt x="1439" y="6216"/>
                  </a:lnTo>
                  <a:lnTo>
                    <a:pt x="1396" y="6253"/>
                  </a:lnTo>
                  <a:cubicBezTo>
                    <a:pt x="1383" y="6262"/>
                    <a:pt x="1369" y="6270"/>
                    <a:pt x="1356" y="6279"/>
                  </a:cubicBezTo>
                  <a:lnTo>
                    <a:pt x="1336" y="6302"/>
                  </a:lnTo>
                  <a:cubicBezTo>
                    <a:pt x="1329" y="6311"/>
                    <a:pt x="1323" y="6319"/>
                    <a:pt x="1316" y="6328"/>
                  </a:cubicBezTo>
                  <a:cubicBezTo>
                    <a:pt x="1309" y="6337"/>
                    <a:pt x="1302" y="6347"/>
                    <a:pt x="1295" y="6356"/>
                  </a:cubicBezTo>
                  <a:cubicBezTo>
                    <a:pt x="1288" y="6364"/>
                    <a:pt x="1282" y="6373"/>
                    <a:pt x="1275" y="6381"/>
                  </a:cubicBezTo>
                  <a:cubicBezTo>
                    <a:pt x="1269" y="6391"/>
                    <a:pt x="1264" y="6402"/>
                    <a:pt x="1258" y="6412"/>
                  </a:cubicBezTo>
                  <a:lnTo>
                    <a:pt x="1240" y="6445"/>
                  </a:lnTo>
                  <a:cubicBezTo>
                    <a:pt x="1235" y="6457"/>
                    <a:pt x="1230" y="6470"/>
                    <a:pt x="1225" y="6482"/>
                  </a:cubicBezTo>
                  <a:lnTo>
                    <a:pt x="1210" y="6515"/>
                  </a:lnTo>
                  <a:cubicBezTo>
                    <a:pt x="1206" y="6527"/>
                    <a:pt x="1203" y="6538"/>
                    <a:pt x="1199" y="6550"/>
                  </a:cubicBezTo>
                  <a:cubicBezTo>
                    <a:pt x="1196" y="6562"/>
                    <a:pt x="1192" y="6573"/>
                    <a:pt x="1189" y="6585"/>
                  </a:cubicBezTo>
                  <a:cubicBezTo>
                    <a:pt x="1186" y="6597"/>
                    <a:pt x="1182" y="6608"/>
                    <a:pt x="1179" y="6620"/>
                  </a:cubicBezTo>
                  <a:cubicBezTo>
                    <a:pt x="1177" y="6632"/>
                    <a:pt x="1176" y="6643"/>
                    <a:pt x="1174" y="6655"/>
                  </a:cubicBezTo>
                  <a:cubicBezTo>
                    <a:pt x="1173" y="6666"/>
                    <a:pt x="1173" y="6677"/>
                    <a:pt x="1172" y="6688"/>
                  </a:cubicBezTo>
                  <a:lnTo>
                    <a:pt x="1172" y="6720"/>
                  </a:lnTo>
                  <a:cubicBezTo>
                    <a:pt x="1174" y="6731"/>
                    <a:pt x="1175" y="6742"/>
                    <a:pt x="1177" y="6753"/>
                  </a:cubicBezTo>
                  <a:cubicBezTo>
                    <a:pt x="1179" y="6763"/>
                    <a:pt x="1180" y="6774"/>
                    <a:pt x="1182" y="6784"/>
                  </a:cubicBezTo>
                  <a:cubicBezTo>
                    <a:pt x="1188" y="6806"/>
                    <a:pt x="1193" y="6829"/>
                    <a:pt x="1199" y="6851"/>
                  </a:cubicBezTo>
                  <a:cubicBezTo>
                    <a:pt x="1203" y="6871"/>
                    <a:pt x="1208" y="6892"/>
                    <a:pt x="1212" y="6912"/>
                  </a:cubicBezTo>
                  <a:cubicBezTo>
                    <a:pt x="1214" y="6921"/>
                    <a:pt x="1215" y="6931"/>
                    <a:pt x="1217" y="6940"/>
                  </a:cubicBezTo>
                  <a:cubicBezTo>
                    <a:pt x="1220" y="6949"/>
                    <a:pt x="1222" y="6959"/>
                    <a:pt x="1225" y="6968"/>
                  </a:cubicBezTo>
                  <a:cubicBezTo>
                    <a:pt x="1227" y="6976"/>
                    <a:pt x="1228" y="6984"/>
                    <a:pt x="1230" y="6992"/>
                  </a:cubicBezTo>
                  <a:cubicBezTo>
                    <a:pt x="1233" y="6999"/>
                    <a:pt x="1237" y="7006"/>
                    <a:pt x="1240" y="7013"/>
                  </a:cubicBezTo>
                  <a:cubicBezTo>
                    <a:pt x="1243" y="7020"/>
                    <a:pt x="1247" y="7027"/>
                    <a:pt x="1250" y="7034"/>
                  </a:cubicBezTo>
                  <a:lnTo>
                    <a:pt x="1265" y="7052"/>
                  </a:lnTo>
                  <a:cubicBezTo>
                    <a:pt x="1271" y="7058"/>
                    <a:pt x="1277" y="7063"/>
                    <a:pt x="1283" y="7069"/>
                  </a:cubicBezTo>
                  <a:cubicBezTo>
                    <a:pt x="1291" y="7074"/>
                    <a:pt x="1298" y="7078"/>
                    <a:pt x="1306" y="7083"/>
                  </a:cubicBezTo>
                  <a:cubicBezTo>
                    <a:pt x="1315" y="7087"/>
                    <a:pt x="1324" y="7090"/>
                    <a:pt x="1333" y="7094"/>
                  </a:cubicBezTo>
                  <a:cubicBezTo>
                    <a:pt x="1344" y="7097"/>
                    <a:pt x="1355" y="7101"/>
                    <a:pt x="1366" y="7104"/>
                  </a:cubicBezTo>
                  <a:lnTo>
                    <a:pt x="1407" y="7113"/>
                  </a:lnTo>
                  <a:cubicBezTo>
                    <a:pt x="1421" y="7115"/>
                    <a:pt x="1435" y="7116"/>
                    <a:pt x="1449" y="7118"/>
                  </a:cubicBezTo>
                  <a:lnTo>
                    <a:pt x="1535" y="7118"/>
                  </a:lnTo>
                  <a:lnTo>
                    <a:pt x="1619" y="7115"/>
                  </a:lnTo>
                  <a:lnTo>
                    <a:pt x="1641" y="7118"/>
                  </a:lnTo>
                  <a:cubicBezTo>
                    <a:pt x="1647" y="7119"/>
                    <a:pt x="1653" y="7119"/>
                    <a:pt x="1659" y="7120"/>
                  </a:cubicBezTo>
                  <a:cubicBezTo>
                    <a:pt x="1666" y="7121"/>
                    <a:pt x="1672" y="7121"/>
                    <a:pt x="1679" y="7122"/>
                  </a:cubicBezTo>
                  <a:cubicBezTo>
                    <a:pt x="1684" y="7124"/>
                    <a:pt x="1689" y="7127"/>
                    <a:pt x="1694" y="7129"/>
                  </a:cubicBezTo>
                  <a:cubicBezTo>
                    <a:pt x="1700" y="7132"/>
                    <a:pt x="1706" y="7134"/>
                    <a:pt x="1712" y="7137"/>
                  </a:cubicBezTo>
                  <a:cubicBezTo>
                    <a:pt x="1717" y="7141"/>
                    <a:pt x="1722" y="7144"/>
                    <a:pt x="1727" y="7148"/>
                  </a:cubicBezTo>
                  <a:cubicBezTo>
                    <a:pt x="1731" y="7152"/>
                    <a:pt x="1736" y="7156"/>
                    <a:pt x="1740" y="7160"/>
                  </a:cubicBezTo>
                  <a:cubicBezTo>
                    <a:pt x="1743" y="7166"/>
                    <a:pt x="1747" y="7173"/>
                    <a:pt x="1750" y="7179"/>
                  </a:cubicBezTo>
                  <a:cubicBezTo>
                    <a:pt x="1758" y="7191"/>
                    <a:pt x="1765" y="7204"/>
                    <a:pt x="1773" y="7216"/>
                  </a:cubicBezTo>
                  <a:cubicBezTo>
                    <a:pt x="1780" y="7228"/>
                    <a:pt x="1788" y="7241"/>
                    <a:pt x="1795" y="7253"/>
                  </a:cubicBezTo>
                  <a:cubicBezTo>
                    <a:pt x="1800" y="7260"/>
                    <a:pt x="1806" y="7267"/>
                    <a:pt x="1811" y="7274"/>
                  </a:cubicBezTo>
                  <a:cubicBezTo>
                    <a:pt x="1815" y="7280"/>
                    <a:pt x="1819" y="7285"/>
                    <a:pt x="1823" y="7291"/>
                  </a:cubicBezTo>
                  <a:cubicBezTo>
                    <a:pt x="1828" y="7296"/>
                    <a:pt x="1833" y="7302"/>
                    <a:pt x="1838" y="7307"/>
                  </a:cubicBezTo>
                  <a:cubicBezTo>
                    <a:pt x="1843" y="7312"/>
                    <a:pt x="1849" y="7316"/>
                    <a:pt x="1854" y="7321"/>
                  </a:cubicBezTo>
                  <a:lnTo>
                    <a:pt x="1871" y="7338"/>
                  </a:lnTo>
                  <a:cubicBezTo>
                    <a:pt x="1880" y="7344"/>
                    <a:pt x="1772" y="7388"/>
                    <a:pt x="1781" y="7393"/>
                  </a:cubicBezTo>
                  <a:cubicBezTo>
                    <a:pt x="1749" y="7432"/>
                    <a:pt x="1801" y="7454"/>
                    <a:pt x="1739" y="7577"/>
                  </a:cubicBezTo>
                  <a:cubicBezTo>
                    <a:pt x="1712" y="7645"/>
                    <a:pt x="1655" y="7682"/>
                    <a:pt x="1600" y="7774"/>
                  </a:cubicBezTo>
                  <a:cubicBezTo>
                    <a:pt x="1545" y="7866"/>
                    <a:pt x="1474" y="8067"/>
                    <a:pt x="1410" y="8130"/>
                  </a:cubicBezTo>
                  <a:cubicBezTo>
                    <a:pt x="1346" y="8193"/>
                    <a:pt x="1265" y="8149"/>
                    <a:pt x="1236" y="8181"/>
                  </a:cubicBezTo>
                  <a:lnTo>
                    <a:pt x="1149" y="8256"/>
                  </a:lnTo>
                  <a:cubicBezTo>
                    <a:pt x="1146" y="8254"/>
                    <a:pt x="1142" y="8251"/>
                    <a:pt x="1139" y="8249"/>
                  </a:cubicBezTo>
                  <a:cubicBezTo>
                    <a:pt x="1135" y="8246"/>
                    <a:pt x="1130" y="8243"/>
                    <a:pt x="1126" y="8240"/>
                  </a:cubicBezTo>
                  <a:lnTo>
                    <a:pt x="1114" y="8240"/>
                  </a:lnTo>
                  <a:cubicBezTo>
                    <a:pt x="1106" y="8241"/>
                    <a:pt x="1099" y="8241"/>
                    <a:pt x="1091" y="8242"/>
                  </a:cubicBezTo>
                  <a:cubicBezTo>
                    <a:pt x="1084" y="8245"/>
                    <a:pt x="1078" y="8249"/>
                    <a:pt x="1071" y="8252"/>
                  </a:cubicBezTo>
                  <a:cubicBezTo>
                    <a:pt x="1063" y="8255"/>
                    <a:pt x="1056" y="8258"/>
                    <a:pt x="1048" y="8261"/>
                  </a:cubicBezTo>
                  <a:lnTo>
                    <a:pt x="1030" y="8273"/>
                  </a:lnTo>
                  <a:cubicBezTo>
                    <a:pt x="1023" y="8278"/>
                    <a:pt x="1017" y="8282"/>
                    <a:pt x="1010" y="8287"/>
                  </a:cubicBezTo>
                  <a:cubicBezTo>
                    <a:pt x="1005" y="8292"/>
                    <a:pt x="1000" y="8298"/>
                    <a:pt x="995" y="8303"/>
                  </a:cubicBezTo>
                  <a:cubicBezTo>
                    <a:pt x="988" y="8309"/>
                    <a:pt x="982" y="8316"/>
                    <a:pt x="975" y="8322"/>
                  </a:cubicBezTo>
                  <a:lnTo>
                    <a:pt x="960" y="8343"/>
                  </a:lnTo>
                  <a:cubicBezTo>
                    <a:pt x="949" y="8355"/>
                    <a:pt x="938" y="8368"/>
                    <a:pt x="927" y="8380"/>
                  </a:cubicBezTo>
                  <a:cubicBezTo>
                    <a:pt x="915" y="8392"/>
                    <a:pt x="903" y="8405"/>
                    <a:pt x="891" y="8417"/>
                  </a:cubicBezTo>
                  <a:cubicBezTo>
                    <a:pt x="885" y="8423"/>
                    <a:pt x="880" y="8430"/>
                    <a:pt x="874" y="8436"/>
                  </a:cubicBezTo>
                  <a:cubicBezTo>
                    <a:pt x="869" y="8441"/>
                    <a:pt x="864" y="8445"/>
                    <a:pt x="859" y="8450"/>
                  </a:cubicBezTo>
                  <a:lnTo>
                    <a:pt x="838" y="8462"/>
                  </a:lnTo>
                  <a:lnTo>
                    <a:pt x="821" y="8476"/>
                  </a:lnTo>
                  <a:cubicBezTo>
                    <a:pt x="795" y="8505"/>
                    <a:pt x="768" y="8533"/>
                    <a:pt x="742" y="8562"/>
                  </a:cubicBezTo>
                  <a:lnTo>
                    <a:pt x="672" y="8644"/>
                  </a:lnTo>
                  <a:cubicBezTo>
                    <a:pt x="661" y="8657"/>
                    <a:pt x="650" y="8671"/>
                    <a:pt x="639" y="8684"/>
                  </a:cubicBezTo>
                  <a:cubicBezTo>
                    <a:pt x="629" y="8700"/>
                    <a:pt x="619" y="8715"/>
                    <a:pt x="609" y="8731"/>
                  </a:cubicBezTo>
                  <a:cubicBezTo>
                    <a:pt x="600" y="8746"/>
                    <a:pt x="592" y="8762"/>
                    <a:pt x="583" y="8777"/>
                  </a:cubicBezTo>
                  <a:lnTo>
                    <a:pt x="556" y="8831"/>
                  </a:lnTo>
                  <a:cubicBezTo>
                    <a:pt x="552" y="8838"/>
                    <a:pt x="549" y="8845"/>
                    <a:pt x="545" y="8852"/>
                  </a:cubicBezTo>
                  <a:cubicBezTo>
                    <a:pt x="538" y="8863"/>
                    <a:pt x="532" y="8874"/>
                    <a:pt x="525" y="8885"/>
                  </a:cubicBezTo>
                  <a:cubicBezTo>
                    <a:pt x="518" y="8898"/>
                    <a:pt x="510" y="8912"/>
                    <a:pt x="503" y="8925"/>
                  </a:cubicBezTo>
                  <a:cubicBezTo>
                    <a:pt x="495" y="8937"/>
                    <a:pt x="488" y="8950"/>
                    <a:pt x="480" y="8962"/>
                  </a:cubicBezTo>
                  <a:cubicBezTo>
                    <a:pt x="475" y="8968"/>
                    <a:pt x="470" y="8975"/>
                    <a:pt x="465" y="8981"/>
                  </a:cubicBezTo>
                  <a:cubicBezTo>
                    <a:pt x="462" y="8985"/>
                    <a:pt x="458" y="8989"/>
                    <a:pt x="455" y="8993"/>
                  </a:cubicBezTo>
                  <a:cubicBezTo>
                    <a:pt x="451" y="8995"/>
                    <a:pt x="448" y="8998"/>
                    <a:pt x="444" y="9000"/>
                  </a:cubicBezTo>
                  <a:cubicBezTo>
                    <a:pt x="441" y="9002"/>
                    <a:pt x="437" y="9005"/>
                    <a:pt x="434" y="9007"/>
                  </a:cubicBezTo>
                  <a:lnTo>
                    <a:pt x="432" y="9007"/>
                  </a:lnTo>
                  <a:lnTo>
                    <a:pt x="429" y="9004"/>
                  </a:lnTo>
                  <a:cubicBezTo>
                    <a:pt x="428" y="9002"/>
                    <a:pt x="428" y="8999"/>
                    <a:pt x="427" y="8997"/>
                  </a:cubicBezTo>
                  <a:lnTo>
                    <a:pt x="427" y="8993"/>
                  </a:lnTo>
                  <a:cubicBezTo>
                    <a:pt x="426" y="8987"/>
                    <a:pt x="425" y="8982"/>
                    <a:pt x="424" y="8976"/>
                  </a:cubicBezTo>
                  <a:cubicBezTo>
                    <a:pt x="425" y="8967"/>
                    <a:pt x="426" y="8957"/>
                    <a:pt x="427" y="8948"/>
                  </a:cubicBezTo>
                  <a:cubicBezTo>
                    <a:pt x="430" y="8936"/>
                    <a:pt x="434" y="8925"/>
                    <a:pt x="437" y="8913"/>
                  </a:cubicBezTo>
                  <a:lnTo>
                    <a:pt x="455" y="8859"/>
                  </a:lnTo>
                  <a:cubicBezTo>
                    <a:pt x="457" y="8851"/>
                    <a:pt x="460" y="8842"/>
                    <a:pt x="462" y="8834"/>
                  </a:cubicBezTo>
                  <a:cubicBezTo>
                    <a:pt x="465" y="8826"/>
                    <a:pt x="467" y="8818"/>
                    <a:pt x="470" y="8810"/>
                  </a:cubicBezTo>
                  <a:cubicBezTo>
                    <a:pt x="471" y="8805"/>
                    <a:pt x="471" y="8799"/>
                    <a:pt x="472" y="8794"/>
                  </a:cubicBezTo>
                  <a:lnTo>
                    <a:pt x="472" y="8780"/>
                  </a:lnTo>
                  <a:cubicBezTo>
                    <a:pt x="469" y="8781"/>
                    <a:pt x="465" y="8783"/>
                    <a:pt x="462" y="8784"/>
                  </a:cubicBezTo>
                  <a:cubicBezTo>
                    <a:pt x="459" y="8785"/>
                    <a:pt x="455" y="8786"/>
                    <a:pt x="452" y="8787"/>
                  </a:cubicBezTo>
                  <a:cubicBezTo>
                    <a:pt x="447" y="8789"/>
                    <a:pt x="442" y="8792"/>
                    <a:pt x="437" y="8794"/>
                  </a:cubicBezTo>
                  <a:cubicBezTo>
                    <a:pt x="433" y="8797"/>
                    <a:pt x="428" y="8800"/>
                    <a:pt x="424" y="8803"/>
                  </a:cubicBezTo>
                  <a:cubicBezTo>
                    <a:pt x="414" y="8812"/>
                    <a:pt x="404" y="8820"/>
                    <a:pt x="394" y="8829"/>
                  </a:cubicBezTo>
                  <a:lnTo>
                    <a:pt x="364" y="8859"/>
                  </a:lnTo>
                  <a:cubicBezTo>
                    <a:pt x="346" y="8880"/>
                    <a:pt x="329" y="8901"/>
                    <a:pt x="311" y="8922"/>
                  </a:cubicBezTo>
                  <a:cubicBezTo>
                    <a:pt x="297" y="8936"/>
                    <a:pt x="282" y="8950"/>
                    <a:pt x="268" y="8964"/>
                  </a:cubicBezTo>
                  <a:cubicBezTo>
                    <a:pt x="247" y="8981"/>
                    <a:pt x="226" y="8999"/>
                    <a:pt x="205" y="9016"/>
                  </a:cubicBezTo>
                  <a:cubicBezTo>
                    <a:pt x="185" y="9028"/>
                    <a:pt x="166" y="9041"/>
                    <a:pt x="146" y="9053"/>
                  </a:cubicBezTo>
                  <a:cubicBezTo>
                    <a:pt x="144" y="9056"/>
                    <a:pt x="141" y="9060"/>
                    <a:pt x="139" y="9063"/>
                  </a:cubicBezTo>
                  <a:cubicBezTo>
                    <a:pt x="136" y="9068"/>
                    <a:pt x="132" y="9072"/>
                    <a:pt x="129" y="9077"/>
                  </a:cubicBezTo>
                  <a:lnTo>
                    <a:pt x="126" y="9086"/>
                  </a:lnTo>
                  <a:lnTo>
                    <a:pt x="126" y="9102"/>
                  </a:lnTo>
                  <a:cubicBezTo>
                    <a:pt x="127" y="9107"/>
                    <a:pt x="128" y="9111"/>
                    <a:pt x="129" y="9116"/>
                  </a:cubicBezTo>
                  <a:cubicBezTo>
                    <a:pt x="132" y="9122"/>
                    <a:pt x="136" y="9129"/>
                    <a:pt x="139" y="9135"/>
                  </a:cubicBezTo>
                  <a:cubicBezTo>
                    <a:pt x="142" y="9140"/>
                    <a:pt x="146" y="9146"/>
                    <a:pt x="149" y="9151"/>
                  </a:cubicBezTo>
                  <a:lnTo>
                    <a:pt x="164" y="9175"/>
                  </a:lnTo>
                  <a:cubicBezTo>
                    <a:pt x="171" y="9182"/>
                    <a:pt x="177" y="9189"/>
                    <a:pt x="184" y="9196"/>
                  </a:cubicBezTo>
                  <a:cubicBezTo>
                    <a:pt x="192" y="9202"/>
                    <a:pt x="199" y="9209"/>
                    <a:pt x="207" y="9215"/>
                  </a:cubicBezTo>
                  <a:cubicBezTo>
                    <a:pt x="214" y="9221"/>
                    <a:pt x="220" y="9227"/>
                    <a:pt x="227" y="9233"/>
                  </a:cubicBezTo>
                  <a:cubicBezTo>
                    <a:pt x="236" y="9239"/>
                    <a:pt x="244" y="9244"/>
                    <a:pt x="253" y="9250"/>
                  </a:cubicBezTo>
                  <a:lnTo>
                    <a:pt x="303" y="9282"/>
                  </a:lnTo>
                  <a:lnTo>
                    <a:pt x="351" y="9315"/>
                  </a:lnTo>
                  <a:cubicBezTo>
                    <a:pt x="372" y="9331"/>
                    <a:pt x="393" y="9348"/>
                    <a:pt x="414" y="9364"/>
                  </a:cubicBezTo>
                  <a:cubicBezTo>
                    <a:pt x="436" y="9381"/>
                    <a:pt x="458" y="9399"/>
                    <a:pt x="480" y="9416"/>
                  </a:cubicBezTo>
                  <a:lnTo>
                    <a:pt x="513" y="9437"/>
                  </a:lnTo>
                  <a:cubicBezTo>
                    <a:pt x="525" y="9445"/>
                    <a:pt x="536" y="9454"/>
                    <a:pt x="548" y="9462"/>
                  </a:cubicBezTo>
                  <a:lnTo>
                    <a:pt x="581" y="9483"/>
                  </a:lnTo>
                  <a:cubicBezTo>
                    <a:pt x="592" y="9489"/>
                    <a:pt x="603" y="9496"/>
                    <a:pt x="614" y="9502"/>
                  </a:cubicBezTo>
                  <a:cubicBezTo>
                    <a:pt x="623" y="9510"/>
                    <a:pt x="632" y="9517"/>
                    <a:pt x="641" y="9525"/>
                  </a:cubicBezTo>
                  <a:cubicBezTo>
                    <a:pt x="651" y="9533"/>
                    <a:pt x="662" y="9541"/>
                    <a:pt x="672" y="9549"/>
                  </a:cubicBezTo>
                  <a:cubicBezTo>
                    <a:pt x="682" y="9555"/>
                    <a:pt x="692" y="9562"/>
                    <a:pt x="702" y="9568"/>
                  </a:cubicBezTo>
                  <a:cubicBezTo>
                    <a:pt x="714" y="9575"/>
                    <a:pt x="725" y="9582"/>
                    <a:pt x="737" y="9589"/>
                  </a:cubicBezTo>
                  <a:cubicBezTo>
                    <a:pt x="748" y="9594"/>
                    <a:pt x="759" y="9600"/>
                    <a:pt x="770" y="9605"/>
                  </a:cubicBezTo>
                  <a:lnTo>
                    <a:pt x="808" y="9617"/>
                  </a:lnTo>
                  <a:cubicBezTo>
                    <a:pt x="820" y="9619"/>
                    <a:pt x="831" y="9622"/>
                    <a:pt x="843" y="9624"/>
                  </a:cubicBezTo>
                  <a:cubicBezTo>
                    <a:pt x="857" y="9625"/>
                    <a:pt x="870" y="9627"/>
                    <a:pt x="884" y="9628"/>
                  </a:cubicBezTo>
                  <a:lnTo>
                    <a:pt x="902" y="9628"/>
                  </a:lnTo>
                  <a:lnTo>
                    <a:pt x="914" y="9631"/>
                  </a:lnTo>
                  <a:cubicBezTo>
                    <a:pt x="920" y="9633"/>
                    <a:pt x="926" y="9636"/>
                    <a:pt x="932" y="9638"/>
                  </a:cubicBezTo>
                  <a:cubicBezTo>
                    <a:pt x="935" y="9639"/>
                    <a:pt x="939" y="9641"/>
                    <a:pt x="942" y="9642"/>
                  </a:cubicBezTo>
                  <a:cubicBezTo>
                    <a:pt x="950" y="9645"/>
                    <a:pt x="959" y="9649"/>
                    <a:pt x="967" y="9652"/>
                  </a:cubicBezTo>
                  <a:cubicBezTo>
                    <a:pt x="974" y="9657"/>
                    <a:pt x="980" y="9663"/>
                    <a:pt x="987" y="9668"/>
                  </a:cubicBezTo>
                  <a:cubicBezTo>
                    <a:pt x="993" y="9673"/>
                    <a:pt x="999" y="9677"/>
                    <a:pt x="1005" y="9682"/>
                  </a:cubicBezTo>
                  <a:cubicBezTo>
                    <a:pt x="1012" y="9687"/>
                    <a:pt x="1018" y="9693"/>
                    <a:pt x="1025" y="9698"/>
                  </a:cubicBezTo>
                  <a:cubicBezTo>
                    <a:pt x="1032" y="9703"/>
                    <a:pt x="1038" y="9707"/>
                    <a:pt x="1045" y="9712"/>
                  </a:cubicBezTo>
                  <a:cubicBezTo>
                    <a:pt x="1054" y="9716"/>
                    <a:pt x="1064" y="9720"/>
                    <a:pt x="1073" y="9724"/>
                  </a:cubicBezTo>
                  <a:cubicBezTo>
                    <a:pt x="1081" y="9729"/>
                    <a:pt x="1090" y="9733"/>
                    <a:pt x="1098" y="9738"/>
                  </a:cubicBezTo>
                  <a:cubicBezTo>
                    <a:pt x="1106" y="9742"/>
                    <a:pt x="1113" y="9746"/>
                    <a:pt x="1121" y="9750"/>
                  </a:cubicBezTo>
                  <a:cubicBezTo>
                    <a:pt x="1128" y="9754"/>
                    <a:pt x="1134" y="9758"/>
                    <a:pt x="1141" y="9762"/>
                  </a:cubicBezTo>
                  <a:cubicBezTo>
                    <a:pt x="1147" y="9767"/>
                    <a:pt x="1153" y="9771"/>
                    <a:pt x="1159" y="9776"/>
                  </a:cubicBezTo>
                  <a:cubicBezTo>
                    <a:pt x="1163" y="9780"/>
                    <a:pt x="1168" y="9783"/>
                    <a:pt x="1172" y="9787"/>
                  </a:cubicBezTo>
                  <a:cubicBezTo>
                    <a:pt x="1175" y="9793"/>
                    <a:pt x="1179" y="9798"/>
                    <a:pt x="1182" y="9804"/>
                  </a:cubicBezTo>
                  <a:cubicBezTo>
                    <a:pt x="1186" y="9809"/>
                    <a:pt x="1190" y="9813"/>
                    <a:pt x="1194" y="9818"/>
                  </a:cubicBezTo>
                  <a:cubicBezTo>
                    <a:pt x="1197" y="9823"/>
                    <a:pt x="1199" y="9829"/>
                    <a:pt x="1202" y="9834"/>
                  </a:cubicBezTo>
                  <a:cubicBezTo>
                    <a:pt x="1205" y="9846"/>
                    <a:pt x="1209" y="9857"/>
                    <a:pt x="1212" y="9869"/>
                  </a:cubicBezTo>
                  <a:cubicBezTo>
                    <a:pt x="1215" y="9881"/>
                    <a:pt x="1217" y="9894"/>
                    <a:pt x="1220" y="9906"/>
                  </a:cubicBezTo>
                  <a:cubicBezTo>
                    <a:pt x="1223" y="9921"/>
                    <a:pt x="1227" y="9936"/>
                    <a:pt x="1230" y="9951"/>
                  </a:cubicBezTo>
                  <a:cubicBezTo>
                    <a:pt x="1232" y="9967"/>
                    <a:pt x="1235" y="9984"/>
                    <a:pt x="1237" y="10000"/>
                  </a:cubicBezTo>
                  <a:lnTo>
                    <a:pt x="1237" y="1000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16" name="Freeform 20">
              <a:extLst>
                <a:ext uri="{FF2B5EF4-FFF2-40B4-BE49-F238E27FC236}">
                  <a16:creationId xmlns:a16="http://schemas.microsoft.com/office/drawing/2014/main" id="{F7A18F0C-EFAB-4022-A95E-B1A07ABC0F07}"/>
                </a:ext>
              </a:extLst>
            </p:cNvPr>
            <p:cNvSpPr>
              <a:spLocks/>
            </p:cNvSpPr>
            <p:nvPr/>
          </p:nvSpPr>
          <p:spPr bwMode="auto">
            <a:xfrm>
              <a:off x="1278428" y="4758641"/>
              <a:ext cx="1272417" cy="1405554"/>
            </a:xfrm>
            <a:custGeom>
              <a:avLst/>
              <a:gdLst>
                <a:gd name="T0" fmla="*/ 2706 w 2793"/>
                <a:gd name="T1" fmla="*/ 462 h 3522"/>
                <a:gd name="T2" fmla="*/ 2642 w 2793"/>
                <a:gd name="T3" fmla="*/ 512 h 3522"/>
                <a:gd name="T4" fmla="*/ 2530 w 2793"/>
                <a:gd name="T5" fmla="*/ 560 h 3522"/>
                <a:gd name="T6" fmla="*/ 2486 w 2793"/>
                <a:gd name="T7" fmla="*/ 706 h 3522"/>
                <a:gd name="T8" fmla="*/ 2422 w 2793"/>
                <a:gd name="T9" fmla="*/ 906 h 3522"/>
                <a:gd name="T10" fmla="*/ 2367 w 2793"/>
                <a:gd name="T11" fmla="*/ 1044 h 3522"/>
                <a:gd name="T12" fmla="*/ 2308 w 2793"/>
                <a:gd name="T13" fmla="*/ 1165 h 3522"/>
                <a:gd name="T14" fmla="*/ 2262 w 2793"/>
                <a:gd name="T15" fmla="*/ 1335 h 3522"/>
                <a:gd name="T16" fmla="*/ 2180 w 2793"/>
                <a:gd name="T17" fmla="*/ 1470 h 3522"/>
                <a:gd name="T18" fmla="*/ 2122 w 2793"/>
                <a:gd name="T19" fmla="*/ 1715 h 3522"/>
                <a:gd name="T20" fmla="*/ 2018 w 2793"/>
                <a:gd name="T21" fmla="*/ 1872 h 3522"/>
                <a:gd name="T22" fmla="*/ 1944 w 2793"/>
                <a:gd name="T23" fmla="*/ 2010 h 3522"/>
                <a:gd name="T24" fmla="*/ 1875 w 2793"/>
                <a:gd name="T25" fmla="*/ 2122 h 3522"/>
                <a:gd name="T26" fmla="*/ 1827 w 2793"/>
                <a:gd name="T27" fmla="*/ 2192 h 3522"/>
                <a:gd name="T28" fmla="*/ 1777 w 2793"/>
                <a:gd name="T29" fmla="*/ 2294 h 3522"/>
                <a:gd name="T30" fmla="*/ 1744 w 2793"/>
                <a:gd name="T31" fmla="*/ 2374 h 3522"/>
                <a:gd name="T32" fmla="*/ 1773 w 2793"/>
                <a:gd name="T33" fmla="*/ 2484 h 3522"/>
                <a:gd name="T34" fmla="*/ 1731 w 2793"/>
                <a:gd name="T35" fmla="*/ 2610 h 3522"/>
                <a:gd name="T36" fmla="*/ 1638 w 2793"/>
                <a:gd name="T37" fmla="*/ 2747 h 3522"/>
                <a:gd name="T38" fmla="*/ 1620 w 2793"/>
                <a:gd name="T39" fmla="*/ 2880 h 3522"/>
                <a:gd name="T40" fmla="*/ 1601 w 2793"/>
                <a:gd name="T41" fmla="*/ 3011 h 3522"/>
                <a:gd name="T42" fmla="*/ 1465 w 2793"/>
                <a:gd name="T43" fmla="*/ 3182 h 3522"/>
                <a:gd name="T44" fmla="*/ 1371 w 2793"/>
                <a:gd name="T45" fmla="*/ 3365 h 3522"/>
                <a:gd name="T46" fmla="*/ 1263 w 2793"/>
                <a:gd name="T47" fmla="*/ 3515 h 3522"/>
                <a:gd name="T48" fmla="*/ 1204 w 2793"/>
                <a:gd name="T49" fmla="*/ 3458 h 3522"/>
                <a:gd name="T50" fmla="*/ 1137 w 2793"/>
                <a:gd name="T51" fmla="*/ 3318 h 3522"/>
                <a:gd name="T52" fmla="*/ 1018 w 2793"/>
                <a:gd name="T53" fmla="*/ 3255 h 3522"/>
                <a:gd name="T54" fmla="*/ 954 w 2793"/>
                <a:gd name="T55" fmla="*/ 3176 h 3522"/>
                <a:gd name="T56" fmla="*/ 889 w 2793"/>
                <a:gd name="T57" fmla="*/ 3146 h 3522"/>
                <a:gd name="T58" fmla="*/ 814 w 2793"/>
                <a:gd name="T59" fmla="*/ 3076 h 3522"/>
                <a:gd name="T60" fmla="*/ 726 w 2793"/>
                <a:gd name="T61" fmla="*/ 2967 h 3522"/>
                <a:gd name="T62" fmla="*/ 707 w 2793"/>
                <a:gd name="T63" fmla="*/ 2901 h 3522"/>
                <a:gd name="T64" fmla="*/ 687 w 2793"/>
                <a:gd name="T65" fmla="*/ 2830 h 3522"/>
                <a:gd name="T66" fmla="*/ 634 w 2793"/>
                <a:gd name="T67" fmla="*/ 2755 h 3522"/>
                <a:gd name="T68" fmla="*/ 628 w 2793"/>
                <a:gd name="T69" fmla="*/ 2721 h 3522"/>
                <a:gd name="T70" fmla="*/ 547 w 2793"/>
                <a:gd name="T71" fmla="*/ 2653 h 3522"/>
                <a:gd name="T72" fmla="*/ 424 w 2793"/>
                <a:gd name="T73" fmla="*/ 2581 h 3522"/>
                <a:gd name="T74" fmla="*/ 389 w 2793"/>
                <a:gd name="T75" fmla="*/ 2493 h 3522"/>
                <a:gd name="T76" fmla="*/ 322 w 2793"/>
                <a:gd name="T77" fmla="*/ 2418 h 3522"/>
                <a:gd name="T78" fmla="*/ 181 w 2793"/>
                <a:gd name="T79" fmla="*/ 2360 h 3522"/>
                <a:gd name="T80" fmla="*/ 80 w 2793"/>
                <a:gd name="T81" fmla="*/ 2264 h 3522"/>
                <a:gd name="T82" fmla="*/ 11 w 2793"/>
                <a:gd name="T83" fmla="*/ 2191 h 3522"/>
                <a:gd name="T84" fmla="*/ 12 w 2793"/>
                <a:gd name="T85" fmla="*/ 2084 h 3522"/>
                <a:gd name="T86" fmla="*/ 20 w 2793"/>
                <a:gd name="T87" fmla="*/ 2007 h 3522"/>
                <a:gd name="T88" fmla="*/ 50 w 2793"/>
                <a:gd name="T89" fmla="*/ 1904 h 3522"/>
                <a:gd name="T90" fmla="*/ 227 w 2793"/>
                <a:gd name="T91" fmla="*/ 1796 h 3522"/>
                <a:gd name="T92" fmla="*/ 299 w 2793"/>
                <a:gd name="T93" fmla="*/ 1729 h 3522"/>
                <a:gd name="T94" fmla="*/ 366 w 2793"/>
                <a:gd name="T95" fmla="*/ 1563 h 3522"/>
                <a:gd name="T96" fmla="*/ 441 w 2793"/>
                <a:gd name="T97" fmla="*/ 1487 h 3522"/>
                <a:gd name="T98" fmla="*/ 540 w 2793"/>
                <a:gd name="T99" fmla="*/ 1441 h 3522"/>
                <a:gd name="T100" fmla="*/ 689 w 2793"/>
                <a:gd name="T101" fmla="*/ 1413 h 3522"/>
                <a:gd name="T102" fmla="*/ 792 w 2793"/>
                <a:gd name="T103" fmla="*/ 1333 h 3522"/>
                <a:gd name="T104" fmla="*/ 944 w 2793"/>
                <a:gd name="T105" fmla="*/ 1270 h 3522"/>
                <a:gd name="T106" fmla="*/ 1067 w 2793"/>
                <a:gd name="T107" fmla="*/ 1177 h 3522"/>
                <a:gd name="T108" fmla="*/ 1154 w 2793"/>
                <a:gd name="T109" fmla="*/ 1158 h 3522"/>
                <a:gd name="T110" fmla="*/ 1260 w 2793"/>
                <a:gd name="T111" fmla="*/ 1128 h 3522"/>
                <a:gd name="T112" fmla="*/ 1420 w 2793"/>
                <a:gd name="T113" fmla="*/ 1036 h 3522"/>
                <a:gd name="T114" fmla="*/ 1594 w 2793"/>
                <a:gd name="T115" fmla="*/ 983 h 3522"/>
                <a:gd name="T116" fmla="*/ 1696 w 2793"/>
                <a:gd name="T117" fmla="*/ 986 h 3522"/>
                <a:gd name="T118" fmla="*/ 1815 w 2793"/>
                <a:gd name="T119" fmla="*/ 891 h 3522"/>
                <a:gd name="T120" fmla="*/ 2005 w 2793"/>
                <a:gd name="T121" fmla="*/ 706 h 3522"/>
                <a:gd name="T122" fmla="*/ 2184 w 2793"/>
                <a:gd name="T123" fmla="*/ 562 h 3522"/>
                <a:gd name="T124" fmla="*/ 2793 w 2793"/>
                <a:gd name="T125" fmla="*/ 0 h 3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3" h="3522">
                  <a:moveTo>
                    <a:pt x="2793" y="0"/>
                  </a:moveTo>
                  <a:lnTo>
                    <a:pt x="2725" y="124"/>
                  </a:lnTo>
                  <a:lnTo>
                    <a:pt x="2705" y="271"/>
                  </a:lnTo>
                  <a:lnTo>
                    <a:pt x="2740" y="390"/>
                  </a:lnTo>
                  <a:lnTo>
                    <a:pt x="2740" y="390"/>
                  </a:lnTo>
                  <a:lnTo>
                    <a:pt x="2723" y="437"/>
                  </a:lnTo>
                  <a:lnTo>
                    <a:pt x="2715" y="450"/>
                  </a:lnTo>
                  <a:lnTo>
                    <a:pt x="2706" y="462"/>
                  </a:lnTo>
                  <a:lnTo>
                    <a:pt x="2699" y="474"/>
                  </a:lnTo>
                  <a:lnTo>
                    <a:pt x="2689" y="485"/>
                  </a:lnTo>
                  <a:lnTo>
                    <a:pt x="2679" y="495"/>
                  </a:lnTo>
                  <a:lnTo>
                    <a:pt x="2669" y="503"/>
                  </a:lnTo>
                  <a:lnTo>
                    <a:pt x="2662" y="507"/>
                  </a:lnTo>
                  <a:lnTo>
                    <a:pt x="2656" y="509"/>
                  </a:lnTo>
                  <a:lnTo>
                    <a:pt x="2649" y="511"/>
                  </a:lnTo>
                  <a:lnTo>
                    <a:pt x="2642" y="512"/>
                  </a:lnTo>
                  <a:lnTo>
                    <a:pt x="2615" y="515"/>
                  </a:lnTo>
                  <a:lnTo>
                    <a:pt x="2593" y="518"/>
                  </a:lnTo>
                  <a:lnTo>
                    <a:pt x="2582" y="521"/>
                  </a:lnTo>
                  <a:lnTo>
                    <a:pt x="2572" y="525"/>
                  </a:lnTo>
                  <a:lnTo>
                    <a:pt x="2561" y="531"/>
                  </a:lnTo>
                  <a:lnTo>
                    <a:pt x="2549" y="540"/>
                  </a:lnTo>
                  <a:lnTo>
                    <a:pt x="2539" y="550"/>
                  </a:lnTo>
                  <a:lnTo>
                    <a:pt x="2530" y="560"/>
                  </a:lnTo>
                  <a:lnTo>
                    <a:pt x="2523" y="571"/>
                  </a:lnTo>
                  <a:lnTo>
                    <a:pt x="2516" y="584"/>
                  </a:lnTo>
                  <a:lnTo>
                    <a:pt x="2510" y="598"/>
                  </a:lnTo>
                  <a:lnTo>
                    <a:pt x="2504" y="612"/>
                  </a:lnTo>
                  <a:lnTo>
                    <a:pt x="2500" y="629"/>
                  </a:lnTo>
                  <a:lnTo>
                    <a:pt x="2497" y="644"/>
                  </a:lnTo>
                  <a:lnTo>
                    <a:pt x="2490" y="675"/>
                  </a:lnTo>
                  <a:lnTo>
                    <a:pt x="2486" y="706"/>
                  </a:lnTo>
                  <a:lnTo>
                    <a:pt x="2483" y="737"/>
                  </a:lnTo>
                  <a:lnTo>
                    <a:pt x="2480" y="764"/>
                  </a:lnTo>
                  <a:lnTo>
                    <a:pt x="2468" y="785"/>
                  </a:lnTo>
                  <a:lnTo>
                    <a:pt x="2457" y="808"/>
                  </a:lnTo>
                  <a:lnTo>
                    <a:pt x="2447" y="832"/>
                  </a:lnTo>
                  <a:lnTo>
                    <a:pt x="2438" y="857"/>
                  </a:lnTo>
                  <a:lnTo>
                    <a:pt x="2430" y="881"/>
                  </a:lnTo>
                  <a:lnTo>
                    <a:pt x="2422" y="906"/>
                  </a:lnTo>
                  <a:lnTo>
                    <a:pt x="2416" y="931"/>
                  </a:lnTo>
                  <a:lnTo>
                    <a:pt x="2410" y="955"/>
                  </a:lnTo>
                  <a:lnTo>
                    <a:pt x="2407" y="968"/>
                  </a:lnTo>
                  <a:lnTo>
                    <a:pt x="2403" y="980"/>
                  </a:lnTo>
                  <a:lnTo>
                    <a:pt x="2397" y="992"/>
                  </a:lnTo>
                  <a:lnTo>
                    <a:pt x="2392" y="1002"/>
                  </a:lnTo>
                  <a:lnTo>
                    <a:pt x="2380" y="1024"/>
                  </a:lnTo>
                  <a:lnTo>
                    <a:pt x="2367" y="1044"/>
                  </a:lnTo>
                  <a:lnTo>
                    <a:pt x="2353" y="1065"/>
                  </a:lnTo>
                  <a:lnTo>
                    <a:pt x="2340" y="1087"/>
                  </a:lnTo>
                  <a:lnTo>
                    <a:pt x="2334" y="1097"/>
                  </a:lnTo>
                  <a:lnTo>
                    <a:pt x="2328" y="1108"/>
                  </a:lnTo>
                  <a:lnTo>
                    <a:pt x="2323" y="1119"/>
                  </a:lnTo>
                  <a:lnTo>
                    <a:pt x="2317" y="1131"/>
                  </a:lnTo>
                  <a:lnTo>
                    <a:pt x="2312" y="1148"/>
                  </a:lnTo>
                  <a:lnTo>
                    <a:pt x="2308" y="1165"/>
                  </a:lnTo>
                  <a:lnTo>
                    <a:pt x="2303" y="1184"/>
                  </a:lnTo>
                  <a:lnTo>
                    <a:pt x="2301" y="1203"/>
                  </a:lnTo>
                  <a:lnTo>
                    <a:pt x="2297" y="1241"/>
                  </a:lnTo>
                  <a:lnTo>
                    <a:pt x="2293" y="1277"/>
                  </a:lnTo>
                  <a:lnTo>
                    <a:pt x="2286" y="1293"/>
                  </a:lnTo>
                  <a:lnTo>
                    <a:pt x="2279" y="1307"/>
                  </a:lnTo>
                  <a:lnTo>
                    <a:pt x="2271" y="1321"/>
                  </a:lnTo>
                  <a:lnTo>
                    <a:pt x="2262" y="1335"/>
                  </a:lnTo>
                  <a:lnTo>
                    <a:pt x="2245" y="1361"/>
                  </a:lnTo>
                  <a:lnTo>
                    <a:pt x="2227" y="1386"/>
                  </a:lnTo>
                  <a:lnTo>
                    <a:pt x="2218" y="1399"/>
                  </a:lnTo>
                  <a:lnTo>
                    <a:pt x="2209" y="1412"/>
                  </a:lnTo>
                  <a:lnTo>
                    <a:pt x="2202" y="1426"/>
                  </a:lnTo>
                  <a:lnTo>
                    <a:pt x="2194" y="1440"/>
                  </a:lnTo>
                  <a:lnTo>
                    <a:pt x="2187" y="1454"/>
                  </a:lnTo>
                  <a:lnTo>
                    <a:pt x="2180" y="1470"/>
                  </a:lnTo>
                  <a:lnTo>
                    <a:pt x="2176" y="1486"/>
                  </a:lnTo>
                  <a:lnTo>
                    <a:pt x="2172" y="1505"/>
                  </a:lnTo>
                  <a:lnTo>
                    <a:pt x="2164" y="1539"/>
                  </a:lnTo>
                  <a:lnTo>
                    <a:pt x="2158" y="1575"/>
                  </a:lnTo>
                  <a:lnTo>
                    <a:pt x="2150" y="1610"/>
                  </a:lnTo>
                  <a:lnTo>
                    <a:pt x="2141" y="1646"/>
                  </a:lnTo>
                  <a:lnTo>
                    <a:pt x="2133" y="1681"/>
                  </a:lnTo>
                  <a:lnTo>
                    <a:pt x="2122" y="1715"/>
                  </a:lnTo>
                  <a:lnTo>
                    <a:pt x="2115" y="1732"/>
                  </a:lnTo>
                  <a:lnTo>
                    <a:pt x="2109" y="1750"/>
                  </a:lnTo>
                  <a:lnTo>
                    <a:pt x="2102" y="1766"/>
                  </a:lnTo>
                  <a:lnTo>
                    <a:pt x="2095" y="1781"/>
                  </a:lnTo>
                  <a:lnTo>
                    <a:pt x="2077" y="1808"/>
                  </a:lnTo>
                  <a:lnTo>
                    <a:pt x="2059" y="1830"/>
                  </a:lnTo>
                  <a:lnTo>
                    <a:pt x="2041" y="1849"/>
                  </a:lnTo>
                  <a:lnTo>
                    <a:pt x="2018" y="1872"/>
                  </a:lnTo>
                  <a:lnTo>
                    <a:pt x="2000" y="1890"/>
                  </a:lnTo>
                  <a:lnTo>
                    <a:pt x="1984" y="1907"/>
                  </a:lnTo>
                  <a:lnTo>
                    <a:pt x="1977" y="1916"/>
                  </a:lnTo>
                  <a:lnTo>
                    <a:pt x="1972" y="1927"/>
                  </a:lnTo>
                  <a:lnTo>
                    <a:pt x="1966" y="1939"/>
                  </a:lnTo>
                  <a:lnTo>
                    <a:pt x="1962" y="1952"/>
                  </a:lnTo>
                  <a:lnTo>
                    <a:pt x="1953" y="1983"/>
                  </a:lnTo>
                  <a:lnTo>
                    <a:pt x="1944" y="2010"/>
                  </a:lnTo>
                  <a:lnTo>
                    <a:pt x="1935" y="2036"/>
                  </a:lnTo>
                  <a:lnTo>
                    <a:pt x="1924" y="2059"/>
                  </a:lnTo>
                  <a:lnTo>
                    <a:pt x="1918" y="2069"/>
                  </a:lnTo>
                  <a:lnTo>
                    <a:pt x="1910" y="2080"/>
                  </a:lnTo>
                  <a:lnTo>
                    <a:pt x="1903" y="2091"/>
                  </a:lnTo>
                  <a:lnTo>
                    <a:pt x="1894" y="2102"/>
                  </a:lnTo>
                  <a:lnTo>
                    <a:pt x="1884" y="2111"/>
                  </a:lnTo>
                  <a:lnTo>
                    <a:pt x="1875" y="2122"/>
                  </a:lnTo>
                  <a:lnTo>
                    <a:pt x="1863" y="2132"/>
                  </a:lnTo>
                  <a:lnTo>
                    <a:pt x="1850" y="2143"/>
                  </a:lnTo>
                  <a:lnTo>
                    <a:pt x="1843" y="2148"/>
                  </a:lnTo>
                  <a:lnTo>
                    <a:pt x="1839" y="2154"/>
                  </a:lnTo>
                  <a:lnTo>
                    <a:pt x="1835" y="2159"/>
                  </a:lnTo>
                  <a:lnTo>
                    <a:pt x="1832" y="2165"/>
                  </a:lnTo>
                  <a:lnTo>
                    <a:pt x="1829" y="2178"/>
                  </a:lnTo>
                  <a:lnTo>
                    <a:pt x="1827" y="2192"/>
                  </a:lnTo>
                  <a:lnTo>
                    <a:pt x="1827" y="2207"/>
                  </a:lnTo>
                  <a:lnTo>
                    <a:pt x="1826" y="2221"/>
                  </a:lnTo>
                  <a:lnTo>
                    <a:pt x="1824" y="2227"/>
                  </a:lnTo>
                  <a:lnTo>
                    <a:pt x="1823" y="2235"/>
                  </a:lnTo>
                  <a:lnTo>
                    <a:pt x="1819" y="2241"/>
                  </a:lnTo>
                  <a:lnTo>
                    <a:pt x="1816" y="2249"/>
                  </a:lnTo>
                  <a:lnTo>
                    <a:pt x="1796" y="2273"/>
                  </a:lnTo>
                  <a:lnTo>
                    <a:pt x="1777" y="2294"/>
                  </a:lnTo>
                  <a:lnTo>
                    <a:pt x="1770" y="2304"/>
                  </a:lnTo>
                  <a:lnTo>
                    <a:pt x="1762" y="2313"/>
                  </a:lnTo>
                  <a:lnTo>
                    <a:pt x="1756" y="2322"/>
                  </a:lnTo>
                  <a:lnTo>
                    <a:pt x="1751" y="2332"/>
                  </a:lnTo>
                  <a:lnTo>
                    <a:pt x="1747" y="2342"/>
                  </a:lnTo>
                  <a:lnTo>
                    <a:pt x="1745" y="2351"/>
                  </a:lnTo>
                  <a:lnTo>
                    <a:pt x="1744" y="2362"/>
                  </a:lnTo>
                  <a:lnTo>
                    <a:pt x="1744" y="2374"/>
                  </a:lnTo>
                  <a:lnTo>
                    <a:pt x="1745" y="2387"/>
                  </a:lnTo>
                  <a:lnTo>
                    <a:pt x="1748" y="2401"/>
                  </a:lnTo>
                  <a:lnTo>
                    <a:pt x="1754" y="2416"/>
                  </a:lnTo>
                  <a:lnTo>
                    <a:pt x="1759" y="2433"/>
                  </a:lnTo>
                  <a:lnTo>
                    <a:pt x="1764" y="2447"/>
                  </a:lnTo>
                  <a:lnTo>
                    <a:pt x="1769" y="2461"/>
                  </a:lnTo>
                  <a:lnTo>
                    <a:pt x="1771" y="2473"/>
                  </a:lnTo>
                  <a:lnTo>
                    <a:pt x="1773" y="2484"/>
                  </a:lnTo>
                  <a:lnTo>
                    <a:pt x="1773" y="2495"/>
                  </a:lnTo>
                  <a:lnTo>
                    <a:pt x="1772" y="2506"/>
                  </a:lnTo>
                  <a:lnTo>
                    <a:pt x="1771" y="2515"/>
                  </a:lnTo>
                  <a:lnTo>
                    <a:pt x="1769" y="2525"/>
                  </a:lnTo>
                  <a:lnTo>
                    <a:pt x="1762" y="2543"/>
                  </a:lnTo>
                  <a:lnTo>
                    <a:pt x="1752" y="2564"/>
                  </a:lnTo>
                  <a:lnTo>
                    <a:pt x="1743" y="2586"/>
                  </a:lnTo>
                  <a:lnTo>
                    <a:pt x="1731" y="2610"/>
                  </a:lnTo>
                  <a:lnTo>
                    <a:pt x="1722" y="2630"/>
                  </a:lnTo>
                  <a:lnTo>
                    <a:pt x="1713" y="2648"/>
                  </a:lnTo>
                  <a:lnTo>
                    <a:pt x="1703" y="2667"/>
                  </a:lnTo>
                  <a:lnTo>
                    <a:pt x="1691" y="2684"/>
                  </a:lnTo>
                  <a:lnTo>
                    <a:pt x="1679" y="2700"/>
                  </a:lnTo>
                  <a:lnTo>
                    <a:pt x="1666" y="2716"/>
                  </a:lnTo>
                  <a:lnTo>
                    <a:pt x="1652" y="2731"/>
                  </a:lnTo>
                  <a:lnTo>
                    <a:pt x="1638" y="2747"/>
                  </a:lnTo>
                  <a:lnTo>
                    <a:pt x="1630" y="2764"/>
                  </a:lnTo>
                  <a:lnTo>
                    <a:pt x="1625" y="2781"/>
                  </a:lnTo>
                  <a:lnTo>
                    <a:pt x="1621" y="2797"/>
                  </a:lnTo>
                  <a:lnTo>
                    <a:pt x="1619" y="2815"/>
                  </a:lnTo>
                  <a:lnTo>
                    <a:pt x="1619" y="2831"/>
                  </a:lnTo>
                  <a:lnTo>
                    <a:pt x="1619" y="2847"/>
                  </a:lnTo>
                  <a:lnTo>
                    <a:pt x="1619" y="2863"/>
                  </a:lnTo>
                  <a:lnTo>
                    <a:pt x="1620" y="2880"/>
                  </a:lnTo>
                  <a:lnTo>
                    <a:pt x="1621" y="2896"/>
                  </a:lnTo>
                  <a:lnTo>
                    <a:pt x="1621" y="2912"/>
                  </a:lnTo>
                  <a:lnTo>
                    <a:pt x="1621" y="2928"/>
                  </a:lnTo>
                  <a:lnTo>
                    <a:pt x="1621" y="2944"/>
                  </a:lnTo>
                  <a:lnTo>
                    <a:pt x="1619" y="2961"/>
                  </a:lnTo>
                  <a:lnTo>
                    <a:pt x="1614" y="2978"/>
                  </a:lnTo>
                  <a:lnTo>
                    <a:pt x="1609" y="2994"/>
                  </a:lnTo>
                  <a:lnTo>
                    <a:pt x="1601" y="3011"/>
                  </a:lnTo>
                  <a:lnTo>
                    <a:pt x="1593" y="3026"/>
                  </a:lnTo>
                  <a:lnTo>
                    <a:pt x="1583" y="3041"/>
                  </a:lnTo>
                  <a:lnTo>
                    <a:pt x="1572" y="3056"/>
                  </a:lnTo>
                  <a:lnTo>
                    <a:pt x="1561" y="3071"/>
                  </a:lnTo>
                  <a:lnTo>
                    <a:pt x="1538" y="3099"/>
                  </a:lnTo>
                  <a:lnTo>
                    <a:pt x="1513" y="3126"/>
                  </a:lnTo>
                  <a:lnTo>
                    <a:pt x="1488" y="3154"/>
                  </a:lnTo>
                  <a:lnTo>
                    <a:pt x="1465" y="3182"/>
                  </a:lnTo>
                  <a:lnTo>
                    <a:pt x="1454" y="3197"/>
                  </a:lnTo>
                  <a:lnTo>
                    <a:pt x="1444" y="3211"/>
                  </a:lnTo>
                  <a:lnTo>
                    <a:pt x="1435" y="3227"/>
                  </a:lnTo>
                  <a:lnTo>
                    <a:pt x="1426" y="3242"/>
                  </a:lnTo>
                  <a:lnTo>
                    <a:pt x="1409" y="3281"/>
                  </a:lnTo>
                  <a:lnTo>
                    <a:pt x="1391" y="3324"/>
                  </a:lnTo>
                  <a:lnTo>
                    <a:pt x="1382" y="3346"/>
                  </a:lnTo>
                  <a:lnTo>
                    <a:pt x="1371" y="3365"/>
                  </a:lnTo>
                  <a:lnTo>
                    <a:pt x="1360" y="3385"/>
                  </a:lnTo>
                  <a:lnTo>
                    <a:pt x="1350" y="3400"/>
                  </a:lnTo>
                  <a:lnTo>
                    <a:pt x="1300" y="3522"/>
                  </a:lnTo>
                  <a:lnTo>
                    <a:pt x="1300" y="3522"/>
                  </a:lnTo>
                  <a:lnTo>
                    <a:pt x="1288" y="3522"/>
                  </a:lnTo>
                  <a:lnTo>
                    <a:pt x="1275" y="3520"/>
                  </a:lnTo>
                  <a:lnTo>
                    <a:pt x="1270" y="3518"/>
                  </a:lnTo>
                  <a:lnTo>
                    <a:pt x="1263" y="3515"/>
                  </a:lnTo>
                  <a:lnTo>
                    <a:pt x="1257" y="3512"/>
                  </a:lnTo>
                  <a:lnTo>
                    <a:pt x="1250" y="3509"/>
                  </a:lnTo>
                  <a:lnTo>
                    <a:pt x="1239" y="3501"/>
                  </a:lnTo>
                  <a:lnTo>
                    <a:pt x="1231" y="3494"/>
                  </a:lnTo>
                  <a:lnTo>
                    <a:pt x="1222" y="3485"/>
                  </a:lnTo>
                  <a:lnTo>
                    <a:pt x="1216" y="3477"/>
                  </a:lnTo>
                  <a:lnTo>
                    <a:pt x="1209" y="3468"/>
                  </a:lnTo>
                  <a:lnTo>
                    <a:pt x="1204" y="3458"/>
                  </a:lnTo>
                  <a:lnTo>
                    <a:pt x="1199" y="3449"/>
                  </a:lnTo>
                  <a:lnTo>
                    <a:pt x="1196" y="3439"/>
                  </a:lnTo>
                  <a:lnTo>
                    <a:pt x="1182" y="3398"/>
                  </a:lnTo>
                  <a:lnTo>
                    <a:pt x="1167" y="3355"/>
                  </a:lnTo>
                  <a:lnTo>
                    <a:pt x="1162" y="3345"/>
                  </a:lnTo>
                  <a:lnTo>
                    <a:pt x="1154" y="3335"/>
                  </a:lnTo>
                  <a:lnTo>
                    <a:pt x="1146" y="3326"/>
                  </a:lnTo>
                  <a:lnTo>
                    <a:pt x="1137" y="3318"/>
                  </a:lnTo>
                  <a:lnTo>
                    <a:pt x="1126" y="3311"/>
                  </a:lnTo>
                  <a:lnTo>
                    <a:pt x="1115" y="3304"/>
                  </a:lnTo>
                  <a:lnTo>
                    <a:pt x="1103" y="3297"/>
                  </a:lnTo>
                  <a:lnTo>
                    <a:pt x="1090" y="3291"/>
                  </a:lnTo>
                  <a:lnTo>
                    <a:pt x="1065" y="3280"/>
                  </a:lnTo>
                  <a:lnTo>
                    <a:pt x="1041" y="3268"/>
                  </a:lnTo>
                  <a:lnTo>
                    <a:pt x="1029" y="3262"/>
                  </a:lnTo>
                  <a:lnTo>
                    <a:pt x="1018" y="3255"/>
                  </a:lnTo>
                  <a:lnTo>
                    <a:pt x="1007" y="3249"/>
                  </a:lnTo>
                  <a:lnTo>
                    <a:pt x="997" y="3241"/>
                  </a:lnTo>
                  <a:lnTo>
                    <a:pt x="991" y="3233"/>
                  </a:lnTo>
                  <a:lnTo>
                    <a:pt x="983" y="3223"/>
                  </a:lnTo>
                  <a:lnTo>
                    <a:pt x="976" y="3211"/>
                  </a:lnTo>
                  <a:lnTo>
                    <a:pt x="968" y="3199"/>
                  </a:lnTo>
                  <a:lnTo>
                    <a:pt x="962" y="3187"/>
                  </a:lnTo>
                  <a:lnTo>
                    <a:pt x="954" y="3176"/>
                  </a:lnTo>
                  <a:lnTo>
                    <a:pt x="948" y="3169"/>
                  </a:lnTo>
                  <a:lnTo>
                    <a:pt x="942" y="3163"/>
                  </a:lnTo>
                  <a:lnTo>
                    <a:pt x="935" y="3159"/>
                  </a:lnTo>
                  <a:lnTo>
                    <a:pt x="926" y="3156"/>
                  </a:lnTo>
                  <a:lnTo>
                    <a:pt x="916" y="3154"/>
                  </a:lnTo>
                  <a:lnTo>
                    <a:pt x="908" y="3152"/>
                  </a:lnTo>
                  <a:lnTo>
                    <a:pt x="898" y="3148"/>
                  </a:lnTo>
                  <a:lnTo>
                    <a:pt x="889" y="3146"/>
                  </a:lnTo>
                  <a:lnTo>
                    <a:pt x="880" y="3143"/>
                  </a:lnTo>
                  <a:lnTo>
                    <a:pt x="871" y="3139"/>
                  </a:lnTo>
                  <a:lnTo>
                    <a:pt x="861" y="3132"/>
                  </a:lnTo>
                  <a:lnTo>
                    <a:pt x="853" y="3126"/>
                  </a:lnTo>
                  <a:lnTo>
                    <a:pt x="844" y="3118"/>
                  </a:lnTo>
                  <a:lnTo>
                    <a:pt x="836" y="3110"/>
                  </a:lnTo>
                  <a:lnTo>
                    <a:pt x="825" y="3093"/>
                  </a:lnTo>
                  <a:lnTo>
                    <a:pt x="814" y="3076"/>
                  </a:lnTo>
                  <a:lnTo>
                    <a:pt x="803" y="3058"/>
                  </a:lnTo>
                  <a:lnTo>
                    <a:pt x="792" y="3039"/>
                  </a:lnTo>
                  <a:lnTo>
                    <a:pt x="786" y="3031"/>
                  </a:lnTo>
                  <a:lnTo>
                    <a:pt x="779" y="3021"/>
                  </a:lnTo>
                  <a:lnTo>
                    <a:pt x="773" y="3013"/>
                  </a:lnTo>
                  <a:lnTo>
                    <a:pt x="765" y="3005"/>
                  </a:lnTo>
                  <a:lnTo>
                    <a:pt x="746" y="2987"/>
                  </a:lnTo>
                  <a:lnTo>
                    <a:pt x="726" y="2967"/>
                  </a:lnTo>
                  <a:lnTo>
                    <a:pt x="718" y="2955"/>
                  </a:lnTo>
                  <a:lnTo>
                    <a:pt x="710" y="2944"/>
                  </a:lnTo>
                  <a:lnTo>
                    <a:pt x="708" y="2938"/>
                  </a:lnTo>
                  <a:lnTo>
                    <a:pt x="706" y="2931"/>
                  </a:lnTo>
                  <a:lnTo>
                    <a:pt x="705" y="2925"/>
                  </a:lnTo>
                  <a:lnTo>
                    <a:pt x="704" y="2918"/>
                  </a:lnTo>
                  <a:lnTo>
                    <a:pt x="705" y="2909"/>
                  </a:lnTo>
                  <a:lnTo>
                    <a:pt x="707" y="2901"/>
                  </a:lnTo>
                  <a:lnTo>
                    <a:pt x="709" y="2893"/>
                  </a:lnTo>
                  <a:lnTo>
                    <a:pt x="710" y="2887"/>
                  </a:lnTo>
                  <a:lnTo>
                    <a:pt x="711" y="2879"/>
                  </a:lnTo>
                  <a:lnTo>
                    <a:pt x="711" y="2872"/>
                  </a:lnTo>
                  <a:lnTo>
                    <a:pt x="708" y="2862"/>
                  </a:lnTo>
                  <a:lnTo>
                    <a:pt x="702" y="2850"/>
                  </a:lnTo>
                  <a:lnTo>
                    <a:pt x="696" y="2839"/>
                  </a:lnTo>
                  <a:lnTo>
                    <a:pt x="687" y="2830"/>
                  </a:lnTo>
                  <a:lnTo>
                    <a:pt x="678" y="2819"/>
                  </a:lnTo>
                  <a:lnTo>
                    <a:pt x="667" y="2807"/>
                  </a:lnTo>
                  <a:lnTo>
                    <a:pt x="657" y="2797"/>
                  </a:lnTo>
                  <a:lnTo>
                    <a:pt x="648" y="2786"/>
                  </a:lnTo>
                  <a:lnTo>
                    <a:pt x="642" y="2777"/>
                  </a:lnTo>
                  <a:lnTo>
                    <a:pt x="637" y="2767"/>
                  </a:lnTo>
                  <a:lnTo>
                    <a:pt x="635" y="2762"/>
                  </a:lnTo>
                  <a:lnTo>
                    <a:pt x="634" y="2755"/>
                  </a:lnTo>
                  <a:lnTo>
                    <a:pt x="635" y="2749"/>
                  </a:lnTo>
                  <a:lnTo>
                    <a:pt x="637" y="2742"/>
                  </a:lnTo>
                  <a:lnTo>
                    <a:pt x="637" y="2736"/>
                  </a:lnTo>
                  <a:lnTo>
                    <a:pt x="635" y="2729"/>
                  </a:lnTo>
                  <a:lnTo>
                    <a:pt x="634" y="2727"/>
                  </a:lnTo>
                  <a:lnTo>
                    <a:pt x="632" y="2725"/>
                  </a:lnTo>
                  <a:lnTo>
                    <a:pt x="630" y="2723"/>
                  </a:lnTo>
                  <a:lnTo>
                    <a:pt x="628" y="2721"/>
                  </a:lnTo>
                  <a:lnTo>
                    <a:pt x="613" y="2711"/>
                  </a:lnTo>
                  <a:lnTo>
                    <a:pt x="600" y="2701"/>
                  </a:lnTo>
                  <a:lnTo>
                    <a:pt x="588" y="2690"/>
                  </a:lnTo>
                  <a:lnTo>
                    <a:pt x="575" y="2677"/>
                  </a:lnTo>
                  <a:lnTo>
                    <a:pt x="570" y="2671"/>
                  </a:lnTo>
                  <a:lnTo>
                    <a:pt x="563" y="2664"/>
                  </a:lnTo>
                  <a:lnTo>
                    <a:pt x="556" y="2658"/>
                  </a:lnTo>
                  <a:lnTo>
                    <a:pt x="547" y="2653"/>
                  </a:lnTo>
                  <a:lnTo>
                    <a:pt x="529" y="2642"/>
                  </a:lnTo>
                  <a:lnTo>
                    <a:pt x="509" y="2631"/>
                  </a:lnTo>
                  <a:lnTo>
                    <a:pt x="489" y="2621"/>
                  </a:lnTo>
                  <a:lnTo>
                    <a:pt x="468" y="2612"/>
                  </a:lnTo>
                  <a:lnTo>
                    <a:pt x="450" y="2602"/>
                  </a:lnTo>
                  <a:lnTo>
                    <a:pt x="432" y="2590"/>
                  </a:lnTo>
                  <a:lnTo>
                    <a:pt x="428" y="2586"/>
                  </a:lnTo>
                  <a:lnTo>
                    <a:pt x="424" y="2581"/>
                  </a:lnTo>
                  <a:lnTo>
                    <a:pt x="420" y="2576"/>
                  </a:lnTo>
                  <a:lnTo>
                    <a:pt x="418" y="2569"/>
                  </a:lnTo>
                  <a:lnTo>
                    <a:pt x="414" y="2555"/>
                  </a:lnTo>
                  <a:lnTo>
                    <a:pt x="410" y="2539"/>
                  </a:lnTo>
                  <a:lnTo>
                    <a:pt x="405" y="2523"/>
                  </a:lnTo>
                  <a:lnTo>
                    <a:pt x="399" y="2508"/>
                  </a:lnTo>
                  <a:lnTo>
                    <a:pt x="395" y="2499"/>
                  </a:lnTo>
                  <a:lnTo>
                    <a:pt x="389" y="2493"/>
                  </a:lnTo>
                  <a:lnTo>
                    <a:pt x="383" y="2485"/>
                  </a:lnTo>
                  <a:lnTo>
                    <a:pt x="375" y="2479"/>
                  </a:lnTo>
                  <a:lnTo>
                    <a:pt x="365" y="2470"/>
                  </a:lnTo>
                  <a:lnTo>
                    <a:pt x="357" y="2460"/>
                  </a:lnTo>
                  <a:lnTo>
                    <a:pt x="348" y="2451"/>
                  </a:lnTo>
                  <a:lnTo>
                    <a:pt x="339" y="2439"/>
                  </a:lnTo>
                  <a:lnTo>
                    <a:pt x="331" y="2429"/>
                  </a:lnTo>
                  <a:lnTo>
                    <a:pt x="322" y="2418"/>
                  </a:lnTo>
                  <a:lnTo>
                    <a:pt x="314" y="2411"/>
                  </a:lnTo>
                  <a:lnTo>
                    <a:pt x="305" y="2404"/>
                  </a:lnTo>
                  <a:lnTo>
                    <a:pt x="284" y="2394"/>
                  </a:lnTo>
                  <a:lnTo>
                    <a:pt x="264" y="2387"/>
                  </a:lnTo>
                  <a:lnTo>
                    <a:pt x="243" y="2380"/>
                  </a:lnTo>
                  <a:lnTo>
                    <a:pt x="222" y="2374"/>
                  </a:lnTo>
                  <a:lnTo>
                    <a:pt x="201" y="2367"/>
                  </a:lnTo>
                  <a:lnTo>
                    <a:pt x="181" y="2360"/>
                  </a:lnTo>
                  <a:lnTo>
                    <a:pt x="161" y="2352"/>
                  </a:lnTo>
                  <a:lnTo>
                    <a:pt x="142" y="2343"/>
                  </a:lnTo>
                  <a:lnTo>
                    <a:pt x="131" y="2335"/>
                  </a:lnTo>
                  <a:lnTo>
                    <a:pt x="122" y="2327"/>
                  </a:lnTo>
                  <a:lnTo>
                    <a:pt x="114" y="2318"/>
                  </a:lnTo>
                  <a:lnTo>
                    <a:pt x="106" y="2307"/>
                  </a:lnTo>
                  <a:lnTo>
                    <a:pt x="93" y="2285"/>
                  </a:lnTo>
                  <a:lnTo>
                    <a:pt x="80" y="2264"/>
                  </a:lnTo>
                  <a:lnTo>
                    <a:pt x="74" y="2254"/>
                  </a:lnTo>
                  <a:lnTo>
                    <a:pt x="65" y="2245"/>
                  </a:lnTo>
                  <a:lnTo>
                    <a:pt x="56" y="2237"/>
                  </a:lnTo>
                  <a:lnTo>
                    <a:pt x="47" y="2228"/>
                  </a:lnTo>
                  <a:lnTo>
                    <a:pt x="38" y="2219"/>
                  </a:lnTo>
                  <a:lnTo>
                    <a:pt x="28" y="2211"/>
                  </a:lnTo>
                  <a:lnTo>
                    <a:pt x="20" y="2201"/>
                  </a:lnTo>
                  <a:lnTo>
                    <a:pt x="11" y="2191"/>
                  </a:lnTo>
                  <a:lnTo>
                    <a:pt x="7" y="2172"/>
                  </a:lnTo>
                  <a:lnTo>
                    <a:pt x="2" y="2153"/>
                  </a:lnTo>
                  <a:lnTo>
                    <a:pt x="0" y="2144"/>
                  </a:lnTo>
                  <a:lnTo>
                    <a:pt x="0" y="2134"/>
                  </a:lnTo>
                  <a:lnTo>
                    <a:pt x="0" y="2124"/>
                  </a:lnTo>
                  <a:lnTo>
                    <a:pt x="1" y="2115"/>
                  </a:lnTo>
                  <a:lnTo>
                    <a:pt x="6" y="2099"/>
                  </a:lnTo>
                  <a:lnTo>
                    <a:pt x="12" y="2084"/>
                  </a:lnTo>
                  <a:lnTo>
                    <a:pt x="14" y="2077"/>
                  </a:lnTo>
                  <a:lnTo>
                    <a:pt x="18" y="2069"/>
                  </a:lnTo>
                  <a:lnTo>
                    <a:pt x="19" y="2062"/>
                  </a:lnTo>
                  <a:lnTo>
                    <a:pt x="20" y="2053"/>
                  </a:lnTo>
                  <a:lnTo>
                    <a:pt x="19" y="2037"/>
                  </a:lnTo>
                  <a:lnTo>
                    <a:pt x="18" y="2022"/>
                  </a:lnTo>
                  <a:lnTo>
                    <a:pt x="19" y="2014"/>
                  </a:lnTo>
                  <a:lnTo>
                    <a:pt x="20" y="2007"/>
                  </a:lnTo>
                  <a:lnTo>
                    <a:pt x="22" y="1999"/>
                  </a:lnTo>
                  <a:lnTo>
                    <a:pt x="25" y="1992"/>
                  </a:lnTo>
                  <a:lnTo>
                    <a:pt x="38" y="1969"/>
                  </a:lnTo>
                  <a:lnTo>
                    <a:pt x="48" y="1951"/>
                  </a:lnTo>
                  <a:lnTo>
                    <a:pt x="50" y="1941"/>
                  </a:lnTo>
                  <a:lnTo>
                    <a:pt x="52" y="1930"/>
                  </a:lnTo>
                  <a:lnTo>
                    <a:pt x="52" y="1918"/>
                  </a:lnTo>
                  <a:lnTo>
                    <a:pt x="50" y="1904"/>
                  </a:lnTo>
                  <a:lnTo>
                    <a:pt x="50" y="1904"/>
                  </a:lnTo>
                  <a:lnTo>
                    <a:pt x="118" y="1851"/>
                  </a:lnTo>
                  <a:lnTo>
                    <a:pt x="130" y="1844"/>
                  </a:lnTo>
                  <a:lnTo>
                    <a:pt x="142" y="1836"/>
                  </a:lnTo>
                  <a:lnTo>
                    <a:pt x="156" y="1830"/>
                  </a:lnTo>
                  <a:lnTo>
                    <a:pt x="170" y="1823"/>
                  </a:lnTo>
                  <a:lnTo>
                    <a:pt x="198" y="1810"/>
                  </a:lnTo>
                  <a:lnTo>
                    <a:pt x="227" y="1796"/>
                  </a:lnTo>
                  <a:lnTo>
                    <a:pt x="240" y="1789"/>
                  </a:lnTo>
                  <a:lnTo>
                    <a:pt x="253" y="1781"/>
                  </a:lnTo>
                  <a:lnTo>
                    <a:pt x="265" y="1772"/>
                  </a:lnTo>
                  <a:lnTo>
                    <a:pt x="276" y="1764"/>
                  </a:lnTo>
                  <a:lnTo>
                    <a:pt x="285" y="1753"/>
                  </a:lnTo>
                  <a:lnTo>
                    <a:pt x="293" y="1742"/>
                  </a:lnTo>
                  <a:lnTo>
                    <a:pt x="296" y="1736"/>
                  </a:lnTo>
                  <a:lnTo>
                    <a:pt x="299" y="1729"/>
                  </a:lnTo>
                  <a:lnTo>
                    <a:pt x="302" y="1723"/>
                  </a:lnTo>
                  <a:lnTo>
                    <a:pt x="303" y="1716"/>
                  </a:lnTo>
                  <a:lnTo>
                    <a:pt x="309" y="1688"/>
                  </a:lnTo>
                  <a:lnTo>
                    <a:pt x="318" y="1661"/>
                  </a:lnTo>
                  <a:lnTo>
                    <a:pt x="328" y="1635"/>
                  </a:lnTo>
                  <a:lnTo>
                    <a:pt x="338" y="1609"/>
                  </a:lnTo>
                  <a:lnTo>
                    <a:pt x="351" y="1586"/>
                  </a:lnTo>
                  <a:lnTo>
                    <a:pt x="366" y="1563"/>
                  </a:lnTo>
                  <a:lnTo>
                    <a:pt x="374" y="1552"/>
                  </a:lnTo>
                  <a:lnTo>
                    <a:pt x="383" y="1542"/>
                  </a:lnTo>
                  <a:lnTo>
                    <a:pt x="391" y="1532"/>
                  </a:lnTo>
                  <a:lnTo>
                    <a:pt x="401" y="1523"/>
                  </a:lnTo>
                  <a:lnTo>
                    <a:pt x="410" y="1513"/>
                  </a:lnTo>
                  <a:lnTo>
                    <a:pt x="420" y="1505"/>
                  </a:lnTo>
                  <a:lnTo>
                    <a:pt x="430" y="1496"/>
                  </a:lnTo>
                  <a:lnTo>
                    <a:pt x="441" y="1487"/>
                  </a:lnTo>
                  <a:lnTo>
                    <a:pt x="452" y="1480"/>
                  </a:lnTo>
                  <a:lnTo>
                    <a:pt x="464" y="1473"/>
                  </a:lnTo>
                  <a:lnTo>
                    <a:pt x="476" y="1467"/>
                  </a:lnTo>
                  <a:lnTo>
                    <a:pt x="487" y="1460"/>
                  </a:lnTo>
                  <a:lnTo>
                    <a:pt x="500" y="1455"/>
                  </a:lnTo>
                  <a:lnTo>
                    <a:pt x="513" y="1449"/>
                  </a:lnTo>
                  <a:lnTo>
                    <a:pt x="527" y="1444"/>
                  </a:lnTo>
                  <a:lnTo>
                    <a:pt x="540" y="1441"/>
                  </a:lnTo>
                  <a:lnTo>
                    <a:pt x="554" y="1436"/>
                  </a:lnTo>
                  <a:lnTo>
                    <a:pt x="570" y="1433"/>
                  </a:lnTo>
                  <a:lnTo>
                    <a:pt x="584" y="1431"/>
                  </a:lnTo>
                  <a:lnTo>
                    <a:pt x="599" y="1429"/>
                  </a:lnTo>
                  <a:lnTo>
                    <a:pt x="638" y="1425"/>
                  </a:lnTo>
                  <a:lnTo>
                    <a:pt x="667" y="1419"/>
                  </a:lnTo>
                  <a:lnTo>
                    <a:pt x="679" y="1416"/>
                  </a:lnTo>
                  <a:lnTo>
                    <a:pt x="689" y="1413"/>
                  </a:lnTo>
                  <a:lnTo>
                    <a:pt x="699" y="1408"/>
                  </a:lnTo>
                  <a:lnTo>
                    <a:pt x="708" y="1404"/>
                  </a:lnTo>
                  <a:lnTo>
                    <a:pt x="716" y="1399"/>
                  </a:lnTo>
                  <a:lnTo>
                    <a:pt x="725" y="1392"/>
                  </a:lnTo>
                  <a:lnTo>
                    <a:pt x="734" y="1386"/>
                  </a:lnTo>
                  <a:lnTo>
                    <a:pt x="743" y="1377"/>
                  </a:lnTo>
                  <a:lnTo>
                    <a:pt x="765" y="1358"/>
                  </a:lnTo>
                  <a:lnTo>
                    <a:pt x="792" y="1333"/>
                  </a:lnTo>
                  <a:lnTo>
                    <a:pt x="804" y="1324"/>
                  </a:lnTo>
                  <a:lnTo>
                    <a:pt x="816" y="1316"/>
                  </a:lnTo>
                  <a:lnTo>
                    <a:pt x="829" y="1309"/>
                  </a:lnTo>
                  <a:lnTo>
                    <a:pt x="841" y="1303"/>
                  </a:lnTo>
                  <a:lnTo>
                    <a:pt x="867" y="1294"/>
                  </a:lnTo>
                  <a:lnTo>
                    <a:pt x="893" y="1286"/>
                  </a:lnTo>
                  <a:lnTo>
                    <a:pt x="919" y="1279"/>
                  </a:lnTo>
                  <a:lnTo>
                    <a:pt x="944" y="1270"/>
                  </a:lnTo>
                  <a:lnTo>
                    <a:pt x="957" y="1265"/>
                  </a:lnTo>
                  <a:lnTo>
                    <a:pt x="970" y="1258"/>
                  </a:lnTo>
                  <a:lnTo>
                    <a:pt x="983" y="1250"/>
                  </a:lnTo>
                  <a:lnTo>
                    <a:pt x="995" y="1240"/>
                  </a:lnTo>
                  <a:lnTo>
                    <a:pt x="1014" y="1224"/>
                  </a:lnTo>
                  <a:lnTo>
                    <a:pt x="1031" y="1208"/>
                  </a:lnTo>
                  <a:lnTo>
                    <a:pt x="1048" y="1191"/>
                  </a:lnTo>
                  <a:lnTo>
                    <a:pt x="1067" y="1177"/>
                  </a:lnTo>
                  <a:lnTo>
                    <a:pt x="1075" y="1171"/>
                  </a:lnTo>
                  <a:lnTo>
                    <a:pt x="1085" y="1166"/>
                  </a:lnTo>
                  <a:lnTo>
                    <a:pt x="1096" y="1162"/>
                  </a:lnTo>
                  <a:lnTo>
                    <a:pt x="1106" y="1158"/>
                  </a:lnTo>
                  <a:lnTo>
                    <a:pt x="1117" y="1157"/>
                  </a:lnTo>
                  <a:lnTo>
                    <a:pt x="1129" y="1156"/>
                  </a:lnTo>
                  <a:lnTo>
                    <a:pt x="1141" y="1156"/>
                  </a:lnTo>
                  <a:lnTo>
                    <a:pt x="1154" y="1158"/>
                  </a:lnTo>
                  <a:lnTo>
                    <a:pt x="1163" y="1159"/>
                  </a:lnTo>
                  <a:lnTo>
                    <a:pt x="1171" y="1159"/>
                  </a:lnTo>
                  <a:lnTo>
                    <a:pt x="1180" y="1159"/>
                  </a:lnTo>
                  <a:lnTo>
                    <a:pt x="1190" y="1158"/>
                  </a:lnTo>
                  <a:lnTo>
                    <a:pt x="1207" y="1152"/>
                  </a:lnTo>
                  <a:lnTo>
                    <a:pt x="1225" y="1146"/>
                  </a:lnTo>
                  <a:lnTo>
                    <a:pt x="1243" y="1137"/>
                  </a:lnTo>
                  <a:lnTo>
                    <a:pt x="1260" y="1128"/>
                  </a:lnTo>
                  <a:lnTo>
                    <a:pt x="1275" y="1117"/>
                  </a:lnTo>
                  <a:lnTo>
                    <a:pt x="1289" y="1107"/>
                  </a:lnTo>
                  <a:lnTo>
                    <a:pt x="1304" y="1097"/>
                  </a:lnTo>
                  <a:lnTo>
                    <a:pt x="1319" y="1088"/>
                  </a:lnTo>
                  <a:lnTo>
                    <a:pt x="1334" y="1078"/>
                  </a:lnTo>
                  <a:lnTo>
                    <a:pt x="1351" y="1069"/>
                  </a:lnTo>
                  <a:lnTo>
                    <a:pt x="1385" y="1052"/>
                  </a:lnTo>
                  <a:lnTo>
                    <a:pt x="1420" y="1036"/>
                  </a:lnTo>
                  <a:lnTo>
                    <a:pt x="1456" y="1022"/>
                  </a:lnTo>
                  <a:lnTo>
                    <a:pt x="1492" y="1008"/>
                  </a:lnTo>
                  <a:lnTo>
                    <a:pt x="1527" y="997"/>
                  </a:lnTo>
                  <a:lnTo>
                    <a:pt x="1561" y="987"/>
                  </a:lnTo>
                  <a:lnTo>
                    <a:pt x="1570" y="985"/>
                  </a:lnTo>
                  <a:lnTo>
                    <a:pt x="1579" y="984"/>
                  </a:lnTo>
                  <a:lnTo>
                    <a:pt x="1586" y="983"/>
                  </a:lnTo>
                  <a:lnTo>
                    <a:pt x="1594" y="983"/>
                  </a:lnTo>
                  <a:lnTo>
                    <a:pt x="1609" y="984"/>
                  </a:lnTo>
                  <a:lnTo>
                    <a:pt x="1623" y="985"/>
                  </a:lnTo>
                  <a:lnTo>
                    <a:pt x="1636" y="987"/>
                  </a:lnTo>
                  <a:lnTo>
                    <a:pt x="1650" y="989"/>
                  </a:lnTo>
                  <a:lnTo>
                    <a:pt x="1665" y="990"/>
                  </a:lnTo>
                  <a:lnTo>
                    <a:pt x="1680" y="990"/>
                  </a:lnTo>
                  <a:lnTo>
                    <a:pt x="1688" y="988"/>
                  </a:lnTo>
                  <a:lnTo>
                    <a:pt x="1696" y="986"/>
                  </a:lnTo>
                  <a:lnTo>
                    <a:pt x="1704" y="984"/>
                  </a:lnTo>
                  <a:lnTo>
                    <a:pt x="1710" y="981"/>
                  </a:lnTo>
                  <a:lnTo>
                    <a:pt x="1723" y="972"/>
                  </a:lnTo>
                  <a:lnTo>
                    <a:pt x="1736" y="962"/>
                  </a:lnTo>
                  <a:lnTo>
                    <a:pt x="1759" y="941"/>
                  </a:lnTo>
                  <a:lnTo>
                    <a:pt x="1782" y="919"/>
                  </a:lnTo>
                  <a:lnTo>
                    <a:pt x="1799" y="906"/>
                  </a:lnTo>
                  <a:lnTo>
                    <a:pt x="1815" y="891"/>
                  </a:lnTo>
                  <a:lnTo>
                    <a:pt x="1831" y="877"/>
                  </a:lnTo>
                  <a:lnTo>
                    <a:pt x="1848" y="862"/>
                  </a:lnTo>
                  <a:lnTo>
                    <a:pt x="1878" y="831"/>
                  </a:lnTo>
                  <a:lnTo>
                    <a:pt x="1909" y="798"/>
                  </a:lnTo>
                  <a:lnTo>
                    <a:pt x="1940" y="766"/>
                  </a:lnTo>
                  <a:lnTo>
                    <a:pt x="1972" y="736"/>
                  </a:lnTo>
                  <a:lnTo>
                    <a:pt x="1988" y="720"/>
                  </a:lnTo>
                  <a:lnTo>
                    <a:pt x="2005" y="706"/>
                  </a:lnTo>
                  <a:lnTo>
                    <a:pt x="2023" y="693"/>
                  </a:lnTo>
                  <a:lnTo>
                    <a:pt x="2041" y="680"/>
                  </a:lnTo>
                  <a:lnTo>
                    <a:pt x="2059" y="668"/>
                  </a:lnTo>
                  <a:lnTo>
                    <a:pt x="2078" y="655"/>
                  </a:lnTo>
                  <a:lnTo>
                    <a:pt x="2096" y="639"/>
                  </a:lnTo>
                  <a:lnTo>
                    <a:pt x="2114" y="624"/>
                  </a:lnTo>
                  <a:lnTo>
                    <a:pt x="2149" y="594"/>
                  </a:lnTo>
                  <a:lnTo>
                    <a:pt x="2184" y="562"/>
                  </a:lnTo>
                  <a:lnTo>
                    <a:pt x="2217" y="529"/>
                  </a:lnTo>
                  <a:lnTo>
                    <a:pt x="2252" y="498"/>
                  </a:lnTo>
                  <a:lnTo>
                    <a:pt x="2269" y="483"/>
                  </a:lnTo>
                  <a:lnTo>
                    <a:pt x="2287" y="468"/>
                  </a:lnTo>
                  <a:lnTo>
                    <a:pt x="2306" y="454"/>
                  </a:lnTo>
                  <a:lnTo>
                    <a:pt x="2324" y="441"/>
                  </a:lnTo>
                  <a:lnTo>
                    <a:pt x="2793" y="0"/>
                  </a:lnTo>
                  <a:lnTo>
                    <a:pt x="2793"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17" name="Freeform 18">
              <a:extLst>
                <a:ext uri="{FF2B5EF4-FFF2-40B4-BE49-F238E27FC236}">
                  <a16:creationId xmlns:a16="http://schemas.microsoft.com/office/drawing/2014/main" id="{16F9676B-2FB8-4D04-B33E-0F241C883EF7}"/>
                </a:ext>
              </a:extLst>
            </p:cNvPr>
            <p:cNvSpPr>
              <a:spLocks/>
            </p:cNvSpPr>
            <p:nvPr/>
          </p:nvSpPr>
          <p:spPr bwMode="auto">
            <a:xfrm>
              <a:off x="1865925" y="4891390"/>
              <a:ext cx="1013558" cy="1627569"/>
            </a:xfrm>
            <a:custGeom>
              <a:avLst/>
              <a:gdLst>
                <a:gd name="T0" fmla="*/ 1593 w 2224"/>
                <a:gd name="T1" fmla="*/ 40 h 4076"/>
                <a:gd name="T2" fmla="*/ 1600 w 2224"/>
                <a:gd name="T3" fmla="*/ 105 h 4076"/>
                <a:gd name="T4" fmla="*/ 1504 w 2224"/>
                <a:gd name="T5" fmla="*/ 287 h 4076"/>
                <a:gd name="T6" fmla="*/ 1459 w 2224"/>
                <a:gd name="T7" fmla="*/ 497 h 4076"/>
                <a:gd name="T8" fmla="*/ 1547 w 2224"/>
                <a:gd name="T9" fmla="*/ 728 h 4076"/>
                <a:gd name="T10" fmla="*/ 1666 w 2224"/>
                <a:gd name="T11" fmla="*/ 795 h 4076"/>
                <a:gd name="T12" fmla="*/ 1724 w 2224"/>
                <a:gd name="T13" fmla="*/ 943 h 4076"/>
                <a:gd name="T14" fmla="*/ 1827 w 2224"/>
                <a:gd name="T15" fmla="*/ 1071 h 4076"/>
                <a:gd name="T16" fmla="*/ 1861 w 2224"/>
                <a:gd name="T17" fmla="*/ 1166 h 4076"/>
                <a:gd name="T18" fmla="*/ 1893 w 2224"/>
                <a:gd name="T19" fmla="*/ 1269 h 4076"/>
                <a:gd name="T20" fmla="*/ 1800 w 2224"/>
                <a:gd name="T21" fmla="*/ 1347 h 4076"/>
                <a:gd name="T22" fmla="*/ 1850 w 2224"/>
                <a:gd name="T23" fmla="*/ 1483 h 4076"/>
                <a:gd name="T24" fmla="*/ 1993 w 2224"/>
                <a:gd name="T25" fmla="*/ 1574 h 4076"/>
                <a:gd name="T26" fmla="*/ 2109 w 2224"/>
                <a:gd name="T27" fmla="*/ 2012 h 4076"/>
                <a:gd name="T28" fmla="*/ 2160 w 2224"/>
                <a:gd name="T29" fmla="*/ 2230 h 4076"/>
                <a:gd name="T30" fmla="*/ 2152 w 2224"/>
                <a:gd name="T31" fmla="*/ 2400 h 4076"/>
                <a:gd name="T32" fmla="*/ 2174 w 2224"/>
                <a:gd name="T33" fmla="*/ 2616 h 4076"/>
                <a:gd name="T34" fmla="*/ 2120 w 2224"/>
                <a:gd name="T35" fmla="*/ 2773 h 4076"/>
                <a:gd name="T36" fmla="*/ 2109 w 2224"/>
                <a:gd name="T37" fmla="*/ 2981 h 4076"/>
                <a:gd name="T38" fmla="*/ 2133 w 2224"/>
                <a:gd name="T39" fmla="*/ 3330 h 4076"/>
                <a:gd name="T40" fmla="*/ 2061 w 2224"/>
                <a:gd name="T41" fmla="*/ 3518 h 4076"/>
                <a:gd name="T42" fmla="*/ 2085 w 2224"/>
                <a:gd name="T43" fmla="*/ 3746 h 4076"/>
                <a:gd name="T44" fmla="*/ 2180 w 2224"/>
                <a:gd name="T45" fmla="*/ 3819 h 4076"/>
                <a:gd name="T46" fmla="*/ 2221 w 2224"/>
                <a:gd name="T47" fmla="*/ 3901 h 4076"/>
                <a:gd name="T48" fmla="*/ 2116 w 2224"/>
                <a:gd name="T49" fmla="*/ 4005 h 4076"/>
                <a:gd name="T50" fmla="*/ 1991 w 2224"/>
                <a:gd name="T51" fmla="*/ 4076 h 4076"/>
                <a:gd name="T52" fmla="*/ 1922 w 2224"/>
                <a:gd name="T53" fmla="*/ 4026 h 4076"/>
                <a:gd name="T54" fmla="*/ 1831 w 2224"/>
                <a:gd name="T55" fmla="*/ 4004 h 4076"/>
                <a:gd name="T56" fmla="*/ 1788 w 2224"/>
                <a:gd name="T57" fmla="*/ 3904 h 4076"/>
                <a:gd name="T58" fmla="*/ 1666 w 2224"/>
                <a:gd name="T59" fmla="*/ 3866 h 4076"/>
                <a:gd name="T60" fmla="*/ 1660 w 2224"/>
                <a:gd name="T61" fmla="*/ 3758 h 4076"/>
                <a:gd name="T62" fmla="*/ 1655 w 2224"/>
                <a:gd name="T63" fmla="*/ 3675 h 4076"/>
                <a:gd name="T64" fmla="*/ 1542 w 2224"/>
                <a:gd name="T65" fmla="*/ 3594 h 4076"/>
                <a:gd name="T66" fmla="*/ 1590 w 2224"/>
                <a:gd name="T67" fmla="*/ 3511 h 4076"/>
                <a:gd name="T68" fmla="*/ 1558 w 2224"/>
                <a:gd name="T69" fmla="*/ 3439 h 4076"/>
                <a:gd name="T70" fmla="*/ 1451 w 2224"/>
                <a:gd name="T71" fmla="*/ 3390 h 4076"/>
                <a:gd name="T72" fmla="*/ 1262 w 2224"/>
                <a:gd name="T73" fmla="*/ 3386 h 4076"/>
                <a:gd name="T74" fmla="*/ 1146 w 2224"/>
                <a:gd name="T75" fmla="*/ 3439 h 4076"/>
                <a:gd name="T76" fmla="*/ 1056 w 2224"/>
                <a:gd name="T77" fmla="*/ 3411 h 4076"/>
                <a:gd name="T78" fmla="*/ 865 w 2224"/>
                <a:gd name="T79" fmla="*/ 3403 h 4076"/>
                <a:gd name="T80" fmla="*/ 772 w 2224"/>
                <a:gd name="T81" fmla="*/ 3418 h 4076"/>
                <a:gd name="T82" fmla="*/ 716 w 2224"/>
                <a:gd name="T83" fmla="*/ 3334 h 4076"/>
                <a:gd name="T84" fmla="*/ 567 w 2224"/>
                <a:gd name="T85" fmla="*/ 3312 h 4076"/>
                <a:gd name="T86" fmla="*/ 421 w 2224"/>
                <a:gd name="T87" fmla="*/ 3281 h 4076"/>
                <a:gd name="T88" fmla="*/ 300 w 2224"/>
                <a:gd name="T89" fmla="*/ 3289 h 4076"/>
                <a:gd name="T90" fmla="*/ 174 w 2224"/>
                <a:gd name="T91" fmla="*/ 3248 h 4076"/>
                <a:gd name="T92" fmla="*/ 0 w 2224"/>
                <a:gd name="T93" fmla="*/ 3132 h 4076"/>
                <a:gd name="T94" fmla="*/ 154 w 2224"/>
                <a:gd name="T95" fmla="*/ 2807 h 4076"/>
                <a:gd name="T96" fmla="*/ 314 w 2224"/>
                <a:gd name="T97" fmla="*/ 2588 h 4076"/>
                <a:gd name="T98" fmla="*/ 321 w 2224"/>
                <a:gd name="T99" fmla="*/ 2407 h 4076"/>
                <a:gd name="T100" fmla="*/ 431 w 2224"/>
                <a:gd name="T101" fmla="*/ 2220 h 4076"/>
                <a:gd name="T102" fmla="*/ 464 w 2224"/>
                <a:gd name="T103" fmla="*/ 2057 h 4076"/>
                <a:gd name="T104" fmla="*/ 462 w 2224"/>
                <a:gd name="T105" fmla="*/ 1923 h 4076"/>
                <a:gd name="T106" fmla="*/ 529 w 2224"/>
                <a:gd name="T107" fmla="*/ 1788 h 4076"/>
                <a:gd name="T108" fmla="*/ 610 w 2224"/>
                <a:gd name="T109" fmla="*/ 1690 h 4076"/>
                <a:gd name="T110" fmla="*/ 700 w 2224"/>
                <a:gd name="T111" fmla="*/ 1500 h 4076"/>
                <a:gd name="T112" fmla="*/ 841 w 2224"/>
                <a:gd name="T113" fmla="*/ 1256 h 4076"/>
                <a:gd name="T114" fmla="*/ 918 w 2224"/>
                <a:gd name="T115" fmla="*/ 1009 h 4076"/>
                <a:gd name="T116" fmla="*/ 1008 w 2224"/>
                <a:gd name="T117" fmla="*/ 775 h 4076"/>
                <a:gd name="T118" fmla="*/ 1097 w 2224"/>
                <a:gd name="T119" fmla="*/ 602 h 4076"/>
                <a:gd name="T120" fmla="*/ 1180 w 2224"/>
                <a:gd name="T121" fmla="*/ 374 h 4076"/>
                <a:gd name="T122" fmla="*/ 1239 w 2224"/>
                <a:gd name="T123" fmla="*/ 160 h 4076"/>
                <a:gd name="T124" fmla="*/ 1369 w 2224"/>
                <a:gd name="T125" fmla="*/ 113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4" h="4076">
                  <a:moveTo>
                    <a:pt x="1440" y="0"/>
                  </a:moveTo>
                  <a:lnTo>
                    <a:pt x="1447" y="0"/>
                  </a:lnTo>
                  <a:lnTo>
                    <a:pt x="1455" y="1"/>
                  </a:lnTo>
                  <a:lnTo>
                    <a:pt x="1461" y="2"/>
                  </a:lnTo>
                  <a:lnTo>
                    <a:pt x="1469" y="4"/>
                  </a:lnTo>
                  <a:lnTo>
                    <a:pt x="1483" y="11"/>
                  </a:lnTo>
                  <a:lnTo>
                    <a:pt x="1496" y="16"/>
                  </a:lnTo>
                  <a:lnTo>
                    <a:pt x="1523" y="24"/>
                  </a:lnTo>
                  <a:lnTo>
                    <a:pt x="1560" y="30"/>
                  </a:lnTo>
                  <a:lnTo>
                    <a:pt x="1578" y="35"/>
                  </a:lnTo>
                  <a:lnTo>
                    <a:pt x="1593" y="40"/>
                  </a:lnTo>
                  <a:lnTo>
                    <a:pt x="1600" y="43"/>
                  </a:lnTo>
                  <a:lnTo>
                    <a:pt x="1605" y="46"/>
                  </a:lnTo>
                  <a:lnTo>
                    <a:pt x="1609" y="51"/>
                  </a:lnTo>
                  <a:lnTo>
                    <a:pt x="1612" y="54"/>
                  </a:lnTo>
                  <a:lnTo>
                    <a:pt x="1613" y="58"/>
                  </a:lnTo>
                  <a:lnTo>
                    <a:pt x="1613" y="63"/>
                  </a:lnTo>
                  <a:lnTo>
                    <a:pt x="1613" y="68"/>
                  </a:lnTo>
                  <a:lnTo>
                    <a:pt x="1612" y="72"/>
                  </a:lnTo>
                  <a:lnTo>
                    <a:pt x="1609" y="83"/>
                  </a:lnTo>
                  <a:lnTo>
                    <a:pt x="1605" y="94"/>
                  </a:lnTo>
                  <a:lnTo>
                    <a:pt x="1600" y="105"/>
                  </a:lnTo>
                  <a:lnTo>
                    <a:pt x="1592" y="117"/>
                  </a:lnTo>
                  <a:lnTo>
                    <a:pt x="1585" y="128"/>
                  </a:lnTo>
                  <a:lnTo>
                    <a:pt x="1576" y="141"/>
                  </a:lnTo>
                  <a:lnTo>
                    <a:pt x="1559" y="166"/>
                  </a:lnTo>
                  <a:lnTo>
                    <a:pt x="1542" y="190"/>
                  </a:lnTo>
                  <a:lnTo>
                    <a:pt x="1535" y="201"/>
                  </a:lnTo>
                  <a:lnTo>
                    <a:pt x="1528" y="213"/>
                  </a:lnTo>
                  <a:lnTo>
                    <a:pt x="1523" y="222"/>
                  </a:lnTo>
                  <a:lnTo>
                    <a:pt x="1520" y="232"/>
                  </a:lnTo>
                  <a:lnTo>
                    <a:pt x="1511" y="260"/>
                  </a:lnTo>
                  <a:lnTo>
                    <a:pt x="1504" y="287"/>
                  </a:lnTo>
                  <a:lnTo>
                    <a:pt x="1495" y="313"/>
                  </a:lnTo>
                  <a:lnTo>
                    <a:pt x="1487" y="339"/>
                  </a:lnTo>
                  <a:lnTo>
                    <a:pt x="1480" y="365"/>
                  </a:lnTo>
                  <a:lnTo>
                    <a:pt x="1474" y="392"/>
                  </a:lnTo>
                  <a:lnTo>
                    <a:pt x="1470" y="420"/>
                  </a:lnTo>
                  <a:lnTo>
                    <a:pt x="1468" y="450"/>
                  </a:lnTo>
                  <a:lnTo>
                    <a:pt x="1464" y="458"/>
                  </a:lnTo>
                  <a:lnTo>
                    <a:pt x="1461" y="467"/>
                  </a:lnTo>
                  <a:lnTo>
                    <a:pt x="1459" y="476"/>
                  </a:lnTo>
                  <a:lnTo>
                    <a:pt x="1458" y="486"/>
                  </a:lnTo>
                  <a:lnTo>
                    <a:pt x="1459" y="497"/>
                  </a:lnTo>
                  <a:lnTo>
                    <a:pt x="1460" y="509"/>
                  </a:lnTo>
                  <a:lnTo>
                    <a:pt x="1463" y="521"/>
                  </a:lnTo>
                  <a:lnTo>
                    <a:pt x="1465" y="531"/>
                  </a:lnTo>
                  <a:lnTo>
                    <a:pt x="1472" y="554"/>
                  </a:lnTo>
                  <a:lnTo>
                    <a:pt x="1480" y="577"/>
                  </a:lnTo>
                  <a:lnTo>
                    <a:pt x="1488" y="595"/>
                  </a:lnTo>
                  <a:lnTo>
                    <a:pt x="1496" y="611"/>
                  </a:lnTo>
                  <a:lnTo>
                    <a:pt x="1511" y="647"/>
                  </a:lnTo>
                  <a:lnTo>
                    <a:pt x="1527" y="689"/>
                  </a:lnTo>
                  <a:lnTo>
                    <a:pt x="1537" y="710"/>
                  </a:lnTo>
                  <a:lnTo>
                    <a:pt x="1547" y="728"/>
                  </a:lnTo>
                  <a:lnTo>
                    <a:pt x="1552" y="737"/>
                  </a:lnTo>
                  <a:lnTo>
                    <a:pt x="1558" y="744"/>
                  </a:lnTo>
                  <a:lnTo>
                    <a:pt x="1564" y="751"/>
                  </a:lnTo>
                  <a:lnTo>
                    <a:pt x="1569" y="755"/>
                  </a:lnTo>
                  <a:lnTo>
                    <a:pt x="1579" y="761"/>
                  </a:lnTo>
                  <a:lnTo>
                    <a:pt x="1590" y="767"/>
                  </a:lnTo>
                  <a:lnTo>
                    <a:pt x="1601" y="771"/>
                  </a:lnTo>
                  <a:lnTo>
                    <a:pt x="1612" y="775"/>
                  </a:lnTo>
                  <a:lnTo>
                    <a:pt x="1634" y="783"/>
                  </a:lnTo>
                  <a:lnTo>
                    <a:pt x="1656" y="791"/>
                  </a:lnTo>
                  <a:lnTo>
                    <a:pt x="1666" y="795"/>
                  </a:lnTo>
                  <a:lnTo>
                    <a:pt x="1675" y="800"/>
                  </a:lnTo>
                  <a:lnTo>
                    <a:pt x="1684" y="807"/>
                  </a:lnTo>
                  <a:lnTo>
                    <a:pt x="1692" y="813"/>
                  </a:lnTo>
                  <a:lnTo>
                    <a:pt x="1698" y="822"/>
                  </a:lnTo>
                  <a:lnTo>
                    <a:pt x="1703" y="830"/>
                  </a:lnTo>
                  <a:lnTo>
                    <a:pt x="1708" y="842"/>
                  </a:lnTo>
                  <a:lnTo>
                    <a:pt x="1709" y="855"/>
                  </a:lnTo>
                  <a:lnTo>
                    <a:pt x="1711" y="872"/>
                  </a:lnTo>
                  <a:lnTo>
                    <a:pt x="1714" y="893"/>
                  </a:lnTo>
                  <a:lnTo>
                    <a:pt x="1719" y="918"/>
                  </a:lnTo>
                  <a:lnTo>
                    <a:pt x="1724" y="943"/>
                  </a:lnTo>
                  <a:lnTo>
                    <a:pt x="1730" y="969"/>
                  </a:lnTo>
                  <a:lnTo>
                    <a:pt x="1738" y="990"/>
                  </a:lnTo>
                  <a:lnTo>
                    <a:pt x="1742" y="1000"/>
                  </a:lnTo>
                  <a:lnTo>
                    <a:pt x="1747" y="1009"/>
                  </a:lnTo>
                  <a:lnTo>
                    <a:pt x="1752" y="1016"/>
                  </a:lnTo>
                  <a:lnTo>
                    <a:pt x="1756" y="1022"/>
                  </a:lnTo>
                  <a:lnTo>
                    <a:pt x="1777" y="1036"/>
                  </a:lnTo>
                  <a:lnTo>
                    <a:pt x="1803" y="1050"/>
                  </a:lnTo>
                  <a:lnTo>
                    <a:pt x="1814" y="1058"/>
                  </a:lnTo>
                  <a:lnTo>
                    <a:pt x="1823" y="1067"/>
                  </a:lnTo>
                  <a:lnTo>
                    <a:pt x="1827" y="1071"/>
                  </a:lnTo>
                  <a:lnTo>
                    <a:pt x="1830" y="1077"/>
                  </a:lnTo>
                  <a:lnTo>
                    <a:pt x="1831" y="1082"/>
                  </a:lnTo>
                  <a:lnTo>
                    <a:pt x="1832" y="1089"/>
                  </a:lnTo>
                  <a:lnTo>
                    <a:pt x="1832" y="1102"/>
                  </a:lnTo>
                  <a:lnTo>
                    <a:pt x="1833" y="1113"/>
                  </a:lnTo>
                  <a:lnTo>
                    <a:pt x="1836" y="1124"/>
                  </a:lnTo>
                  <a:lnTo>
                    <a:pt x="1840" y="1134"/>
                  </a:lnTo>
                  <a:lnTo>
                    <a:pt x="1845" y="1143"/>
                  </a:lnTo>
                  <a:lnTo>
                    <a:pt x="1849" y="1150"/>
                  </a:lnTo>
                  <a:lnTo>
                    <a:pt x="1856" y="1159"/>
                  </a:lnTo>
                  <a:lnTo>
                    <a:pt x="1861" y="1166"/>
                  </a:lnTo>
                  <a:lnTo>
                    <a:pt x="1874" y="1181"/>
                  </a:lnTo>
                  <a:lnTo>
                    <a:pt x="1886" y="1197"/>
                  </a:lnTo>
                  <a:lnTo>
                    <a:pt x="1891" y="1205"/>
                  </a:lnTo>
                  <a:lnTo>
                    <a:pt x="1896" y="1215"/>
                  </a:lnTo>
                  <a:lnTo>
                    <a:pt x="1900" y="1226"/>
                  </a:lnTo>
                  <a:lnTo>
                    <a:pt x="1902" y="1237"/>
                  </a:lnTo>
                  <a:lnTo>
                    <a:pt x="1903" y="1244"/>
                  </a:lnTo>
                  <a:lnTo>
                    <a:pt x="1902" y="1252"/>
                  </a:lnTo>
                  <a:lnTo>
                    <a:pt x="1900" y="1258"/>
                  </a:lnTo>
                  <a:lnTo>
                    <a:pt x="1897" y="1264"/>
                  </a:lnTo>
                  <a:lnTo>
                    <a:pt x="1893" y="1269"/>
                  </a:lnTo>
                  <a:lnTo>
                    <a:pt x="1887" y="1273"/>
                  </a:lnTo>
                  <a:lnTo>
                    <a:pt x="1882" y="1278"/>
                  </a:lnTo>
                  <a:lnTo>
                    <a:pt x="1875" y="1282"/>
                  </a:lnTo>
                  <a:lnTo>
                    <a:pt x="1847" y="1295"/>
                  </a:lnTo>
                  <a:lnTo>
                    <a:pt x="1822" y="1308"/>
                  </a:lnTo>
                  <a:lnTo>
                    <a:pt x="1818" y="1311"/>
                  </a:lnTo>
                  <a:lnTo>
                    <a:pt x="1814" y="1315"/>
                  </a:lnTo>
                  <a:lnTo>
                    <a:pt x="1810" y="1320"/>
                  </a:lnTo>
                  <a:lnTo>
                    <a:pt x="1807" y="1324"/>
                  </a:lnTo>
                  <a:lnTo>
                    <a:pt x="1802" y="1335"/>
                  </a:lnTo>
                  <a:lnTo>
                    <a:pt x="1800" y="1347"/>
                  </a:lnTo>
                  <a:lnTo>
                    <a:pt x="1797" y="1361"/>
                  </a:lnTo>
                  <a:lnTo>
                    <a:pt x="1799" y="1374"/>
                  </a:lnTo>
                  <a:lnTo>
                    <a:pt x="1800" y="1388"/>
                  </a:lnTo>
                  <a:lnTo>
                    <a:pt x="1803" y="1403"/>
                  </a:lnTo>
                  <a:lnTo>
                    <a:pt x="1806" y="1417"/>
                  </a:lnTo>
                  <a:lnTo>
                    <a:pt x="1811" y="1430"/>
                  </a:lnTo>
                  <a:lnTo>
                    <a:pt x="1818" y="1443"/>
                  </a:lnTo>
                  <a:lnTo>
                    <a:pt x="1826" y="1456"/>
                  </a:lnTo>
                  <a:lnTo>
                    <a:pt x="1833" y="1467"/>
                  </a:lnTo>
                  <a:lnTo>
                    <a:pt x="1842" y="1475"/>
                  </a:lnTo>
                  <a:lnTo>
                    <a:pt x="1850" y="1483"/>
                  </a:lnTo>
                  <a:lnTo>
                    <a:pt x="1860" y="1488"/>
                  </a:lnTo>
                  <a:lnTo>
                    <a:pt x="1890" y="1500"/>
                  </a:lnTo>
                  <a:lnTo>
                    <a:pt x="1917" y="1512"/>
                  </a:lnTo>
                  <a:lnTo>
                    <a:pt x="1930" y="1517"/>
                  </a:lnTo>
                  <a:lnTo>
                    <a:pt x="1942" y="1523"/>
                  </a:lnTo>
                  <a:lnTo>
                    <a:pt x="1953" y="1529"/>
                  </a:lnTo>
                  <a:lnTo>
                    <a:pt x="1963" y="1536"/>
                  </a:lnTo>
                  <a:lnTo>
                    <a:pt x="1971" y="1543"/>
                  </a:lnTo>
                  <a:lnTo>
                    <a:pt x="1980" y="1552"/>
                  </a:lnTo>
                  <a:lnTo>
                    <a:pt x="1988" y="1562"/>
                  </a:lnTo>
                  <a:lnTo>
                    <a:pt x="1993" y="1574"/>
                  </a:lnTo>
                  <a:lnTo>
                    <a:pt x="1998" y="1585"/>
                  </a:lnTo>
                  <a:lnTo>
                    <a:pt x="2003" y="1601"/>
                  </a:lnTo>
                  <a:lnTo>
                    <a:pt x="2005" y="1617"/>
                  </a:lnTo>
                  <a:lnTo>
                    <a:pt x="2007" y="1636"/>
                  </a:lnTo>
                  <a:lnTo>
                    <a:pt x="2053" y="1854"/>
                  </a:lnTo>
                  <a:lnTo>
                    <a:pt x="2059" y="1875"/>
                  </a:lnTo>
                  <a:lnTo>
                    <a:pt x="2064" y="1894"/>
                  </a:lnTo>
                  <a:lnTo>
                    <a:pt x="2071" y="1915"/>
                  </a:lnTo>
                  <a:lnTo>
                    <a:pt x="2077" y="1934"/>
                  </a:lnTo>
                  <a:lnTo>
                    <a:pt x="2092" y="1973"/>
                  </a:lnTo>
                  <a:lnTo>
                    <a:pt x="2109" y="2012"/>
                  </a:lnTo>
                  <a:lnTo>
                    <a:pt x="2125" y="2050"/>
                  </a:lnTo>
                  <a:lnTo>
                    <a:pt x="2139" y="2089"/>
                  </a:lnTo>
                  <a:lnTo>
                    <a:pt x="2145" y="2109"/>
                  </a:lnTo>
                  <a:lnTo>
                    <a:pt x="2151" y="2129"/>
                  </a:lnTo>
                  <a:lnTo>
                    <a:pt x="2156" y="2148"/>
                  </a:lnTo>
                  <a:lnTo>
                    <a:pt x="2160" y="2169"/>
                  </a:lnTo>
                  <a:lnTo>
                    <a:pt x="2163" y="2180"/>
                  </a:lnTo>
                  <a:lnTo>
                    <a:pt x="2164" y="2190"/>
                  </a:lnTo>
                  <a:lnTo>
                    <a:pt x="2164" y="2201"/>
                  </a:lnTo>
                  <a:lnTo>
                    <a:pt x="2164" y="2211"/>
                  </a:lnTo>
                  <a:lnTo>
                    <a:pt x="2160" y="2230"/>
                  </a:lnTo>
                  <a:lnTo>
                    <a:pt x="2156" y="2250"/>
                  </a:lnTo>
                  <a:lnTo>
                    <a:pt x="2151" y="2268"/>
                  </a:lnTo>
                  <a:lnTo>
                    <a:pt x="2145" y="2288"/>
                  </a:lnTo>
                  <a:lnTo>
                    <a:pt x="2143" y="2298"/>
                  </a:lnTo>
                  <a:lnTo>
                    <a:pt x="2142" y="2309"/>
                  </a:lnTo>
                  <a:lnTo>
                    <a:pt x="2141" y="2320"/>
                  </a:lnTo>
                  <a:lnTo>
                    <a:pt x="2141" y="2331"/>
                  </a:lnTo>
                  <a:lnTo>
                    <a:pt x="2142" y="2349"/>
                  </a:lnTo>
                  <a:lnTo>
                    <a:pt x="2144" y="2367"/>
                  </a:lnTo>
                  <a:lnTo>
                    <a:pt x="2147" y="2384"/>
                  </a:lnTo>
                  <a:lnTo>
                    <a:pt x="2152" y="2400"/>
                  </a:lnTo>
                  <a:lnTo>
                    <a:pt x="2163" y="2432"/>
                  </a:lnTo>
                  <a:lnTo>
                    <a:pt x="2172" y="2463"/>
                  </a:lnTo>
                  <a:lnTo>
                    <a:pt x="2178" y="2479"/>
                  </a:lnTo>
                  <a:lnTo>
                    <a:pt x="2182" y="2495"/>
                  </a:lnTo>
                  <a:lnTo>
                    <a:pt x="2185" y="2511"/>
                  </a:lnTo>
                  <a:lnTo>
                    <a:pt x="2187" y="2527"/>
                  </a:lnTo>
                  <a:lnTo>
                    <a:pt x="2189" y="2544"/>
                  </a:lnTo>
                  <a:lnTo>
                    <a:pt x="2187" y="2563"/>
                  </a:lnTo>
                  <a:lnTo>
                    <a:pt x="2184" y="2582"/>
                  </a:lnTo>
                  <a:lnTo>
                    <a:pt x="2180" y="2602"/>
                  </a:lnTo>
                  <a:lnTo>
                    <a:pt x="2174" y="2616"/>
                  </a:lnTo>
                  <a:lnTo>
                    <a:pt x="2168" y="2630"/>
                  </a:lnTo>
                  <a:lnTo>
                    <a:pt x="2160" y="2643"/>
                  </a:lnTo>
                  <a:lnTo>
                    <a:pt x="2152" y="2657"/>
                  </a:lnTo>
                  <a:lnTo>
                    <a:pt x="2144" y="2670"/>
                  </a:lnTo>
                  <a:lnTo>
                    <a:pt x="2137" y="2684"/>
                  </a:lnTo>
                  <a:lnTo>
                    <a:pt x="2130" y="2698"/>
                  </a:lnTo>
                  <a:lnTo>
                    <a:pt x="2126" y="2714"/>
                  </a:lnTo>
                  <a:lnTo>
                    <a:pt x="2123" y="2730"/>
                  </a:lnTo>
                  <a:lnTo>
                    <a:pt x="2122" y="2745"/>
                  </a:lnTo>
                  <a:lnTo>
                    <a:pt x="2120" y="2759"/>
                  </a:lnTo>
                  <a:lnTo>
                    <a:pt x="2120" y="2773"/>
                  </a:lnTo>
                  <a:lnTo>
                    <a:pt x="2120" y="2803"/>
                  </a:lnTo>
                  <a:lnTo>
                    <a:pt x="2122" y="2834"/>
                  </a:lnTo>
                  <a:lnTo>
                    <a:pt x="2116" y="2862"/>
                  </a:lnTo>
                  <a:lnTo>
                    <a:pt x="2110" y="2888"/>
                  </a:lnTo>
                  <a:lnTo>
                    <a:pt x="2107" y="2901"/>
                  </a:lnTo>
                  <a:lnTo>
                    <a:pt x="2105" y="2915"/>
                  </a:lnTo>
                  <a:lnTo>
                    <a:pt x="2103" y="2929"/>
                  </a:lnTo>
                  <a:lnTo>
                    <a:pt x="2103" y="2943"/>
                  </a:lnTo>
                  <a:lnTo>
                    <a:pt x="2104" y="2956"/>
                  </a:lnTo>
                  <a:lnTo>
                    <a:pt x="2106" y="2969"/>
                  </a:lnTo>
                  <a:lnTo>
                    <a:pt x="2109" y="2981"/>
                  </a:lnTo>
                  <a:lnTo>
                    <a:pt x="2112" y="2994"/>
                  </a:lnTo>
                  <a:lnTo>
                    <a:pt x="2116" y="3019"/>
                  </a:lnTo>
                  <a:lnTo>
                    <a:pt x="2119" y="3044"/>
                  </a:lnTo>
                  <a:lnTo>
                    <a:pt x="2123" y="3084"/>
                  </a:lnTo>
                  <a:lnTo>
                    <a:pt x="2127" y="3124"/>
                  </a:lnTo>
                  <a:lnTo>
                    <a:pt x="2131" y="3165"/>
                  </a:lnTo>
                  <a:lnTo>
                    <a:pt x="2134" y="3208"/>
                  </a:lnTo>
                  <a:lnTo>
                    <a:pt x="2137" y="3249"/>
                  </a:lnTo>
                  <a:lnTo>
                    <a:pt x="2137" y="3290"/>
                  </a:lnTo>
                  <a:lnTo>
                    <a:pt x="2136" y="3310"/>
                  </a:lnTo>
                  <a:lnTo>
                    <a:pt x="2133" y="3330"/>
                  </a:lnTo>
                  <a:lnTo>
                    <a:pt x="2131" y="3350"/>
                  </a:lnTo>
                  <a:lnTo>
                    <a:pt x="2128" y="3370"/>
                  </a:lnTo>
                  <a:lnTo>
                    <a:pt x="2104" y="3406"/>
                  </a:lnTo>
                  <a:lnTo>
                    <a:pt x="2080" y="3445"/>
                  </a:lnTo>
                  <a:lnTo>
                    <a:pt x="2075" y="3455"/>
                  </a:lnTo>
                  <a:lnTo>
                    <a:pt x="2071" y="3465"/>
                  </a:lnTo>
                  <a:lnTo>
                    <a:pt x="2068" y="3475"/>
                  </a:lnTo>
                  <a:lnTo>
                    <a:pt x="2064" y="3485"/>
                  </a:lnTo>
                  <a:lnTo>
                    <a:pt x="2062" y="3496"/>
                  </a:lnTo>
                  <a:lnTo>
                    <a:pt x="2061" y="3507"/>
                  </a:lnTo>
                  <a:lnTo>
                    <a:pt x="2061" y="3518"/>
                  </a:lnTo>
                  <a:lnTo>
                    <a:pt x="2062" y="3529"/>
                  </a:lnTo>
                  <a:lnTo>
                    <a:pt x="2069" y="3565"/>
                  </a:lnTo>
                  <a:lnTo>
                    <a:pt x="2077" y="3600"/>
                  </a:lnTo>
                  <a:lnTo>
                    <a:pt x="2080" y="3617"/>
                  </a:lnTo>
                  <a:lnTo>
                    <a:pt x="2083" y="3634"/>
                  </a:lnTo>
                  <a:lnTo>
                    <a:pt x="2084" y="3653"/>
                  </a:lnTo>
                  <a:lnTo>
                    <a:pt x="2084" y="3672"/>
                  </a:lnTo>
                  <a:lnTo>
                    <a:pt x="2082" y="3699"/>
                  </a:lnTo>
                  <a:lnTo>
                    <a:pt x="2083" y="3724"/>
                  </a:lnTo>
                  <a:lnTo>
                    <a:pt x="2084" y="3736"/>
                  </a:lnTo>
                  <a:lnTo>
                    <a:pt x="2085" y="3746"/>
                  </a:lnTo>
                  <a:lnTo>
                    <a:pt x="2088" y="3756"/>
                  </a:lnTo>
                  <a:lnTo>
                    <a:pt x="2091" y="3766"/>
                  </a:lnTo>
                  <a:lnTo>
                    <a:pt x="2096" y="3775"/>
                  </a:lnTo>
                  <a:lnTo>
                    <a:pt x="2102" y="3782"/>
                  </a:lnTo>
                  <a:lnTo>
                    <a:pt x="2109" y="3790"/>
                  </a:lnTo>
                  <a:lnTo>
                    <a:pt x="2117" y="3796"/>
                  </a:lnTo>
                  <a:lnTo>
                    <a:pt x="2127" y="3803"/>
                  </a:lnTo>
                  <a:lnTo>
                    <a:pt x="2139" y="3808"/>
                  </a:lnTo>
                  <a:lnTo>
                    <a:pt x="2152" y="3812"/>
                  </a:lnTo>
                  <a:lnTo>
                    <a:pt x="2167" y="3816"/>
                  </a:lnTo>
                  <a:lnTo>
                    <a:pt x="2180" y="3819"/>
                  </a:lnTo>
                  <a:lnTo>
                    <a:pt x="2191" y="3823"/>
                  </a:lnTo>
                  <a:lnTo>
                    <a:pt x="2200" y="3829"/>
                  </a:lnTo>
                  <a:lnTo>
                    <a:pt x="2208" y="3834"/>
                  </a:lnTo>
                  <a:lnTo>
                    <a:pt x="2213" y="3840"/>
                  </a:lnTo>
                  <a:lnTo>
                    <a:pt x="2218" y="3848"/>
                  </a:lnTo>
                  <a:lnTo>
                    <a:pt x="2221" y="3856"/>
                  </a:lnTo>
                  <a:lnTo>
                    <a:pt x="2223" y="3863"/>
                  </a:lnTo>
                  <a:lnTo>
                    <a:pt x="2224" y="3872"/>
                  </a:lnTo>
                  <a:lnTo>
                    <a:pt x="2224" y="3881"/>
                  </a:lnTo>
                  <a:lnTo>
                    <a:pt x="2223" y="3891"/>
                  </a:lnTo>
                  <a:lnTo>
                    <a:pt x="2221" y="3901"/>
                  </a:lnTo>
                  <a:lnTo>
                    <a:pt x="2214" y="3923"/>
                  </a:lnTo>
                  <a:lnTo>
                    <a:pt x="2205" y="3944"/>
                  </a:lnTo>
                  <a:lnTo>
                    <a:pt x="2167" y="4019"/>
                  </a:lnTo>
                  <a:lnTo>
                    <a:pt x="2167" y="4019"/>
                  </a:lnTo>
                  <a:lnTo>
                    <a:pt x="2164" y="4016"/>
                  </a:lnTo>
                  <a:lnTo>
                    <a:pt x="2160" y="4014"/>
                  </a:lnTo>
                  <a:lnTo>
                    <a:pt x="2156" y="4011"/>
                  </a:lnTo>
                  <a:lnTo>
                    <a:pt x="2152" y="4010"/>
                  </a:lnTo>
                  <a:lnTo>
                    <a:pt x="2139" y="4007"/>
                  </a:lnTo>
                  <a:lnTo>
                    <a:pt x="2122" y="4005"/>
                  </a:lnTo>
                  <a:lnTo>
                    <a:pt x="2116" y="4005"/>
                  </a:lnTo>
                  <a:lnTo>
                    <a:pt x="2111" y="4006"/>
                  </a:lnTo>
                  <a:lnTo>
                    <a:pt x="2105" y="4007"/>
                  </a:lnTo>
                  <a:lnTo>
                    <a:pt x="2100" y="4010"/>
                  </a:lnTo>
                  <a:lnTo>
                    <a:pt x="2089" y="4015"/>
                  </a:lnTo>
                  <a:lnTo>
                    <a:pt x="2077" y="4023"/>
                  </a:lnTo>
                  <a:lnTo>
                    <a:pt x="2053" y="4041"/>
                  </a:lnTo>
                  <a:lnTo>
                    <a:pt x="2029" y="4059"/>
                  </a:lnTo>
                  <a:lnTo>
                    <a:pt x="2016" y="4066"/>
                  </a:lnTo>
                  <a:lnTo>
                    <a:pt x="2004" y="4073"/>
                  </a:lnTo>
                  <a:lnTo>
                    <a:pt x="1997" y="4074"/>
                  </a:lnTo>
                  <a:lnTo>
                    <a:pt x="1991" y="4076"/>
                  </a:lnTo>
                  <a:lnTo>
                    <a:pt x="1984" y="4076"/>
                  </a:lnTo>
                  <a:lnTo>
                    <a:pt x="1978" y="4076"/>
                  </a:lnTo>
                  <a:lnTo>
                    <a:pt x="1971" y="4075"/>
                  </a:lnTo>
                  <a:lnTo>
                    <a:pt x="1965" y="4074"/>
                  </a:lnTo>
                  <a:lnTo>
                    <a:pt x="1958" y="4070"/>
                  </a:lnTo>
                  <a:lnTo>
                    <a:pt x="1952" y="4066"/>
                  </a:lnTo>
                  <a:lnTo>
                    <a:pt x="1947" y="4061"/>
                  </a:lnTo>
                  <a:lnTo>
                    <a:pt x="1940" y="4055"/>
                  </a:lnTo>
                  <a:lnTo>
                    <a:pt x="1934" y="4047"/>
                  </a:lnTo>
                  <a:lnTo>
                    <a:pt x="1927" y="4038"/>
                  </a:lnTo>
                  <a:lnTo>
                    <a:pt x="1922" y="4026"/>
                  </a:lnTo>
                  <a:lnTo>
                    <a:pt x="1917" y="4018"/>
                  </a:lnTo>
                  <a:lnTo>
                    <a:pt x="1913" y="4011"/>
                  </a:lnTo>
                  <a:lnTo>
                    <a:pt x="1908" y="4007"/>
                  </a:lnTo>
                  <a:lnTo>
                    <a:pt x="1902" y="4006"/>
                  </a:lnTo>
                  <a:lnTo>
                    <a:pt x="1895" y="4005"/>
                  </a:lnTo>
                  <a:lnTo>
                    <a:pt x="1886" y="4006"/>
                  </a:lnTo>
                  <a:lnTo>
                    <a:pt x="1874" y="4008"/>
                  </a:lnTo>
                  <a:lnTo>
                    <a:pt x="1860" y="4010"/>
                  </a:lnTo>
                  <a:lnTo>
                    <a:pt x="1848" y="4009"/>
                  </a:lnTo>
                  <a:lnTo>
                    <a:pt x="1840" y="4008"/>
                  </a:lnTo>
                  <a:lnTo>
                    <a:pt x="1831" y="4004"/>
                  </a:lnTo>
                  <a:lnTo>
                    <a:pt x="1824" y="3999"/>
                  </a:lnTo>
                  <a:lnTo>
                    <a:pt x="1820" y="3993"/>
                  </a:lnTo>
                  <a:lnTo>
                    <a:pt x="1816" y="3985"/>
                  </a:lnTo>
                  <a:lnTo>
                    <a:pt x="1813" y="3978"/>
                  </a:lnTo>
                  <a:lnTo>
                    <a:pt x="1808" y="3959"/>
                  </a:lnTo>
                  <a:lnTo>
                    <a:pt x="1805" y="3941"/>
                  </a:lnTo>
                  <a:lnTo>
                    <a:pt x="1803" y="3931"/>
                  </a:lnTo>
                  <a:lnTo>
                    <a:pt x="1800" y="3923"/>
                  </a:lnTo>
                  <a:lnTo>
                    <a:pt x="1796" y="3914"/>
                  </a:lnTo>
                  <a:lnTo>
                    <a:pt x="1792" y="3906"/>
                  </a:lnTo>
                  <a:lnTo>
                    <a:pt x="1788" y="3904"/>
                  </a:lnTo>
                  <a:lnTo>
                    <a:pt x="1782" y="3903"/>
                  </a:lnTo>
                  <a:lnTo>
                    <a:pt x="1776" y="3902"/>
                  </a:lnTo>
                  <a:lnTo>
                    <a:pt x="1768" y="3903"/>
                  </a:lnTo>
                  <a:lnTo>
                    <a:pt x="1752" y="3904"/>
                  </a:lnTo>
                  <a:lnTo>
                    <a:pt x="1740" y="3904"/>
                  </a:lnTo>
                  <a:lnTo>
                    <a:pt x="1729" y="3901"/>
                  </a:lnTo>
                  <a:lnTo>
                    <a:pt x="1717" y="3897"/>
                  </a:lnTo>
                  <a:lnTo>
                    <a:pt x="1703" y="3890"/>
                  </a:lnTo>
                  <a:lnTo>
                    <a:pt x="1690" y="3883"/>
                  </a:lnTo>
                  <a:lnTo>
                    <a:pt x="1678" y="3875"/>
                  </a:lnTo>
                  <a:lnTo>
                    <a:pt x="1666" y="3866"/>
                  </a:lnTo>
                  <a:lnTo>
                    <a:pt x="1656" y="3858"/>
                  </a:lnTo>
                  <a:lnTo>
                    <a:pt x="1649" y="3849"/>
                  </a:lnTo>
                  <a:lnTo>
                    <a:pt x="1645" y="3842"/>
                  </a:lnTo>
                  <a:lnTo>
                    <a:pt x="1643" y="3834"/>
                  </a:lnTo>
                  <a:lnTo>
                    <a:pt x="1642" y="3825"/>
                  </a:lnTo>
                  <a:lnTo>
                    <a:pt x="1642" y="3816"/>
                  </a:lnTo>
                  <a:lnTo>
                    <a:pt x="1644" y="3807"/>
                  </a:lnTo>
                  <a:lnTo>
                    <a:pt x="1646" y="3797"/>
                  </a:lnTo>
                  <a:lnTo>
                    <a:pt x="1649" y="3788"/>
                  </a:lnTo>
                  <a:lnTo>
                    <a:pt x="1653" y="3778"/>
                  </a:lnTo>
                  <a:lnTo>
                    <a:pt x="1660" y="3758"/>
                  </a:lnTo>
                  <a:lnTo>
                    <a:pt x="1668" y="3739"/>
                  </a:lnTo>
                  <a:lnTo>
                    <a:pt x="1671" y="3729"/>
                  </a:lnTo>
                  <a:lnTo>
                    <a:pt x="1673" y="3719"/>
                  </a:lnTo>
                  <a:lnTo>
                    <a:pt x="1674" y="3711"/>
                  </a:lnTo>
                  <a:lnTo>
                    <a:pt x="1674" y="3702"/>
                  </a:lnTo>
                  <a:lnTo>
                    <a:pt x="1674" y="3698"/>
                  </a:lnTo>
                  <a:lnTo>
                    <a:pt x="1672" y="3695"/>
                  </a:lnTo>
                  <a:lnTo>
                    <a:pt x="1671" y="3690"/>
                  </a:lnTo>
                  <a:lnTo>
                    <a:pt x="1669" y="3687"/>
                  </a:lnTo>
                  <a:lnTo>
                    <a:pt x="1662" y="3681"/>
                  </a:lnTo>
                  <a:lnTo>
                    <a:pt x="1655" y="3675"/>
                  </a:lnTo>
                  <a:lnTo>
                    <a:pt x="1634" y="3664"/>
                  </a:lnTo>
                  <a:lnTo>
                    <a:pt x="1613" y="3654"/>
                  </a:lnTo>
                  <a:lnTo>
                    <a:pt x="1601" y="3648"/>
                  </a:lnTo>
                  <a:lnTo>
                    <a:pt x="1589" y="3642"/>
                  </a:lnTo>
                  <a:lnTo>
                    <a:pt x="1578" y="3635"/>
                  </a:lnTo>
                  <a:lnTo>
                    <a:pt x="1567" y="3628"/>
                  </a:lnTo>
                  <a:lnTo>
                    <a:pt x="1559" y="3620"/>
                  </a:lnTo>
                  <a:lnTo>
                    <a:pt x="1550" y="3610"/>
                  </a:lnTo>
                  <a:lnTo>
                    <a:pt x="1547" y="3606"/>
                  </a:lnTo>
                  <a:lnTo>
                    <a:pt x="1545" y="3601"/>
                  </a:lnTo>
                  <a:lnTo>
                    <a:pt x="1542" y="3594"/>
                  </a:lnTo>
                  <a:lnTo>
                    <a:pt x="1540" y="3589"/>
                  </a:lnTo>
                  <a:lnTo>
                    <a:pt x="1546" y="3577"/>
                  </a:lnTo>
                  <a:lnTo>
                    <a:pt x="1549" y="3565"/>
                  </a:lnTo>
                  <a:lnTo>
                    <a:pt x="1551" y="3560"/>
                  </a:lnTo>
                  <a:lnTo>
                    <a:pt x="1553" y="3554"/>
                  </a:lnTo>
                  <a:lnTo>
                    <a:pt x="1557" y="3548"/>
                  </a:lnTo>
                  <a:lnTo>
                    <a:pt x="1561" y="3542"/>
                  </a:lnTo>
                  <a:lnTo>
                    <a:pt x="1573" y="3532"/>
                  </a:lnTo>
                  <a:lnTo>
                    <a:pt x="1582" y="3522"/>
                  </a:lnTo>
                  <a:lnTo>
                    <a:pt x="1587" y="3516"/>
                  </a:lnTo>
                  <a:lnTo>
                    <a:pt x="1590" y="3511"/>
                  </a:lnTo>
                  <a:lnTo>
                    <a:pt x="1592" y="3503"/>
                  </a:lnTo>
                  <a:lnTo>
                    <a:pt x="1593" y="3495"/>
                  </a:lnTo>
                  <a:lnTo>
                    <a:pt x="1593" y="3488"/>
                  </a:lnTo>
                  <a:lnTo>
                    <a:pt x="1591" y="3483"/>
                  </a:lnTo>
                  <a:lnTo>
                    <a:pt x="1589" y="3480"/>
                  </a:lnTo>
                  <a:lnTo>
                    <a:pt x="1585" y="3476"/>
                  </a:lnTo>
                  <a:lnTo>
                    <a:pt x="1580" y="3473"/>
                  </a:lnTo>
                  <a:lnTo>
                    <a:pt x="1576" y="3471"/>
                  </a:lnTo>
                  <a:lnTo>
                    <a:pt x="1572" y="3467"/>
                  </a:lnTo>
                  <a:lnTo>
                    <a:pt x="1568" y="3462"/>
                  </a:lnTo>
                  <a:lnTo>
                    <a:pt x="1558" y="3439"/>
                  </a:lnTo>
                  <a:lnTo>
                    <a:pt x="1551" y="3428"/>
                  </a:lnTo>
                  <a:lnTo>
                    <a:pt x="1547" y="3425"/>
                  </a:lnTo>
                  <a:lnTo>
                    <a:pt x="1539" y="3424"/>
                  </a:lnTo>
                  <a:lnTo>
                    <a:pt x="1528" y="3421"/>
                  </a:lnTo>
                  <a:lnTo>
                    <a:pt x="1512" y="3420"/>
                  </a:lnTo>
                  <a:lnTo>
                    <a:pt x="1500" y="3417"/>
                  </a:lnTo>
                  <a:lnTo>
                    <a:pt x="1491" y="3413"/>
                  </a:lnTo>
                  <a:lnTo>
                    <a:pt x="1480" y="3407"/>
                  </a:lnTo>
                  <a:lnTo>
                    <a:pt x="1470" y="3402"/>
                  </a:lnTo>
                  <a:lnTo>
                    <a:pt x="1461" y="3395"/>
                  </a:lnTo>
                  <a:lnTo>
                    <a:pt x="1451" y="3390"/>
                  </a:lnTo>
                  <a:lnTo>
                    <a:pt x="1441" y="3386"/>
                  </a:lnTo>
                  <a:lnTo>
                    <a:pt x="1429" y="3384"/>
                  </a:lnTo>
                  <a:lnTo>
                    <a:pt x="1411" y="3381"/>
                  </a:lnTo>
                  <a:lnTo>
                    <a:pt x="1391" y="3381"/>
                  </a:lnTo>
                  <a:lnTo>
                    <a:pt x="1372" y="3383"/>
                  </a:lnTo>
                  <a:lnTo>
                    <a:pt x="1352" y="3384"/>
                  </a:lnTo>
                  <a:lnTo>
                    <a:pt x="1332" y="3386"/>
                  </a:lnTo>
                  <a:lnTo>
                    <a:pt x="1312" y="3387"/>
                  </a:lnTo>
                  <a:lnTo>
                    <a:pt x="1292" y="3388"/>
                  </a:lnTo>
                  <a:lnTo>
                    <a:pt x="1272" y="3387"/>
                  </a:lnTo>
                  <a:lnTo>
                    <a:pt x="1262" y="3386"/>
                  </a:lnTo>
                  <a:lnTo>
                    <a:pt x="1252" y="3386"/>
                  </a:lnTo>
                  <a:lnTo>
                    <a:pt x="1242" y="3386"/>
                  </a:lnTo>
                  <a:lnTo>
                    <a:pt x="1234" y="3387"/>
                  </a:lnTo>
                  <a:lnTo>
                    <a:pt x="1225" y="3388"/>
                  </a:lnTo>
                  <a:lnTo>
                    <a:pt x="1217" y="3390"/>
                  </a:lnTo>
                  <a:lnTo>
                    <a:pt x="1210" y="3393"/>
                  </a:lnTo>
                  <a:lnTo>
                    <a:pt x="1202" y="3397"/>
                  </a:lnTo>
                  <a:lnTo>
                    <a:pt x="1188" y="3404"/>
                  </a:lnTo>
                  <a:lnTo>
                    <a:pt x="1174" y="3414"/>
                  </a:lnTo>
                  <a:lnTo>
                    <a:pt x="1160" y="3426"/>
                  </a:lnTo>
                  <a:lnTo>
                    <a:pt x="1146" y="3439"/>
                  </a:lnTo>
                  <a:lnTo>
                    <a:pt x="1141" y="3443"/>
                  </a:lnTo>
                  <a:lnTo>
                    <a:pt x="1135" y="3447"/>
                  </a:lnTo>
                  <a:lnTo>
                    <a:pt x="1130" y="3449"/>
                  </a:lnTo>
                  <a:lnTo>
                    <a:pt x="1124" y="3449"/>
                  </a:lnTo>
                  <a:lnTo>
                    <a:pt x="1119" y="3449"/>
                  </a:lnTo>
                  <a:lnTo>
                    <a:pt x="1114" y="3448"/>
                  </a:lnTo>
                  <a:lnTo>
                    <a:pt x="1108" y="3446"/>
                  </a:lnTo>
                  <a:lnTo>
                    <a:pt x="1104" y="3443"/>
                  </a:lnTo>
                  <a:lnTo>
                    <a:pt x="1083" y="3428"/>
                  </a:lnTo>
                  <a:lnTo>
                    <a:pt x="1064" y="3414"/>
                  </a:lnTo>
                  <a:lnTo>
                    <a:pt x="1056" y="3411"/>
                  </a:lnTo>
                  <a:lnTo>
                    <a:pt x="1048" y="3407"/>
                  </a:lnTo>
                  <a:lnTo>
                    <a:pt x="1036" y="3404"/>
                  </a:lnTo>
                  <a:lnTo>
                    <a:pt x="1024" y="3402"/>
                  </a:lnTo>
                  <a:lnTo>
                    <a:pt x="995" y="3398"/>
                  </a:lnTo>
                  <a:lnTo>
                    <a:pt x="963" y="3394"/>
                  </a:lnTo>
                  <a:lnTo>
                    <a:pt x="932" y="3393"/>
                  </a:lnTo>
                  <a:lnTo>
                    <a:pt x="903" y="3393"/>
                  </a:lnTo>
                  <a:lnTo>
                    <a:pt x="891" y="3394"/>
                  </a:lnTo>
                  <a:lnTo>
                    <a:pt x="880" y="3397"/>
                  </a:lnTo>
                  <a:lnTo>
                    <a:pt x="872" y="3400"/>
                  </a:lnTo>
                  <a:lnTo>
                    <a:pt x="865" y="3403"/>
                  </a:lnTo>
                  <a:lnTo>
                    <a:pt x="852" y="3411"/>
                  </a:lnTo>
                  <a:lnTo>
                    <a:pt x="839" y="3419"/>
                  </a:lnTo>
                  <a:lnTo>
                    <a:pt x="825" y="3427"/>
                  </a:lnTo>
                  <a:lnTo>
                    <a:pt x="812" y="3431"/>
                  </a:lnTo>
                  <a:lnTo>
                    <a:pt x="805" y="3433"/>
                  </a:lnTo>
                  <a:lnTo>
                    <a:pt x="798" y="3433"/>
                  </a:lnTo>
                  <a:lnTo>
                    <a:pt x="793" y="3432"/>
                  </a:lnTo>
                  <a:lnTo>
                    <a:pt x="786" y="3431"/>
                  </a:lnTo>
                  <a:lnTo>
                    <a:pt x="781" y="3428"/>
                  </a:lnTo>
                  <a:lnTo>
                    <a:pt x="777" y="3424"/>
                  </a:lnTo>
                  <a:lnTo>
                    <a:pt x="772" y="3418"/>
                  </a:lnTo>
                  <a:lnTo>
                    <a:pt x="769" y="3411"/>
                  </a:lnTo>
                  <a:lnTo>
                    <a:pt x="759" y="3386"/>
                  </a:lnTo>
                  <a:lnTo>
                    <a:pt x="751" y="3367"/>
                  </a:lnTo>
                  <a:lnTo>
                    <a:pt x="746" y="3360"/>
                  </a:lnTo>
                  <a:lnTo>
                    <a:pt x="742" y="3353"/>
                  </a:lnTo>
                  <a:lnTo>
                    <a:pt x="738" y="3348"/>
                  </a:lnTo>
                  <a:lnTo>
                    <a:pt x="733" y="3344"/>
                  </a:lnTo>
                  <a:lnTo>
                    <a:pt x="729" y="3340"/>
                  </a:lnTo>
                  <a:lnTo>
                    <a:pt x="725" y="3337"/>
                  </a:lnTo>
                  <a:lnTo>
                    <a:pt x="720" y="3335"/>
                  </a:lnTo>
                  <a:lnTo>
                    <a:pt x="716" y="3334"/>
                  </a:lnTo>
                  <a:lnTo>
                    <a:pt x="707" y="3332"/>
                  </a:lnTo>
                  <a:lnTo>
                    <a:pt x="699" y="3333"/>
                  </a:lnTo>
                  <a:lnTo>
                    <a:pt x="679" y="3336"/>
                  </a:lnTo>
                  <a:lnTo>
                    <a:pt x="656" y="3339"/>
                  </a:lnTo>
                  <a:lnTo>
                    <a:pt x="643" y="3339"/>
                  </a:lnTo>
                  <a:lnTo>
                    <a:pt x="629" y="3338"/>
                  </a:lnTo>
                  <a:lnTo>
                    <a:pt x="620" y="3336"/>
                  </a:lnTo>
                  <a:lnTo>
                    <a:pt x="612" y="3334"/>
                  </a:lnTo>
                  <a:lnTo>
                    <a:pt x="604" y="3331"/>
                  </a:lnTo>
                  <a:lnTo>
                    <a:pt x="594" y="3327"/>
                  </a:lnTo>
                  <a:lnTo>
                    <a:pt x="567" y="3312"/>
                  </a:lnTo>
                  <a:lnTo>
                    <a:pt x="549" y="3302"/>
                  </a:lnTo>
                  <a:lnTo>
                    <a:pt x="539" y="3297"/>
                  </a:lnTo>
                  <a:lnTo>
                    <a:pt x="528" y="3295"/>
                  </a:lnTo>
                  <a:lnTo>
                    <a:pt x="513" y="3294"/>
                  </a:lnTo>
                  <a:lnTo>
                    <a:pt x="495" y="3294"/>
                  </a:lnTo>
                  <a:lnTo>
                    <a:pt x="485" y="3294"/>
                  </a:lnTo>
                  <a:lnTo>
                    <a:pt x="475" y="3293"/>
                  </a:lnTo>
                  <a:lnTo>
                    <a:pt x="467" y="3292"/>
                  </a:lnTo>
                  <a:lnTo>
                    <a:pt x="457" y="3291"/>
                  </a:lnTo>
                  <a:lnTo>
                    <a:pt x="440" y="3286"/>
                  </a:lnTo>
                  <a:lnTo>
                    <a:pt x="421" y="3281"/>
                  </a:lnTo>
                  <a:lnTo>
                    <a:pt x="403" y="3277"/>
                  </a:lnTo>
                  <a:lnTo>
                    <a:pt x="383" y="3275"/>
                  </a:lnTo>
                  <a:lnTo>
                    <a:pt x="374" y="3273"/>
                  </a:lnTo>
                  <a:lnTo>
                    <a:pt x="363" y="3273"/>
                  </a:lnTo>
                  <a:lnTo>
                    <a:pt x="352" y="3275"/>
                  </a:lnTo>
                  <a:lnTo>
                    <a:pt x="340" y="3277"/>
                  </a:lnTo>
                  <a:lnTo>
                    <a:pt x="335" y="3280"/>
                  </a:lnTo>
                  <a:lnTo>
                    <a:pt x="328" y="3283"/>
                  </a:lnTo>
                  <a:lnTo>
                    <a:pt x="320" y="3285"/>
                  </a:lnTo>
                  <a:lnTo>
                    <a:pt x="311" y="3287"/>
                  </a:lnTo>
                  <a:lnTo>
                    <a:pt x="300" y="3289"/>
                  </a:lnTo>
                  <a:lnTo>
                    <a:pt x="289" y="3289"/>
                  </a:lnTo>
                  <a:lnTo>
                    <a:pt x="277" y="3287"/>
                  </a:lnTo>
                  <a:lnTo>
                    <a:pt x="267" y="3286"/>
                  </a:lnTo>
                  <a:lnTo>
                    <a:pt x="243" y="3282"/>
                  </a:lnTo>
                  <a:lnTo>
                    <a:pt x="222" y="3277"/>
                  </a:lnTo>
                  <a:lnTo>
                    <a:pt x="213" y="3273"/>
                  </a:lnTo>
                  <a:lnTo>
                    <a:pt x="205" y="3270"/>
                  </a:lnTo>
                  <a:lnTo>
                    <a:pt x="199" y="3266"/>
                  </a:lnTo>
                  <a:lnTo>
                    <a:pt x="193" y="3263"/>
                  </a:lnTo>
                  <a:lnTo>
                    <a:pt x="183" y="3255"/>
                  </a:lnTo>
                  <a:lnTo>
                    <a:pt x="174" y="3248"/>
                  </a:lnTo>
                  <a:lnTo>
                    <a:pt x="163" y="3241"/>
                  </a:lnTo>
                  <a:lnTo>
                    <a:pt x="152" y="3235"/>
                  </a:lnTo>
                  <a:lnTo>
                    <a:pt x="142" y="3228"/>
                  </a:lnTo>
                  <a:lnTo>
                    <a:pt x="133" y="3222"/>
                  </a:lnTo>
                  <a:lnTo>
                    <a:pt x="123" y="3214"/>
                  </a:lnTo>
                  <a:lnTo>
                    <a:pt x="115" y="3206"/>
                  </a:lnTo>
                  <a:lnTo>
                    <a:pt x="56" y="3132"/>
                  </a:lnTo>
                  <a:lnTo>
                    <a:pt x="41" y="3131"/>
                  </a:lnTo>
                  <a:lnTo>
                    <a:pt x="27" y="3131"/>
                  </a:lnTo>
                  <a:lnTo>
                    <a:pt x="13" y="3132"/>
                  </a:lnTo>
                  <a:lnTo>
                    <a:pt x="0" y="3132"/>
                  </a:lnTo>
                  <a:lnTo>
                    <a:pt x="0" y="3132"/>
                  </a:lnTo>
                  <a:lnTo>
                    <a:pt x="50" y="3010"/>
                  </a:lnTo>
                  <a:lnTo>
                    <a:pt x="60" y="2995"/>
                  </a:lnTo>
                  <a:lnTo>
                    <a:pt x="71" y="2975"/>
                  </a:lnTo>
                  <a:lnTo>
                    <a:pt x="82" y="2956"/>
                  </a:lnTo>
                  <a:lnTo>
                    <a:pt x="91" y="2934"/>
                  </a:lnTo>
                  <a:lnTo>
                    <a:pt x="109" y="2891"/>
                  </a:lnTo>
                  <a:lnTo>
                    <a:pt x="126" y="2852"/>
                  </a:lnTo>
                  <a:lnTo>
                    <a:pt x="135" y="2837"/>
                  </a:lnTo>
                  <a:lnTo>
                    <a:pt x="144" y="2821"/>
                  </a:lnTo>
                  <a:lnTo>
                    <a:pt x="154" y="2807"/>
                  </a:lnTo>
                  <a:lnTo>
                    <a:pt x="165" y="2792"/>
                  </a:lnTo>
                  <a:lnTo>
                    <a:pt x="188" y="2764"/>
                  </a:lnTo>
                  <a:lnTo>
                    <a:pt x="213" y="2736"/>
                  </a:lnTo>
                  <a:lnTo>
                    <a:pt x="238" y="2709"/>
                  </a:lnTo>
                  <a:lnTo>
                    <a:pt x="261" y="2681"/>
                  </a:lnTo>
                  <a:lnTo>
                    <a:pt x="272" y="2666"/>
                  </a:lnTo>
                  <a:lnTo>
                    <a:pt x="283" y="2651"/>
                  </a:lnTo>
                  <a:lnTo>
                    <a:pt x="293" y="2636"/>
                  </a:lnTo>
                  <a:lnTo>
                    <a:pt x="301" y="2621"/>
                  </a:lnTo>
                  <a:lnTo>
                    <a:pt x="309" y="2604"/>
                  </a:lnTo>
                  <a:lnTo>
                    <a:pt x="314" y="2588"/>
                  </a:lnTo>
                  <a:lnTo>
                    <a:pt x="319" y="2571"/>
                  </a:lnTo>
                  <a:lnTo>
                    <a:pt x="321" y="2554"/>
                  </a:lnTo>
                  <a:lnTo>
                    <a:pt x="321" y="2538"/>
                  </a:lnTo>
                  <a:lnTo>
                    <a:pt x="321" y="2522"/>
                  </a:lnTo>
                  <a:lnTo>
                    <a:pt x="321" y="2506"/>
                  </a:lnTo>
                  <a:lnTo>
                    <a:pt x="320" y="2490"/>
                  </a:lnTo>
                  <a:lnTo>
                    <a:pt x="319" y="2473"/>
                  </a:lnTo>
                  <a:lnTo>
                    <a:pt x="319" y="2457"/>
                  </a:lnTo>
                  <a:lnTo>
                    <a:pt x="319" y="2441"/>
                  </a:lnTo>
                  <a:lnTo>
                    <a:pt x="319" y="2425"/>
                  </a:lnTo>
                  <a:lnTo>
                    <a:pt x="321" y="2407"/>
                  </a:lnTo>
                  <a:lnTo>
                    <a:pt x="325" y="2391"/>
                  </a:lnTo>
                  <a:lnTo>
                    <a:pt x="330" y="2374"/>
                  </a:lnTo>
                  <a:lnTo>
                    <a:pt x="338" y="2357"/>
                  </a:lnTo>
                  <a:lnTo>
                    <a:pt x="352" y="2341"/>
                  </a:lnTo>
                  <a:lnTo>
                    <a:pt x="366" y="2326"/>
                  </a:lnTo>
                  <a:lnTo>
                    <a:pt x="379" y="2310"/>
                  </a:lnTo>
                  <a:lnTo>
                    <a:pt x="391" y="2294"/>
                  </a:lnTo>
                  <a:lnTo>
                    <a:pt x="403" y="2277"/>
                  </a:lnTo>
                  <a:lnTo>
                    <a:pt x="413" y="2258"/>
                  </a:lnTo>
                  <a:lnTo>
                    <a:pt x="422" y="2240"/>
                  </a:lnTo>
                  <a:lnTo>
                    <a:pt x="431" y="2220"/>
                  </a:lnTo>
                  <a:lnTo>
                    <a:pt x="443" y="2196"/>
                  </a:lnTo>
                  <a:lnTo>
                    <a:pt x="452" y="2174"/>
                  </a:lnTo>
                  <a:lnTo>
                    <a:pt x="462" y="2153"/>
                  </a:lnTo>
                  <a:lnTo>
                    <a:pt x="469" y="2135"/>
                  </a:lnTo>
                  <a:lnTo>
                    <a:pt x="471" y="2125"/>
                  </a:lnTo>
                  <a:lnTo>
                    <a:pt x="472" y="2116"/>
                  </a:lnTo>
                  <a:lnTo>
                    <a:pt x="473" y="2105"/>
                  </a:lnTo>
                  <a:lnTo>
                    <a:pt x="473" y="2094"/>
                  </a:lnTo>
                  <a:lnTo>
                    <a:pt x="471" y="2083"/>
                  </a:lnTo>
                  <a:lnTo>
                    <a:pt x="469" y="2071"/>
                  </a:lnTo>
                  <a:lnTo>
                    <a:pt x="464" y="2057"/>
                  </a:lnTo>
                  <a:lnTo>
                    <a:pt x="459" y="2043"/>
                  </a:lnTo>
                  <a:lnTo>
                    <a:pt x="454" y="2026"/>
                  </a:lnTo>
                  <a:lnTo>
                    <a:pt x="448" y="2011"/>
                  </a:lnTo>
                  <a:lnTo>
                    <a:pt x="445" y="1997"/>
                  </a:lnTo>
                  <a:lnTo>
                    <a:pt x="444" y="1984"/>
                  </a:lnTo>
                  <a:lnTo>
                    <a:pt x="444" y="1972"/>
                  </a:lnTo>
                  <a:lnTo>
                    <a:pt x="445" y="1961"/>
                  </a:lnTo>
                  <a:lnTo>
                    <a:pt x="447" y="1952"/>
                  </a:lnTo>
                  <a:lnTo>
                    <a:pt x="451" y="1942"/>
                  </a:lnTo>
                  <a:lnTo>
                    <a:pt x="456" y="1932"/>
                  </a:lnTo>
                  <a:lnTo>
                    <a:pt x="462" y="1923"/>
                  </a:lnTo>
                  <a:lnTo>
                    <a:pt x="470" y="1914"/>
                  </a:lnTo>
                  <a:lnTo>
                    <a:pt x="477" y="1904"/>
                  </a:lnTo>
                  <a:lnTo>
                    <a:pt x="496" y="1883"/>
                  </a:lnTo>
                  <a:lnTo>
                    <a:pt x="516" y="1859"/>
                  </a:lnTo>
                  <a:lnTo>
                    <a:pt x="519" y="1851"/>
                  </a:lnTo>
                  <a:lnTo>
                    <a:pt x="523" y="1845"/>
                  </a:lnTo>
                  <a:lnTo>
                    <a:pt x="524" y="1837"/>
                  </a:lnTo>
                  <a:lnTo>
                    <a:pt x="526" y="1831"/>
                  </a:lnTo>
                  <a:lnTo>
                    <a:pt x="527" y="1817"/>
                  </a:lnTo>
                  <a:lnTo>
                    <a:pt x="527" y="1802"/>
                  </a:lnTo>
                  <a:lnTo>
                    <a:pt x="529" y="1788"/>
                  </a:lnTo>
                  <a:lnTo>
                    <a:pt x="532" y="1775"/>
                  </a:lnTo>
                  <a:lnTo>
                    <a:pt x="535" y="1769"/>
                  </a:lnTo>
                  <a:lnTo>
                    <a:pt x="539" y="1764"/>
                  </a:lnTo>
                  <a:lnTo>
                    <a:pt x="543" y="1758"/>
                  </a:lnTo>
                  <a:lnTo>
                    <a:pt x="550" y="1753"/>
                  </a:lnTo>
                  <a:lnTo>
                    <a:pt x="563" y="1742"/>
                  </a:lnTo>
                  <a:lnTo>
                    <a:pt x="575" y="1732"/>
                  </a:lnTo>
                  <a:lnTo>
                    <a:pt x="584" y="1721"/>
                  </a:lnTo>
                  <a:lnTo>
                    <a:pt x="594" y="1712"/>
                  </a:lnTo>
                  <a:lnTo>
                    <a:pt x="603" y="1701"/>
                  </a:lnTo>
                  <a:lnTo>
                    <a:pt x="610" y="1690"/>
                  </a:lnTo>
                  <a:lnTo>
                    <a:pt x="618" y="1679"/>
                  </a:lnTo>
                  <a:lnTo>
                    <a:pt x="624" y="1669"/>
                  </a:lnTo>
                  <a:lnTo>
                    <a:pt x="635" y="1646"/>
                  </a:lnTo>
                  <a:lnTo>
                    <a:pt x="644" y="1620"/>
                  </a:lnTo>
                  <a:lnTo>
                    <a:pt x="653" y="1593"/>
                  </a:lnTo>
                  <a:lnTo>
                    <a:pt x="662" y="1562"/>
                  </a:lnTo>
                  <a:lnTo>
                    <a:pt x="666" y="1549"/>
                  </a:lnTo>
                  <a:lnTo>
                    <a:pt x="672" y="1537"/>
                  </a:lnTo>
                  <a:lnTo>
                    <a:pt x="677" y="1526"/>
                  </a:lnTo>
                  <a:lnTo>
                    <a:pt x="684" y="1517"/>
                  </a:lnTo>
                  <a:lnTo>
                    <a:pt x="700" y="1500"/>
                  </a:lnTo>
                  <a:lnTo>
                    <a:pt x="718" y="1482"/>
                  </a:lnTo>
                  <a:lnTo>
                    <a:pt x="741" y="1459"/>
                  </a:lnTo>
                  <a:lnTo>
                    <a:pt x="759" y="1440"/>
                  </a:lnTo>
                  <a:lnTo>
                    <a:pt x="777" y="1418"/>
                  </a:lnTo>
                  <a:lnTo>
                    <a:pt x="795" y="1391"/>
                  </a:lnTo>
                  <a:lnTo>
                    <a:pt x="802" y="1376"/>
                  </a:lnTo>
                  <a:lnTo>
                    <a:pt x="809" y="1360"/>
                  </a:lnTo>
                  <a:lnTo>
                    <a:pt x="815" y="1342"/>
                  </a:lnTo>
                  <a:lnTo>
                    <a:pt x="822" y="1325"/>
                  </a:lnTo>
                  <a:lnTo>
                    <a:pt x="833" y="1291"/>
                  </a:lnTo>
                  <a:lnTo>
                    <a:pt x="841" y="1256"/>
                  </a:lnTo>
                  <a:lnTo>
                    <a:pt x="850" y="1220"/>
                  </a:lnTo>
                  <a:lnTo>
                    <a:pt x="858" y="1185"/>
                  </a:lnTo>
                  <a:lnTo>
                    <a:pt x="864" y="1149"/>
                  </a:lnTo>
                  <a:lnTo>
                    <a:pt x="872" y="1115"/>
                  </a:lnTo>
                  <a:lnTo>
                    <a:pt x="876" y="1096"/>
                  </a:lnTo>
                  <a:lnTo>
                    <a:pt x="880" y="1080"/>
                  </a:lnTo>
                  <a:lnTo>
                    <a:pt x="887" y="1064"/>
                  </a:lnTo>
                  <a:lnTo>
                    <a:pt x="894" y="1050"/>
                  </a:lnTo>
                  <a:lnTo>
                    <a:pt x="902" y="1036"/>
                  </a:lnTo>
                  <a:lnTo>
                    <a:pt x="909" y="1022"/>
                  </a:lnTo>
                  <a:lnTo>
                    <a:pt x="918" y="1009"/>
                  </a:lnTo>
                  <a:lnTo>
                    <a:pt x="927" y="996"/>
                  </a:lnTo>
                  <a:lnTo>
                    <a:pt x="945" y="971"/>
                  </a:lnTo>
                  <a:lnTo>
                    <a:pt x="962" y="945"/>
                  </a:lnTo>
                  <a:lnTo>
                    <a:pt x="971" y="931"/>
                  </a:lnTo>
                  <a:lnTo>
                    <a:pt x="979" y="917"/>
                  </a:lnTo>
                  <a:lnTo>
                    <a:pt x="986" y="903"/>
                  </a:lnTo>
                  <a:lnTo>
                    <a:pt x="993" y="887"/>
                  </a:lnTo>
                  <a:lnTo>
                    <a:pt x="997" y="851"/>
                  </a:lnTo>
                  <a:lnTo>
                    <a:pt x="1001" y="813"/>
                  </a:lnTo>
                  <a:lnTo>
                    <a:pt x="1003" y="794"/>
                  </a:lnTo>
                  <a:lnTo>
                    <a:pt x="1008" y="775"/>
                  </a:lnTo>
                  <a:lnTo>
                    <a:pt x="1012" y="758"/>
                  </a:lnTo>
                  <a:lnTo>
                    <a:pt x="1017" y="741"/>
                  </a:lnTo>
                  <a:lnTo>
                    <a:pt x="1023" y="729"/>
                  </a:lnTo>
                  <a:lnTo>
                    <a:pt x="1028" y="718"/>
                  </a:lnTo>
                  <a:lnTo>
                    <a:pt x="1034" y="707"/>
                  </a:lnTo>
                  <a:lnTo>
                    <a:pt x="1040" y="697"/>
                  </a:lnTo>
                  <a:lnTo>
                    <a:pt x="1053" y="675"/>
                  </a:lnTo>
                  <a:lnTo>
                    <a:pt x="1067" y="654"/>
                  </a:lnTo>
                  <a:lnTo>
                    <a:pt x="1080" y="634"/>
                  </a:lnTo>
                  <a:lnTo>
                    <a:pt x="1092" y="612"/>
                  </a:lnTo>
                  <a:lnTo>
                    <a:pt x="1097" y="602"/>
                  </a:lnTo>
                  <a:lnTo>
                    <a:pt x="1103" y="590"/>
                  </a:lnTo>
                  <a:lnTo>
                    <a:pt x="1107" y="578"/>
                  </a:lnTo>
                  <a:lnTo>
                    <a:pt x="1110" y="565"/>
                  </a:lnTo>
                  <a:lnTo>
                    <a:pt x="1116" y="541"/>
                  </a:lnTo>
                  <a:lnTo>
                    <a:pt x="1122" y="516"/>
                  </a:lnTo>
                  <a:lnTo>
                    <a:pt x="1130" y="491"/>
                  </a:lnTo>
                  <a:lnTo>
                    <a:pt x="1138" y="467"/>
                  </a:lnTo>
                  <a:lnTo>
                    <a:pt x="1147" y="442"/>
                  </a:lnTo>
                  <a:lnTo>
                    <a:pt x="1157" y="418"/>
                  </a:lnTo>
                  <a:lnTo>
                    <a:pt x="1168" y="395"/>
                  </a:lnTo>
                  <a:lnTo>
                    <a:pt x="1180" y="374"/>
                  </a:lnTo>
                  <a:lnTo>
                    <a:pt x="1183" y="347"/>
                  </a:lnTo>
                  <a:lnTo>
                    <a:pt x="1186" y="316"/>
                  </a:lnTo>
                  <a:lnTo>
                    <a:pt x="1190" y="285"/>
                  </a:lnTo>
                  <a:lnTo>
                    <a:pt x="1197" y="254"/>
                  </a:lnTo>
                  <a:lnTo>
                    <a:pt x="1200" y="239"/>
                  </a:lnTo>
                  <a:lnTo>
                    <a:pt x="1204" y="222"/>
                  </a:lnTo>
                  <a:lnTo>
                    <a:pt x="1210" y="208"/>
                  </a:lnTo>
                  <a:lnTo>
                    <a:pt x="1216" y="194"/>
                  </a:lnTo>
                  <a:lnTo>
                    <a:pt x="1223" y="181"/>
                  </a:lnTo>
                  <a:lnTo>
                    <a:pt x="1230" y="170"/>
                  </a:lnTo>
                  <a:lnTo>
                    <a:pt x="1239" y="160"/>
                  </a:lnTo>
                  <a:lnTo>
                    <a:pt x="1249" y="150"/>
                  </a:lnTo>
                  <a:lnTo>
                    <a:pt x="1261" y="141"/>
                  </a:lnTo>
                  <a:lnTo>
                    <a:pt x="1272" y="135"/>
                  </a:lnTo>
                  <a:lnTo>
                    <a:pt x="1282" y="131"/>
                  </a:lnTo>
                  <a:lnTo>
                    <a:pt x="1293" y="128"/>
                  </a:lnTo>
                  <a:lnTo>
                    <a:pt x="1315" y="125"/>
                  </a:lnTo>
                  <a:lnTo>
                    <a:pt x="1342" y="122"/>
                  </a:lnTo>
                  <a:lnTo>
                    <a:pt x="1349" y="121"/>
                  </a:lnTo>
                  <a:lnTo>
                    <a:pt x="1356" y="119"/>
                  </a:lnTo>
                  <a:lnTo>
                    <a:pt x="1362" y="117"/>
                  </a:lnTo>
                  <a:lnTo>
                    <a:pt x="1369" y="113"/>
                  </a:lnTo>
                  <a:lnTo>
                    <a:pt x="1379" y="105"/>
                  </a:lnTo>
                  <a:lnTo>
                    <a:pt x="1389" y="95"/>
                  </a:lnTo>
                  <a:lnTo>
                    <a:pt x="1399" y="84"/>
                  </a:lnTo>
                  <a:lnTo>
                    <a:pt x="1406" y="72"/>
                  </a:lnTo>
                  <a:lnTo>
                    <a:pt x="1415" y="60"/>
                  </a:lnTo>
                  <a:lnTo>
                    <a:pt x="1423" y="47"/>
                  </a:lnTo>
                  <a:lnTo>
                    <a:pt x="1440" y="0"/>
                  </a:lnTo>
                  <a:lnTo>
                    <a:pt x="1440" y="0"/>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18" name="Freeform 16">
              <a:extLst>
                <a:ext uri="{FF2B5EF4-FFF2-40B4-BE49-F238E27FC236}">
                  <a16:creationId xmlns:a16="http://schemas.microsoft.com/office/drawing/2014/main" id="{3E7D243D-CB9D-4C5D-B0FB-85B48BE3EFD9}"/>
                </a:ext>
              </a:extLst>
            </p:cNvPr>
            <p:cNvSpPr>
              <a:spLocks/>
            </p:cNvSpPr>
            <p:nvPr/>
          </p:nvSpPr>
          <p:spPr bwMode="auto">
            <a:xfrm>
              <a:off x="2475700" y="4744701"/>
              <a:ext cx="1325284" cy="2216942"/>
            </a:xfrm>
            <a:custGeom>
              <a:avLst/>
              <a:gdLst>
                <a:gd name="T0" fmla="*/ 2709 w 2906"/>
                <a:gd name="T1" fmla="*/ 2924 h 5553"/>
                <a:gd name="T2" fmla="*/ 2823 w 2906"/>
                <a:gd name="T3" fmla="*/ 2993 h 5553"/>
                <a:gd name="T4" fmla="*/ 2826 w 2906"/>
                <a:gd name="T5" fmla="*/ 3161 h 5553"/>
                <a:gd name="T6" fmla="*/ 2705 w 2906"/>
                <a:gd name="T7" fmla="*/ 3330 h 5553"/>
                <a:gd name="T8" fmla="*/ 2685 w 2906"/>
                <a:gd name="T9" fmla="*/ 3429 h 5553"/>
                <a:gd name="T10" fmla="*/ 2824 w 2906"/>
                <a:gd name="T11" fmla="*/ 3482 h 5553"/>
                <a:gd name="T12" fmla="*/ 2900 w 2906"/>
                <a:gd name="T13" fmla="*/ 3500 h 5553"/>
                <a:gd name="T14" fmla="*/ 2807 w 2906"/>
                <a:gd name="T15" fmla="*/ 3590 h 5553"/>
                <a:gd name="T16" fmla="*/ 2665 w 2906"/>
                <a:gd name="T17" fmla="*/ 3753 h 5553"/>
                <a:gd name="T18" fmla="*/ 2626 w 2906"/>
                <a:gd name="T19" fmla="*/ 3938 h 5553"/>
                <a:gd name="T20" fmla="*/ 2444 w 2906"/>
                <a:gd name="T21" fmla="*/ 4129 h 5553"/>
                <a:gd name="T22" fmla="*/ 2360 w 2906"/>
                <a:gd name="T23" fmla="*/ 4284 h 5553"/>
                <a:gd name="T24" fmla="*/ 2374 w 2906"/>
                <a:gd name="T25" fmla="*/ 4469 h 5553"/>
                <a:gd name="T26" fmla="*/ 2370 w 2906"/>
                <a:gd name="T27" fmla="*/ 4633 h 5553"/>
                <a:gd name="T28" fmla="*/ 2162 w 2906"/>
                <a:gd name="T29" fmla="*/ 4794 h 5553"/>
                <a:gd name="T30" fmla="*/ 2100 w 2906"/>
                <a:gd name="T31" fmla="*/ 4993 h 5553"/>
                <a:gd name="T32" fmla="*/ 2179 w 2906"/>
                <a:gd name="T33" fmla="*/ 5130 h 5553"/>
                <a:gd name="T34" fmla="*/ 2272 w 2906"/>
                <a:gd name="T35" fmla="*/ 5258 h 5553"/>
                <a:gd name="T36" fmla="*/ 2369 w 2906"/>
                <a:gd name="T37" fmla="*/ 5326 h 5553"/>
                <a:gd name="T38" fmla="*/ 2375 w 2906"/>
                <a:gd name="T39" fmla="*/ 5470 h 5553"/>
                <a:gd name="T40" fmla="*/ 2190 w 2906"/>
                <a:gd name="T41" fmla="*/ 5515 h 5553"/>
                <a:gd name="T42" fmla="*/ 2071 w 2906"/>
                <a:gd name="T43" fmla="*/ 5553 h 5553"/>
                <a:gd name="T44" fmla="*/ 1970 w 2906"/>
                <a:gd name="T45" fmla="*/ 5489 h 5553"/>
                <a:gd name="T46" fmla="*/ 1921 w 2906"/>
                <a:gd name="T47" fmla="*/ 5396 h 5553"/>
                <a:gd name="T48" fmla="*/ 1794 w 2906"/>
                <a:gd name="T49" fmla="*/ 5488 h 5553"/>
                <a:gd name="T50" fmla="*/ 1702 w 2906"/>
                <a:gd name="T51" fmla="*/ 5414 h 5553"/>
                <a:gd name="T52" fmla="*/ 1812 w 2906"/>
                <a:gd name="T53" fmla="*/ 5260 h 5553"/>
                <a:gd name="T54" fmla="*/ 1872 w 2906"/>
                <a:gd name="T55" fmla="*/ 5104 h 5553"/>
                <a:gd name="T56" fmla="*/ 1785 w 2906"/>
                <a:gd name="T57" fmla="*/ 4918 h 5553"/>
                <a:gd name="T58" fmla="*/ 1690 w 2906"/>
                <a:gd name="T59" fmla="*/ 4809 h 5553"/>
                <a:gd name="T60" fmla="*/ 1581 w 2906"/>
                <a:gd name="T61" fmla="*/ 4706 h 5553"/>
                <a:gd name="T62" fmla="*/ 1486 w 2906"/>
                <a:gd name="T63" fmla="*/ 4699 h 5553"/>
                <a:gd name="T64" fmla="*/ 1277 w 2906"/>
                <a:gd name="T65" fmla="*/ 4643 h 5553"/>
                <a:gd name="T66" fmla="*/ 982 w 2906"/>
                <a:gd name="T67" fmla="*/ 4688 h 5553"/>
                <a:gd name="T68" fmla="*/ 838 w 2906"/>
                <a:gd name="T69" fmla="*/ 4599 h 5553"/>
                <a:gd name="T70" fmla="*/ 814 w 2906"/>
                <a:gd name="T71" fmla="*/ 4481 h 5553"/>
                <a:gd name="T72" fmla="*/ 809 w 2906"/>
                <a:gd name="T73" fmla="*/ 4313 h 5553"/>
                <a:gd name="T74" fmla="*/ 775 w 2906"/>
                <a:gd name="T75" fmla="*/ 4209 h 5553"/>
                <a:gd name="T76" fmla="*/ 679 w 2906"/>
                <a:gd name="T77" fmla="*/ 4126 h 5553"/>
                <a:gd name="T78" fmla="*/ 657 w 2906"/>
                <a:gd name="T79" fmla="*/ 3886 h 5553"/>
                <a:gd name="T80" fmla="*/ 732 w 2906"/>
                <a:gd name="T81" fmla="*/ 3639 h 5553"/>
                <a:gd name="T82" fmla="*/ 698 w 2906"/>
                <a:gd name="T83" fmla="*/ 3319 h 5553"/>
                <a:gd name="T84" fmla="*/ 725 w 2906"/>
                <a:gd name="T85" fmla="*/ 3088 h 5553"/>
                <a:gd name="T86" fmla="*/ 780 w 2906"/>
                <a:gd name="T87" fmla="*/ 2901 h 5553"/>
                <a:gd name="T88" fmla="*/ 738 w 2906"/>
                <a:gd name="T89" fmla="*/ 2688 h 5553"/>
                <a:gd name="T90" fmla="*/ 740 w 2906"/>
                <a:gd name="T91" fmla="*/ 2499 h 5553"/>
                <a:gd name="T92" fmla="*/ 598 w 2906"/>
                <a:gd name="T93" fmla="*/ 1991 h 5553"/>
                <a:gd name="T94" fmla="*/ 455 w 2906"/>
                <a:gd name="T95" fmla="*/ 1878 h 5553"/>
                <a:gd name="T96" fmla="*/ 395 w 2906"/>
                <a:gd name="T97" fmla="*/ 1737 h 5553"/>
                <a:gd name="T98" fmla="*/ 492 w 2906"/>
                <a:gd name="T99" fmla="*/ 1654 h 5553"/>
                <a:gd name="T100" fmla="*/ 444 w 2906"/>
                <a:gd name="T101" fmla="*/ 1540 h 5553"/>
                <a:gd name="T102" fmla="*/ 398 w 2906"/>
                <a:gd name="T103" fmla="*/ 1440 h 5553"/>
                <a:gd name="T104" fmla="*/ 304 w 2906"/>
                <a:gd name="T105" fmla="*/ 1245 h 5553"/>
                <a:gd name="T106" fmla="*/ 185 w 2906"/>
                <a:gd name="T107" fmla="*/ 1157 h 5553"/>
                <a:gd name="T108" fmla="*/ 75 w 2906"/>
                <a:gd name="T109" fmla="*/ 967 h 5553"/>
                <a:gd name="T110" fmla="*/ 69 w 2906"/>
                <a:gd name="T111" fmla="*/ 782 h 5553"/>
                <a:gd name="T112" fmla="*/ 171 w 2906"/>
                <a:gd name="T113" fmla="*/ 531 h 5553"/>
                <a:gd name="T114" fmla="*/ 200 w 2906"/>
                <a:gd name="T115" fmla="*/ 436 h 5553"/>
                <a:gd name="T116" fmla="*/ 35 w 2906"/>
                <a:gd name="T117" fmla="*/ 390 h 5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6" h="5553">
                  <a:moveTo>
                    <a:pt x="88" y="0"/>
                  </a:moveTo>
                  <a:lnTo>
                    <a:pt x="253" y="83"/>
                  </a:lnTo>
                  <a:lnTo>
                    <a:pt x="253" y="83"/>
                  </a:lnTo>
                  <a:lnTo>
                    <a:pt x="389" y="172"/>
                  </a:lnTo>
                  <a:lnTo>
                    <a:pt x="364" y="286"/>
                  </a:lnTo>
                  <a:lnTo>
                    <a:pt x="2675" y="2866"/>
                  </a:lnTo>
                  <a:lnTo>
                    <a:pt x="2679" y="2878"/>
                  </a:lnTo>
                  <a:lnTo>
                    <a:pt x="2684" y="2890"/>
                  </a:lnTo>
                  <a:lnTo>
                    <a:pt x="2688" y="2900"/>
                  </a:lnTo>
                  <a:lnTo>
                    <a:pt x="2693" y="2909"/>
                  </a:lnTo>
                  <a:lnTo>
                    <a:pt x="2700" y="2917"/>
                  </a:lnTo>
                  <a:lnTo>
                    <a:pt x="2709" y="2924"/>
                  </a:lnTo>
                  <a:lnTo>
                    <a:pt x="2718" y="2930"/>
                  </a:lnTo>
                  <a:lnTo>
                    <a:pt x="2731" y="2934"/>
                  </a:lnTo>
                  <a:lnTo>
                    <a:pt x="2752" y="2941"/>
                  </a:lnTo>
                  <a:lnTo>
                    <a:pt x="2771" y="2947"/>
                  </a:lnTo>
                  <a:lnTo>
                    <a:pt x="2780" y="2952"/>
                  </a:lnTo>
                  <a:lnTo>
                    <a:pt x="2789" y="2956"/>
                  </a:lnTo>
                  <a:lnTo>
                    <a:pt x="2796" y="2960"/>
                  </a:lnTo>
                  <a:lnTo>
                    <a:pt x="2804" y="2966"/>
                  </a:lnTo>
                  <a:lnTo>
                    <a:pt x="2809" y="2971"/>
                  </a:lnTo>
                  <a:lnTo>
                    <a:pt x="2814" y="2978"/>
                  </a:lnTo>
                  <a:lnTo>
                    <a:pt x="2819" y="2985"/>
                  </a:lnTo>
                  <a:lnTo>
                    <a:pt x="2823" y="2993"/>
                  </a:lnTo>
                  <a:lnTo>
                    <a:pt x="2825" y="3002"/>
                  </a:lnTo>
                  <a:lnTo>
                    <a:pt x="2827" y="3012"/>
                  </a:lnTo>
                  <a:lnTo>
                    <a:pt x="2827" y="3024"/>
                  </a:lnTo>
                  <a:lnTo>
                    <a:pt x="2827" y="3036"/>
                  </a:lnTo>
                  <a:lnTo>
                    <a:pt x="2825" y="3060"/>
                  </a:lnTo>
                  <a:lnTo>
                    <a:pt x="2822" y="3081"/>
                  </a:lnTo>
                  <a:lnTo>
                    <a:pt x="2820" y="3102"/>
                  </a:lnTo>
                  <a:lnTo>
                    <a:pt x="2820" y="3121"/>
                  </a:lnTo>
                  <a:lnTo>
                    <a:pt x="2820" y="3131"/>
                  </a:lnTo>
                  <a:lnTo>
                    <a:pt x="2822" y="3141"/>
                  </a:lnTo>
                  <a:lnTo>
                    <a:pt x="2824" y="3150"/>
                  </a:lnTo>
                  <a:lnTo>
                    <a:pt x="2826" y="3161"/>
                  </a:lnTo>
                  <a:lnTo>
                    <a:pt x="2831" y="3171"/>
                  </a:lnTo>
                  <a:lnTo>
                    <a:pt x="2836" y="3182"/>
                  </a:lnTo>
                  <a:lnTo>
                    <a:pt x="2843" y="3193"/>
                  </a:lnTo>
                  <a:lnTo>
                    <a:pt x="2850" y="3203"/>
                  </a:lnTo>
                  <a:lnTo>
                    <a:pt x="2850" y="3203"/>
                  </a:lnTo>
                  <a:lnTo>
                    <a:pt x="2832" y="3215"/>
                  </a:lnTo>
                  <a:lnTo>
                    <a:pt x="2816" y="3228"/>
                  </a:lnTo>
                  <a:lnTo>
                    <a:pt x="2798" y="3243"/>
                  </a:lnTo>
                  <a:lnTo>
                    <a:pt x="2782" y="3258"/>
                  </a:lnTo>
                  <a:lnTo>
                    <a:pt x="2750" y="3291"/>
                  </a:lnTo>
                  <a:lnTo>
                    <a:pt x="2719" y="3319"/>
                  </a:lnTo>
                  <a:lnTo>
                    <a:pt x="2705" y="3330"/>
                  </a:lnTo>
                  <a:lnTo>
                    <a:pt x="2691" y="3341"/>
                  </a:lnTo>
                  <a:lnTo>
                    <a:pt x="2677" y="3351"/>
                  </a:lnTo>
                  <a:lnTo>
                    <a:pt x="2666" y="3362"/>
                  </a:lnTo>
                  <a:lnTo>
                    <a:pt x="2662" y="3369"/>
                  </a:lnTo>
                  <a:lnTo>
                    <a:pt x="2659" y="3375"/>
                  </a:lnTo>
                  <a:lnTo>
                    <a:pt x="2657" y="3382"/>
                  </a:lnTo>
                  <a:lnTo>
                    <a:pt x="2657" y="3388"/>
                  </a:lnTo>
                  <a:lnTo>
                    <a:pt x="2659" y="3396"/>
                  </a:lnTo>
                  <a:lnTo>
                    <a:pt x="2662" y="3403"/>
                  </a:lnTo>
                  <a:lnTo>
                    <a:pt x="2668" y="3412"/>
                  </a:lnTo>
                  <a:lnTo>
                    <a:pt x="2676" y="3422"/>
                  </a:lnTo>
                  <a:lnTo>
                    <a:pt x="2685" y="3429"/>
                  </a:lnTo>
                  <a:lnTo>
                    <a:pt x="2697" y="3438"/>
                  </a:lnTo>
                  <a:lnTo>
                    <a:pt x="2710" y="3445"/>
                  </a:lnTo>
                  <a:lnTo>
                    <a:pt x="2723" y="3454"/>
                  </a:lnTo>
                  <a:lnTo>
                    <a:pt x="2737" y="3461"/>
                  </a:lnTo>
                  <a:lnTo>
                    <a:pt x="2752" y="3468"/>
                  </a:lnTo>
                  <a:lnTo>
                    <a:pt x="2765" y="3473"/>
                  </a:lnTo>
                  <a:lnTo>
                    <a:pt x="2777" y="3479"/>
                  </a:lnTo>
                  <a:lnTo>
                    <a:pt x="2785" y="3481"/>
                  </a:lnTo>
                  <a:lnTo>
                    <a:pt x="2793" y="3482"/>
                  </a:lnTo>
                  <a:lnTo>
                    <a:pt x="2801" y="3483"/>
                  </a:lnTo>
                  <a:lnTo>
                    <a:pt x="2809" y="3483"/>
                  </a:lnTo>
                  <a:lnTo>
                    <a:pt x="2824" y="3482"/>
                  </a:lnTo>
                  <a:lnTo>
                    <a:pt x="2840" y="3480"/>
                  </a:lnTo>
                  <a:lnTo>
                    <a:pt x="2855" y="3479"/>
                  </a:lnTo>
                  <a:lnTo>
                    <a:pt x="2871" y="3479"/>
                  </a:lnTo>
                  <a:lnTo>
                    <a:pt x="2879" y="3480"/>
                  </a:lnTo>
                  <a:lnTo>
                    <a:pt x="2887" y="3481"/>
                  </a:lnTo>
                  <a:lnTo>
                    <a:pt x="2894" y="3484"/>
                  </a:lnTo>
                  <a:lnTo>
                    <a:pt x="2903" y="3488"/>
                  </a:lnTo>
                  <a:lnTo>
                    <a:pt x="2905" y="3490"/>
                  </a:lnTo>
                  <a:lnTo>
                    <a:pt x="2906" y="3492"/>
                  </a:lnTo>
                  <a:lnTo>
                    <a:pt x="2906" y="3494"/>
                  </a:lnTo>
                  <a:lnTo>
                    <a:pt x="2904" y="3496"/>
                  </a:lnTo>
                  <a:lnTo>
                    <a:pt x="2900" y="3500"/>
                  </a:lnTo>
                  <a:lnTo>
                    <a:pt x="2893" y="3505"/>
                  </a:lnTo>
                  <a:lnTo>
                    <a:pt x="2878" y="3513"/>
                  </a:lnTo>
                  <a:lnTo>
                    <a:pt x="2868" y="3519"/>
                  </a:lnTo>
                  <a:lnTo>
                    <a:pt x="2860" y="3523"/>
                  </a:lnTo>
                  <a:lnTo>
                    <a:pt x="2852" y="3528"/>
                  </a:lnTo>
                  <a:lnTo>
                    <a:pt x="2845" y="3534"/>
                  </a:lnTo>
                  <a:lnTo>
                    <a:pt x="2839" y="3539"/>
                  </a:lnTo>
                  <a:lnTo>
                    <a:pt x="2833" y="3546"/>
                  </a:lnTo>
                  <a:lnTo>
                    <a:pt x="2827" y="3553"/>
                  </a:lnTo>
                  <a:lnTo>
                    <a:pt x="2822" y="3561"/>
                  </a:lnTo>
                  <a:lnTo>
                    <a:pt x="2817" y="3569"/>
                  </a:lnTo>
                  <a:lnTo>
                    <a:pt x="2807" y="3590"/>
                  </a:lnTo>
                  <a:lnTo>
                    <a:pt x="2797" y="3607"/>
                  </a:lnTo>
                  <a:lnTo>
                    <a:pt x="2786" y="3622"/>
                  </a:lnTo>
                  <a:lnTo>
                    <a:pt x="2774" y="3635"/>
                  </a:lnTo>
                  <a:lnTo>
                    <a:pt x="2762" y="3647"/>
                  </a:lnTo>
                  <a:lnTo>
                    <a:pt x="2747" y="3659"/>
                  </a:lnTo>
                  <a:lnTo>
                    <a:pt x="2731" y="3672"/>
                  </a:lnTo>
                  <a:lnTo>
                    <a:pt x="2714" y="3686"/>
                  </a:lnTo>
                  <a:lnTo>
                    <a:pt x="2700" y="3699"/>
                  </a:lnTo>
                  <a:lnTo>
                    <a:pt x="2688" y="3712"/>
                  </a:lnTo>
                  <a:lnTo>
                    <a:pt x="2679" y="3725"/>
                  </a:lnTo>
                  <a:lnTo>
                    <a:pt x="2672" y="3739"/>
                  </a:lnTo>
                  <a:lnTo>
                    <a:pt x="2665" y="3753"/>
                  </a:lnTo>
                  <a:lnTo>
                    <a:pt x="2661" y="3768"/>
                  </a:lnTo>
                  <a:lnTo>
                    <a:pt x="2658" y="3782"/>
                  </a:lnTo>
                  <a:lnTo>
                    <a:pt x="2656" y="3797"/>
                  </a:lnTo>
                  <a:lnTo>
                    <a:pt x="2652" y="3828"/>
                  </a:lnTo>
                  <a:lnTo>
                    <a:pt x="2649" y="3859"/>
                  </a:lnTo>
                  <a:lnTo>
                    <a:pt x="2647" y="3875"/>
                  </a:lnTo>
                  <a:lnTo>
                    <a:pt x="2645" y="3890"/>
                  </a:lnTo>
                  <a:lnTo>
                    <a:pt x="2642" y="3906"/>
                  </a:lnTo>
                  <a:lnTo>
                    <a:pt x="2636" y="3922"/>
                  </a:lnTo>
                  <a:lnTo>
                    <a:pt x="2634" y="3927"/>
                  </a:lnTo>
                  <a:lnTo>
                    <a:pt x="2631" y="3932"/>
                  </a:lnTo>
                  <a:lnTo>
                    <a:pt x="2626" y="3938"/>
                  </a:lnTo>
                  <a:lnTo>
                    <a:pt x="2621" y="3943"/>
                  </a:lnTo>
                  <a:lnTo>
                    <a:pt x="2608" y="3955"/>
                  </a:lnTo>
                  <a:lnTo>
                    <a:pt x="2594" y="3967"/>
                  </a:lnTo>
                  <a:lnTo>
                    <a:pt x="2564" y="3990"/>
                  </a:lnTo>
                  <a:lnTo>
                    <a:pt x="2541" y="4008"/>
                  </a:lnTo>
                  <a:lnTo>
                    <a:pt x="2525" y="4023"/>
                  </a:lnTo>
                  <a:lnTo>
                    <a:pt x="2510" y="4040"/>
                  </a:lnTo>
                  <a:lnTo>
                    <a:pt x="2497" y="4058"/>
                  </a:lnTo>
                  <a:lnTo>
                    <a:pt x="2484" y="4077"/>
                  </a:lnTo>
                  <a:lnTo>
                    <a:pt x="2471" y="4095"/>
                  </a:lnTo>
                  <a:lnTo>
                    <a:pt x="2458" y="4113"/>
                  </a:lnTo>
                  <a:lnTo>
                    <a:pt x="2444" y="4129"/>
                  </a:lnTo>
                  <a:lnTo>
                    <a:pt x="2429" y="4144"/>
                  </a:lnTo>
                  <a:lnTo>
                    <a:pt x="2422" y="4157"/>
                  </a:lnTo>
                  <a:lnTo>
                    <a:pt x="2415" y="4170"/>
                  </a:lnTo>
                  <a:lnTo>
                    <a:pt x="2406" y="4181"/>
                  </a:lnTo>
                  <a:lnTo>
                    <a:pt x="2397" y="4193"/>
                  </a:lnTo>
                  <a:lnTo>
                    <a:pt x="2390" y="4205"/>
                  </a:lnTo>
                  <a:lnTo>
                    <a:pt x="2381" y="4216"/>
                  </a:lnTo>
                  <a:lnTo>
                    <a:pt x="2375" y="4229"/>
                  </a:lnTo>
                  <a:lnTo>
                    <a:pt x="2369" y="4243"/>
                  </a:lnTo>
                  <a:lnTo>
                    <a:pt x="2366" y="4256"/>
                  </a:lnTo>
                  <a:lnTo>
                    <a:pt x="2363" y="4269"/>
                  </a:lnTo>
                  <a:lnTo>
                    <a:pt x="2360" y="4284"/>
                  </a:lnTo>
                  <a:lnTo>
                    <a:pt x="2357" y="4300"/>
                  </a:lnTo>
                  <a:lnTo>
                    <a:pt x="2356" y="4315"/>
                  </a:lnTo>
                  <a:lnTo>
                    <a:pt x="2354" y="4331"/>
                  </a:lnTo>
                  <a:lnTo>
                    <a:pt x="2354" y="4348"/>
                  </a:lnTo>
                  <a:lnTo>
                    <a:pt x="2354" y="4364"/>
                  </a:lnTo>
                  <a:lnTo>
                    <a:pt x="2354" y="4381"/>
                  </a:lnTo>
                  <a:lnTo>
                    <a:pt x="2356" y="4397"/>
                  </a:lnTo>
                  <a:lnTo>
                    <a:pt x="2357" y="4413"/>
                  </a:lnTo>
                  <a:lnTo>
                    <a:pt x="2361" y="4428"/>
                  </a:lnTo>
                  <a:lnTo>
                    <a:pt x="2364" y="4443"/>
                  </a:lnTo>
                  <a:lnTo>
                    <a:pt x="2369" y="4456"/>
                  </a:lnTo>
                  <a:lnTo>
                    <a:pt x="2374" y="4469"/>
                  </a:lnTo>
                  <a:lnTo>
                    <a:pt x="2380" y="4480"/>
                  </a:lnTo>
                  <a:lnTo>
                    <a:pt x="2397" y="4505"/>
                  </a:lnTo>
                  <a:lnTo>
                    <a:pt x="2421" y="4536"/>
                  </a:lnTo>
                  <a:lnTo>
                    <a:pt x="2432" y="4552"/>
                  </a:lnTo>
                  <a:lnTo>
                    <a:pt x="2442" y="4568"/>
                  </a:lnTo>
                  <a:lnTo>
                    <a:pt x="2446" y="4575"/>
                  </a:lnTo>
                  <a:lnTo>
                    <a:pt x="2448" y="4581"/>
                  </a:lnTo>
                  <a:lnTo>
                    <a:pt x="2450" y="4587"/>
                  </a:lnTo>
                  <a:lnTo>
                    <a:pt x="2451" y="4591"/>
                  </a:lnTo>
                  <a:lnTo>
                    <a:pt x="2424" y="4606"/>
                  </a:lnTo>
                  <a:lnTo>
                    <a:pt x="2397" y="4619"/>
                  </a:lnTo>
                  <a:lnTo>
                    <a:pt x="2370" y="4633"/>
                  </a:lnTo>
                  <a:lnTo>
                    <a:pt x="2343" y="4646"/>
                  </a:lnTo>
                  <a:lnTo>
                    <a:pt x="2318" y="4660"/>
                  </a:lnTo>
                  <a:lnTo>
                    <a:pt x="2292" y="4675"/>
                  </a:lnTo>
                  <a:lnTo>
                    <a:pt x="2266" y="4692"/>
                  </a:lnTo>
                  <a:lnTo>
                    <a:pt x="2240" y="4709"/>
                  </a:lnTo>
                  <a:lnTo>
                    <a:pt x="2228" y="4719"/>
                  </a:lnTo>
                  <a:lnTo>
                    <a:pt x="2216" y="4729"/>
                  </a:lnTo>
                  <a:lnTo>
                    <a:pt x="2204" y="4741"/>
                  </a:lnTo>
                  <a:lnTo>
                    <a:pt x="2193" y="4753"/>
                  </a:lnTo>
                  <a:lnTo>
                    <a:pt x="2182" y="4766"/>
                  </a:lnTo>
                  <a:lnTo>
                    <a:pt x="2172" y="4780"/>
                  </a:lnTo>
                  <a:lnTo>
                    <a:pt x="2162" y="4794"/>
                  </a:lnTo>
                  <a:lnTo>
                    <a:pt x="2153" y="4808"/>
                  </a:lnTo>
                  <a:lnTo>
                    <a:pt x="2145" y="4823"/>
                  </a:lnTo>
                  <a:lnTo>
                    <a:pt x="2137" y="4838"/>
                  </a:lnTo>
                  <a:lnTo>
                    <a:pt x="2130" y="4854"/>
                  </a:lnTo>
                  <a:lnTo>
                    <a:pt x="2123" y="4870"/>
                  </a:lnTo>
                  <a:lnTo>
                    <a:pt x="2118" y="4885"/>
                  </a:lnTo>
                  <a:lnTo>
                    <a:pt x="2112" y="4901"/>
                  </a:lnTo>
                  <a:lnTo>
                    <a:pt x="2108" y="4916"/>
                  </a:lnTo>
                  <a:lnTo>
                    <a:pt x="2105" y="4932"/>
                  </a:lnTo>
                  <a:lnTo>
                    <a:pt x="2103" y="4954"/>
                  </a:lnTo>
                  <a:lnTo>
                    <a:pt x="2100" y="4980"/>
                  </a:lnTo>
                  <a:lnTo>
                    <a:pt x="2100" y="4993"/>
                  </a:lnTo>
                  <a:lnTo>
                    <a:pt x="2101" y="5006"/>
                  </a:lnTo>
                  <a:lnTo>
                    <a:pt x="2104" y="5011"/>
                  </a:lnTo>
                  <a:lnTo>
                    <a:pt x="2105" y="5017"/>
                  </a:lnTo>
                  <a:lnTo>
                    <a:pt x="2108" y="5021"/>
                  </a:lnTo>
                  <a:lnTo>
                    <a:pt x="2110" y="5025"/>
                  </a:lnTo>
                  <a:lnTo>
                    <a:pt x="2126" y="5042"/>
                  </a:lnTo>
                  <a:lnTo>
                    <a:pt x="2141" y="5054"/>
                  </a:lnTo>
                  <a:lnTo>
                    <a:pt x="2148" y="5062"/>
                  </a:lnTo>
                  <a:lnTo>
                    <a:pt x="2154" y="5071"/>
                  </a:lnTo>
                  <a:lnTo>
                    <a:pt x="2161" y="5079"/>
                  </a:lnTo>
                  <a:lnTo>
                    <a:pt x="2166" y="5091"/>
                  </a:lnTo>
                  <a:lnTo>
                    <a:pt x="2179" y="5130"/>
                  </a:lnTo>
                  <a:lnTo>
                    <a:pt x="2197" y="5180"/>
                  </a:lnTo>
                  <a:lnTo>
                    <a:pt x="2201" y="5192"/>
                  </a:lnTo>
                  <a:lnTo>
                    <a:pt x="2206" y="5204"/>
                  </a:lnTo>
                  <a:lnTo>
                    <a:pt x="2212" y="5214"/>
                  </a:lnTo>
                  <a:lnTo>
                    <a:pt x="2218" y="5225"/>
                  </a:lnTo>
                  <a:lnTo>
                    <a:pt x="2224" y="5234"/>
                  </a:lnTo>
                  <a:lnTo>
                    <a:pt x="2231" y="5241"/>
                  </a:lnTo>
                  <a:lnTo>
                    <a:pt x="2238" y="5247"/>
                  </a:lnTo>
                  <a:lnTo>
                    <a:pt x="2245" y="5251"/>
                  </a:lnTo>
                  <a:lnTo>
                    <a:pt x="2254" y="5254"/>
                  </a:lnTo>
                  <a:lnTo>
                    <a:pt x="2263" y="5256"/>
                  </a:lnTo>
                  <a:lnTo>
                    <a:pt x="2272" y="5258"/>
                  </a:lnTo>
                  <a:lnTo>
                    <a:pt x="2281" y="5259"/>
                  </a:lnTo>
                  <a:lnTo>
                    <a:pt x="2296" y="5259"/>
                  </a:lnTo>
                  <a:lnTo>
                    <a:pt x="2310" y="5260"/>
                  </a:lnTo>
                  <a:lnTo>
                    <a:pt x="2318" y="5261"/>
                  </a:lnTo>
                  <a:lnTo>
                    <a:pt x="2324" y="5262"/>
                  </a:lnTo>
                  <a:lnTo>
                    <a:pt x="2329" y="5265"/>
                  </a:lnTo>
                  <a:lnTo>
                    <a:pt x="2336" y="5268"/>
                  </a:lnTo>
                  <a:lnTo>
                    <a:pt x="2341" y="5274"/>
                  </a:lnTo>
                  <a:lnTo>
                    <a:pt x="2348" y="5281"/>
                  </a:lnTo>
                  <a:lnTo>
                    <a:pt x="2353" y="5290"/>
                  </a:lnTo>
                  <a:lnTo>
                    <a:pt x="2359" y="5301"/>
                  </a:lnTo>
                  <a:lnTo>
                    <a:pt x="2369" y="5326"/>
                  </a:lnTo>
                  <a:lnTo>
                    <a:pt x="2380" y="5351"/>
                  </a:lnTo>
                  <a:lnTo>
                    <a:pt x="2384" y="5366"/>
                  </a:lnTo>
                  <a:lnTo>
                    <a:pt x="2389" y="5378"/>
                  </a:lnTo>
                  <a:lnTo>
                    <a:pt x="2392" y="5393"/>
                  </a:lnTo>
                  <a:lnTo>
                    <a:pt x="2394" y="5405"/>
                  </a:lnTo>
                  <a:lnTo>
                    <a:pt x="2394" y="5418"/>
                  </a:lnTo>
                  <a:lnTo>
                    <a:pt x="2393" y="5430"/>
                  </a:lnTo>
                  <a:lnTo>
                    <a:pt x="2391" y="5443"/>
                  </a:lnTo>
                  <a:lnTo>
                    <a:pt x="2387" y="5454"/>
                  </a:lnTo>
                  <a:lnTo>
                    <a:pt x="2383" y="5459"/>
                  </a:lnTo>
                  <a:lnTo>
                    <a:pt x="2379" y="5465"/>
                  </a:lnTo>
                  <a:lnTo>
                    <a:pt x="2375" y="5470"/>
                  </a:lnTo>
                  <a:lnTo>
                    <a:pt x="2370" y="5476"/>
                  </a:lnTo>
                  <a:lnTo>
                    <a:pt x="2365" y="5480"/>
                  </a:lnTo>
                  <a:lnTo>
                    <a:pt x="2359" y="5484"/>
                  </a:lnTo>
                  <a:lnTo>
                    <a:pt x="2351" y="5489"/>
                  </a:lnTo>
                  <a:lnTo>
                    <a:pt x="2343" y="5493"/>
                  </a:lnTo>
                  <a:lnTo>
                    <a:pt x="2330" y="5497"/>
                  </a:lnTo>
                  <a:lnTo>
                    <a:pt x="2316" y="5502"/>
                  </a:lnTo>
                  <a:lnTo>
                    <a:pt x="2302" y="5505"/>
                  </a:lnTo>
                  <a:lnTo>
                    <a:pt x="2286" y="5507"/>
                  </a:lnTo>
                  <a:lnTo>
                    <a:pt x="2255" y="5510"/>
                  </a:lnTo>
                  <a:lnTo>
                    <a:pt x="2221" y="5512"/>
                  </a:lnTo>
                  <a:lnTo>
                    <a:pt x="2190" y="5515"/>
                  </a:lnTo>
                  <a:lnTo>
                    <a:pt x="2161" y="5519"/>
                  </a:lnTo>
                  <a:lnTo>
                    <a:pt x="2147" y="5521"/>
                  </a:lnTo>
                  <a:lnTo>
                    <a:pt x="2135" y="5525"/>
                  </a:lnTo>
                  <a:lnTo>
                    <a:pt x="2124" y="5530"/>
                  </a:lnTo>
                  <a:lnTo>
                    <a:pt x="2114" y="5536"/>
                  </a:lnTo>
                  <a:lnTo>
                    <a:pt x="2107" y="5540"/>
                  </a:lnTo>
                  <a:lnTo>
                    <a:pt x="2099" y="5546"/>
                  </a:lnTo>
                  <a:lnTo>
                    <a:pt x="2093" y="5549"/>
                  </a:lnTo>
                  <a:lnTo>
                    <a:pt x="2086" y="5551"/>
                  </a:lnTo>
                  <a:lnTo>
                    <a:pt x="2081" y="5552"/>
                  </a:lnTo>
                  <a:lnTo>
                    <a:pt x="2076" y="5553"/>
                  </a:lnTo>
                  <a:lnTo>
                    <a:pt x="2071" y="5553"/>
                  </a:lnTo>
                  <a:lnTo>
                    <a:pt x="2066" y="5552"/>
                  </a:lnTo>
                  <a:lnTo>
                    <a:pt x="2060" y="5550"/>
                  </a:lnTo>
                  <a:lnTo>
                    <a:pt x="2056" y="5548"/>
                  </a:lnTo>
                  <a:lnTo>
                    <a:pt x="2051" y="5544"/>
                  </a:lnTo>
                  <a:lnTo>
                    <a:pt x="2045" y="5540"/>
                  </a:lnTo>
                  <a:lnTo>
                    <a:pt x="2033" y="5530"/>
                  </a:lnTo>
                  <a:lnTo>
                    <a:pt x="2019" y="5517"/>
                  </a:lnTo>
                  <a:lnTo>
                    <a:pt x="2012" y="5511"/>
                  </a:lnTo>
                  <a:lnTo>
                    <a:pt x="2002" y="5506"/>
                  </a:lnTo>
                  <a:lnTo>
                    <a:pt x="1991" y="5501"/>
                  </a:lnTo>
                  <a:lnTo>
                    <a:pt x="1979" y="5494"/>
                  </a:lnTo>
                  <a:lnTo>
                    <a:pt x="1970" y="5489"/>
                  </a:lnTo>
                  <a:lnTo>
                    <a:pt x="1960" y="5482"/>
                  </a:lnTo>
                  <a:lnTo>
                    <a:pt x="1957" y="5478"/>
                  </a:lnTo>
                  <a:lnTo>
                    <a:pt x="1953" y="5475"/>
                  </a:lnTo>
                  <a:lnTo>
                    <a:pt x="1951" y="5470"/>
                  </a:lnTo>
                  <a:lnTo>
                    <a:pt x="1950" y="5467"/>
                  </a:lnTo>
                  <a:lnTo>
                    <a:pt x="1947" y="5450"/>
                  </a:lnTo>
                  <a:lnTo>
                    <a:pt x="1944" y="5436"/>
                  </a:lnTo>
                  <a:lnTo>
                    <a:pt x="1939" y="5424"/>
                  </a:lnTo>
                  <a:lnTo>
                    <a:pt x="1935" y="5414"/>
                  </a:lnTo>
                  <a:lnTo>
                    <a:pt x="1931" y="5407"/>
                  </a:lnTo>
                  <a:lnTo>
                    <a:pt x="1926" y="5400"/>
                  </a:lnTo>
                  <a:lnTo>
                    <a:pt x="1921" y="5396"/>
                  </a:lnTo>
                  <a:lnTo>
                    <a:pt x="1916" y="5394"/>
                  </a:lnTo>
                  <a:lnTo>
                    <a:pt x="1909" y="5393"/>
                  </a:lnTo>
                  <a:lnTo>
                    <a:pt x="1904" y="5393"/>
                  </a:lnTo>
                  <a:lnTo>
                    <a:pt x="1897" y="5394"/>
                  </a:lnTo>
                  <a:lnTo>
                    <a:pt x="1891" y="5397"/>
                  </a:lnTo>
                  <a:lnTo>
                    <a:pt x="1884" y="5400"/>
                  </a:lnTo>
                  <a:lnTo>
                    <a:pt x="1878" y="5404"/>
                  </a:lnTo>
                  <a:lnTo>
                    <a:pt x="1871" y="5410"/>
                  </a:lnTo>
                  <a:lnTo>
                    <a:pt x="1864" y="5416"/>
                  </a:lnTo>
                  <a:lnTo>
                    <a:pt x="1836" y="5444"/>
                  </a:lnTo>
                  <a:lnTo>
                    <a:pt x="1808" y="5475"/>
                  </a:lnTo>
                  <a:lnTo>
                    <a:pt x="1794" y="5488"/>
                  </a:lnTo>
                  <a:lnTo>
                    <a:pt x="1781" y="5498"/>
                  </a:lnTo>
                  <a:lnTo>
                    <a:pt x="1774" y="5502"/>
                  </a:lnTo>
                  <a:lnTo>
                    <a:pt x="1768" y="5505"/>
                  </a:lnTo>
                  <a:lnTo>
                    <a:pt x="1762" y="5507"/>
                  </a:lnTo>
                  <a:lnTo>
                    <a:pt x="1756" y="5507"/>
                  </a:lnTo>
                  <a:lnTo>
                    <a:pt x="1748" y="5498"/>
                  </a:lnTo>
                  <a:lnTo>
                    <a:pt x="1738" y="5485"/>
                  </a:lnTo>
                  <a:lnTo>
                    <a:pt x="1729" y="5470"/>
                  </a:lnTo>
                  <a:lnTo>
                    <a:pt x="1720" y="5454"/>
                  </a:lnTo>
                  <a:lnTo>
                    <a:pt x="1711" y="5437"/>
                  </a:lnTo>
                  <a:lnTo>
                    <a:pt x="1705" y="5422"/>
                  </a:lnTo>
                  <a:lnTo>
                    <a:pt x="1702" y="5414"/>
                  </a:lnTo>
                  <a:lnTo>
                    <a:pt x="1700" y="5407"/>
                  </a:lnTo>
                  <a:lnTo>
                    <a:pt x="1699" y="5400"/>
                  </a:lnTo>
                  <a:lnTo>
                    <a:pt x="1699" y="5395"/>
                  </a:lnTo>
                  <a:lnTo>
                    <a:pt x="1730" y="5373"/>
                  </a:lnTo>
                  <a:lnTo>
                    <a:pt x="1753" y="5356"/>
                  </a:lnTo>
                  <a:lnTo>
                    <a:pt x="1763" y="5346"/>
                  </a:lnTo>
                  <a:lnTo>
                    <a:pt x="1772" y="5333"/>
                  </a:lnTo>
                  <a:lnTo>
                    <a:pt x="1782" y="5317"/>
                  </a:lnTo>
                  <a:lnTo>
                    <a:pt x="1791" y="5297"/>
                  </a:lnTo>
                  <a:lnTo>
                    <a:pt x="1799" y="5283"/>
                  </a:lnTo>
                  <a:lnTo>
                    <a:pt x="1805" y="5272"/>
                  </a:lnTo>
                  <a:lnTo>
                    <a:pt x="1812" y="5260"/>
                  </a:lnTo>
                  <a:lnTo>
                    <a:pt x="1819" y="5250"/>
                  </a:lnTo>
                  <a:lnTo>
                    <a:pt x="1832" y="5232"/>
                  </a:lnTo>
                  <a:lnTo>
                    <a:pt x="1845" y="5214"/>
                  </a:lnTo>
                  <a:lnTo>
                    <a:pt x="1851" y="5205"/>
                  </a:lnTo>
                  <a:lnTo>
                    <a:pt x="1856" y="5196"/>
                  </a:lnTo>
                  <a:lnTo>
                    <a:pt x="1862" y="5185"/>
                  </a:lnTo>
                  <a:lnTo>
                    <a:pt x="1865" y="5174"/>
                  </a:lnTo>
                  <a:lnTo>
                    <a:pt x="1868" y="5162"/>
                  </a:lnTo>
                  <a:lnTo>
                    <a:pt x="1870" y="5148"/>
                  </a:lnTo>
                  <a:lnTo>
                    <a:pt x="1872" y="5133"/>
                  </a:lnTo>
                  <a:lnTo>
                    <a:pt x="1872" y="5116"/>
                  </a:lnTo>
                  <a:lnTo>
                    <a:pt x="1872" y="5104"/>
                  </a:lnTo>
                  <a:lnTo>
                    <a:pt x="1870" y="5091"/>
                  </a:lnTo>
                  <a:lnTo>
                    <a:pt x="1868" y="5079"/>
                  </a:lnTo>
                  <a:lnTo>
                    <a:pt x="1864" y="5067"/>
                  </a:lnTo>
                  <a:lnTo>
                    <a:pt x="1859" y="5054"/>
                  </a:lnTo>
                  <a:lnTo>
                    <a:pt x="1854" y="5043"/>
                  </a:lnTo>
                  <a:lnTo>
                    <a:pt x="1849" y="5031"/>
                  </a:lnTo>
                  <a:lnTo>
                    <a:pt x="1842" y="5019"/>
                  </a:lnTo>
                  <a:lnTo>
                    <a:pt x="1829" y="4995"/>
                  </a:lnTo>
                  <a:lnTo>
                    <a:pt x="1815" y="4971"/>
                  </a:lnTo>
                  <a:lnTo>
                    <a:pt x="1802" y="4949"/>
                  </a:lnTo>
                  <a:lnTo>
                    <a:pt x="1789" y="4927"/>
                  </a:lnTo>
                  <a:lnTo>
                    <a:pt x="1785" y="4918"/>
                  </a:lnTo>
                  <a:lnTo>
                    <a:pt x="1780" y="4910"/>
                  </a:lnTo>
                  <a:lnTo>
                    <a:pt x="1773" y="4903"/>
                  </a:lnTo>
                  <a:lnTo>
                    <a:pt x="1768" y="4898"/>
                  </a:lnTo>
                  <a:lnTo>
                    <a:pt x="1756" y="4888"/>
                  </a:lnTo>
                  <a:lnTo>
                    <a:pt x="1743" y="4880"/>
                  </a:lnTo>
                  <a:lnTo>
                    <a:pt x="1731" y="4872"/>
                  </a:lnTo>
                  <a:lnTo>
                    <a:pt x="1720" y="4862"/>
                  </a:lnTo>
                  <a:lnTo>
                    <a:pt x="1715" y="4857"/>
                  </a:lnTo>
                  <a:lnTo>
                    <a:pt x="1709" y="4850"/>
                  </a:lnTo>
                  <a:lnTo>
                    <a:pt x="1705" y="4843"/>
                  </a:lnTo>
                  <a:lnTo>
                    <a:pt x="1701" y="4834"/>
                  </a:lnTo>
                  <a:lnTo>
                    <a:pt x="1690" y="4809"/>
                  </a:lnTo>
                  <a:lnTo>
                    <a:pt x="1679" y="4791"/>
                  </a:lnTo>
                  <a:lnTo>
                    <a:pt x="1667" y="4774"/>
                  </a:lnTo>
                  <a:lnTo>
                    <a:pt x="1650" y="4752"/>
                  </a:lnTo>
                  <a:lnTo>
                    <a:pt x="1638" y="4737"/>
                  </a:lnTo>
                  <a:lnTo>
                    <a:pt x="1624" y="4721"/>
                  </a:lnTo>
                  <a:lnTo>
                    <a:pt x="1616" y="4714"/>
                  </a:lnTo>
                  <a:lnTo>
                    <a:pt x="1608" y="4709"/>
                  </a:lnTo>
                  <a:lnTo>
                    <a:pt x="1603" y="4707"/>
                  </a:lnTo>
                  <a:lnTo>
                    <a:pt x="1598" y="4706"/>
                  </a:lnTo>
                  <a:lnTo>
                    <a:pt x="1594" y="4705"/>
                  </a:lnTo>
                  <a:lnTo>
                    <a:pt x="1588" y="4705"/>
                  </a:lnTo>
                  <a:lnTo>
                    <a:pt x="1581" y="4706"/>
                  </a:lnTo>
                  <a:lnTo>
                    <a:pt x="1573" y="4708"/>
                  </a:lnTo>
                  <a:lnTo>
                    <a:pt x="1567" y="4710"/>
                  </a:lnTo>
                  <a:lnTo>
                    <a:pt x="1560" y="4713"/>
                  </a:lnTo>
                  <a:lnTo>
                    <a:pt x="1554" y="4715"/>
                  </a:lnTo>
                  <a:lnTo>
                    <a:pt x="1546" y="4718"/>
                  </a:lnTo>
                  <a:lnTo>
                    <a:pt x="1538" y="4719"/>
                  </a:lnTo>
                  <a:lnTo>
                    <a:pt x="1528" y="4718"/>
                  </a:lnTo>
                  <a:lnTo>
                    <a:pt x="1520" y="4715"/>
                  </a:lnTo>
                  <a:lnTo>
                    <a:pt x="1513" y="4713"/>
                  </a:lnTo>
                  <a:lnTo>
                    <a:pt x="1506" y="4711"/>
                  </a:lnTo>
                  <a:lnTo>
                    <a:pt x="1499" y="4707"/>
                  </a:lnTo>
                  <a:lnTo>
                    <a:pt x="1486" y="4699"/>
                  </a:lnTo>
                  <a:lnTo>
                    <a:pt x="1473" y="4691"/>
                  </a:lnTo>
                  <a:lnTo>
                    <a:pt x="1460" y="4681"/>
                  </a:lnTo>
                  <a:lnTo>
                    <a:pt x="1447" y="4672"/>
                  </a:lnTo>
                  <a:lnTo>
                    <a:pt x="1434" y="4665"/>
                  </a:lnTo>
                  <a:lnTo>
                    <a:pt x="1420" y="4658"/>
                  </a:lnTo>
                  <a:lnTo>
                    <a:pt x="1401" y="4653"/>
                  </a:lnTo>
                  <a:lnTo>
                    <a:pt x="1381" y="4649"/>
                  </a:lnTo>
                  <a:lnTo>
                    <a:pt x="1360" y="4646"/>
                  </a:lnTo>
                  <a:lnTo>
                    <a:pt x="1340" y="4644"/>
                  </a:lnTo>
                  <a:lnTo>
                    <a:pt x="1318" y="4643"/>
                  </a:lnTo>
                  <a:lnTo>
                    <a:pt x="1298" y="4643"/>
                  </a:lnTo>
                  <a:lnTo>
                    <a:pt x="1277" y="4643"/>
                  </a:lnTo>
                  <a:lnTo>
                    <a:pt x="1258" y="4644"/>
                  </a:lnTo>
                  <a:lnTo>
                    <a:pt x="1222" y="4649"/>
                  </a:lnTo>
                  <a:lnTo>
                    <a:pt x="1186" y="4658"/>
                  </a:lnTo>
                  <a:lnTo>
                    <a:pt x="1149" y="4667"/>
                  </a:lnTo>
                  <a:lnTo>
                    <a:pt x="1112" y="4675"/>
                  </a:lnTo>
                  <a:lnTo>
                    <a:pt x="1092" y="4680"/>
                  </a:lnTo>
                  <a:lnTo>
                    <a:pt x="1074" y="4683"/>
                  </a:lnTo>
                  <a:lnTo>
                    <a:pt x="1056" y="4686"/>
                  </a:lnTo>
                  <a:lnTo>
                    <a:pt x="1037" y="4688"/>
                  </a:lnTo>
                  <a:lnTo>
                    <a:pt x="1019" y="4689"/>
                  </a:lnTo>
                  <a:lnTo>
                    <a:pt x="1001" y="4689"/>
                  </a:lnTo>
                  <a:lnTo>
                    <a:pt x="982" y="4688"/>
                  </a:lnTo>
                  <a:lnTo>
                    <a:pt x="965" y="4685"/>
                  </a:lnTo>
                  <a:lnTo>
                    <a:pt x="955" y="4683"/>
                  </a:lnTo>
                  <a:lnTo>
                    <a:pt x="946" y="4680"/>
                  </a:lnTo>
                  <a:lnTo>
                    <a:pt x="936" y="4675"/>
                  </a:lnTo>
                  <a:lnTo>
                    <a:pt x="925" y="4670"/>
                  </a:lnTo>
                  <a:lnTo>
                    <a:pt x="914" y="4665"/>
                  </a:lnTo>
                  <a:lnTo>
                    <a:pt x="903" y="4657"/>
                  </a:lnTo>
                  <a:lnTo>
                    <a:pt x="893" y="4651"/>
                  </a:lnTo>
                  <a:lnTo>
                    <a:pt x="883" y="4642"/>
                  </a:lnTo>
                  <a:lnTo>
                    <a:pt x="862" y="4626"/>
                  </a:lnTo>
                  <a:lnTo>
                    <a:pt x="845" y="4608"/>
                  </a:lnTo>
                  <a:lnTo>
                    <a:pt x="838" y="4599"/>
                  </a:lnTo>
                  <a:lnTo>
                    <a:pt x="830" y="4590"/>
                  </a:lnTo>
                  <a:lnTo>
                    <a:pt x="825" y="4581"/>
                  </a:lnTo>
                  <a:lnTo>
                    <a:pt x="819" y="4573"/>
                  </a:lnTo>
                  <a:lnTo>
                    <a:pt x="817" y="4566"/>
                  </a:lnTo>
                  <a:lnTo>
                    <a:pt x="815" y="4560"/>
                  </a:lnTo>
                  <a:lnTo>
                    <a:pt x="814" y="4552"/>
                  </a:lnTo>
                  <a:lnTo>
                    <a:pt x="814" y="4545"/>
                  </a:lnTo>
                  <a:lnTo>
                    <a:pt x="814" y="4530"/>
                  </a:lnTo>
                  <a:lnTo>
                    <a:pt x="815" y="4514"/>
                  </a:lnTo>
                  <a:lnTo>
                    <a:pt x="816" y="4500"/>
                  </a:lnTo>
                  <a:lnTo>
                    <a:pt x="815" y="4487"/>
                  </a:lnTo>
                  <a:lnTo>
                    <a:pt x="814" y="4481"/>
                  </a:lnTo>
                  <a:lnTo>
                    <a:pt x="812" y="4476"/>
                  </a:lnTo>
                  <a:lnTo>
                    <a:pt x="808" y="4471"/>
                  </a:lnTo>
                  <a:lnTo>
                    <a:pt x="804" y="4467"/>
                  </a:lnTo>
                  <a:lnTo>
                    <a:pt x="793" y="4458"/>
                  </a:lnTo>
                  <a:lnTo>
                    <a:pt x="786" y="4450"/>
                  </a:lnTo>
                  <a:lnTo>
                    <a:pt x="780" y="4441"/>
                  </a:lnTo>
                  <a:lnTo>
                    <a:pt x="776" y="4433"/>
                  </a:lnTo>
                  <a:lnTo>
                    <a:pt x="769" y="4421"/>
                  </a:lnTo>
                  <a:lnTo>
                    <a:pt x="762" y="4409"/>
                  </a:lnTo>
                  <a:lnTo>
                    <a:pt x="762" y="4409"/>
                  </a:lnTo>
                  <a:lnTo>
                    <a:pt x="800" y="4334"/>
                  </a:lnTo>
                  <a:lnTo>
                    <a:pt x="809" y="4313"/>
                  </a:lnTo>
                  <a:lnTo>
                    <a:pt x="816" y="4291"/>
                  </a:lnTo>
                  <a:lnTo>
                    <a:pt x="818" y="4281"/>
                  </a:lnTo>
                  <a:lnTo>
                    <a:pt x="819" y="4271"/>
                  </a:lnTo>
                  <a:lnTo>
                    <a:pt x="819" y="4262"/>
                  </a:lnTo>
                  <a:lnTo>
                    <a:pt x="818" y="4253"/>
                  </a:lnTo>
                  <a:lnTo>
                    <a:pt x="816" y="4246"/>
                  </a:lnTo>
                  <a:lnTo>
                    <a:pt x="813" y="4238"/>
                  </a:lnTo>
                  <a:lnTo>
                    <a:pt x="808" y="4230"/>
                  </a:lnTo>
                  <a:lnTo>
                    <a:pt x="803" y="4224"/>
                  </a:lnTo>
                  <a:lnTo>
                    <a:pt x="795" y="4219"/>
                  </a:lnTo>
                  <a:lnTo>
                    <a:pt x="786" y="4213"/>
                  </a:lnTo>
                  <a:lnTo>
                    <a:pt x="775" y="4209"/>
                  </a:lnTo>
                  <a:lnTo>
                    <a:pt x="762" y="4206"/>
                  </a:lnTo>
                  <a:lnTo>
                    <a:pt x="747" y="4202"/>
                  </a:lnTo>
                  <a:lnTo>
                    <a:pt x="734" y="4198"/>
                  </a:lnTo>
                  <a:lnTo>
                    <a:pt x="722" y="4193"/>
                  </a:lnTo>
                  <a:lnTo>
                    <a:pt x="712" y="4186"/>
                  </a:lnTo>
                  <a:lnTo>
                    <a:pt x="704" y="4180"/>
                  </a:lnTo>
                  <a:lnTo>
                    <a:pt x="697" y="4172"/>
                  </a:lnTo>
                  <a:lnTo>
                    <a:pt x="691" y="4165"/>
                  </a:lnTo>
                  <a:lnTo>
                    <a:pt x="686" y="4156"/>
                  </a:lnTo>
                  <a:lnTo>
                    <a:pt x="683" y="4146"/>
                  </a:lnTo>
                  <a:lnTo>
                    <a:pt x="680" y="4136"/>
                  </a:lnTo>
                  <a:lnTo>
                    <a:pt x="679" y="4126"/>
                  </a:lnTo>
                  <a:lnTo>
                    <a:pt x="678" y="4114"/>
                  </a:lnTo>
                  <a:lnTo>
                    <a:pt x="677" y="4089"/>
                  </a:lnTo>
                  <a:lnTo>
                    <a:pt x="679" y="4062"/>
                  </a:lnTo>
                  <a:lnTo>
                    <a:pt x="679" y="4043"/>
                  </a:lnTo>
                  <a:lnTo>
                    <a:pt x="678" y="4024"/>
                  </a:lnTo>
                  <a:lnTo>
                    <a:pt x="675" y="4007"/>
                  </a:lnTo>
                  <a:lnTo>
                    <a:pt x="672" y="3990"/>
                  </a:lnTo>
                  <a:lnTo>
                    <a:pt x="664" y="3955"/>
                  </a:lnTo>
                  <a:lnTo>
                    <a:pt x="657" y="3919"/>
                  </a:lnTo>
                  <a:lnTo>
                    <a:pt x="656" y="3908"/>
                  </a:lnTo>
                  <a:lnTo>
                    <a:pt x="656" y="3897"/>
                  </a:lnTo>
                  <a:lnTo>
                    <a:pt x="657" y="3886"/>
                  </a:lnTo>
                  <a:lnTo>
                    <a:pt x="659" y="3875"/>
                  </a:lnTo>
                  <a:lnTo>
                    <a:pt x="663" y="3865"/>
                  </a:lnTo>
                  <a:lnTo>
                    <a:pt x="666" y="3855"/>
                  </a:lnTo>
                  <a:lnTo>
                    <a:pt x="670" y="3845"/>
                  </a:lnTo>
                  <a:lnTo>
                    <a:pt x="675" y="3835"/>
                  </a:lnTo>
                  <a:lnTo>
                    <a:pt x="699" y="3796"/>
                  </a:lnTo>
                  <a:lnTo>
                    <a:pt x="723" y="3760"/>
                  </a:lnTo>
                  <a:lnTo>
                    <a:pt x="726" y="3740"/>
                  </a:lnTo>
                  <a:lnTo>
                    <a:pt x="728" y="3720"/>
                  </a:lnTo>
                  <a:lnTo>
                    <a:pt x="731" y="3700"/>
                  </a:lnTo>
                  <a:lnTo>
                    <a:pt x="732" y="3680"/>
                  </a:lnTo>
                  <a:lnTo>
                    <a:pt x="732" y="3639"/>
                  </a:lnTo>
                  <a:lnTo>
                    <a:pt x="729" y="3598"/>
                  </a:lnTo>
                  <a:lnTo>
                    <a:pt x="726" y="3555"/>
                  </a:lnTo>
                  <a:lnTo>
                    <a:pt x="722" y="3514"/>
                  </a:lnTo>
                  <a:lnTo>
                    <a:pt x="718" y="3474"/>
                  </a:lnTo>
                  <a:lnTo>
                    <a:pt x="714" y="3434"/>
                  </a:lnTo>
                  <a:lnTo>
                    <a:pt x="711" y="3409"/>
                  </a:lnTo>
                  <a:lnTo>
                    <a:pt x="707" y="3384"/>
                  </a:lnTo>
                  <a:lnTo>
                    <a:pt x="704" y="3371"/>
                  </a:lnTo>
                  <a:lnTo>
                    <a:pt x="701" y="3359"/>
                  </a:lnTo>
                  <a:lnTo>
                    <a:pt x="699" y="3346"/>
                  </a:lnTo>
                  <a:lnTo>
                    <a:pt x="698" y="3333"/>
                  </a:lnTo>
                  <a:lnTo>
                    <a:pt x="698" y="3319"/>
                  </a:lnTo>
                  <a:lnTo>
                    <a:pt x="700" y="3305"/>
                  </a:lnTo>
                  <a:lnTo>
                    <a:pt x="702" y="3291"/>
                  </a:lnTo>
                  <a:lnTo>
                    <a:pt x="705" y="3278"/>
                  </a:lnTo>
                  <a:lnTo>
                    <a:pt x="711" y="3252"/>
                  </a:lnTo>
                  <a:lnTo>
                    <a:pt x="717" y="3224"/>
                  </a:lnTo>
                  <a:lnTo>
                    <a:pt x="715" y="3193"/>
                  </a:lnTo>
                  <a:lnTo>
                    <a:pt x="715" y="3163"/>
                  </a:lnTo>
                  <a:lnTo>
                    <a:pt x="715" y="3149"/>
                  </a:lnTo>
                  <a:lnTo>
                    <a:pt x="717" y="3135"/>
                  </a:lnTo>
                  <a:lnTo>
                    <a:pt x="718" y="3120"/>
                  </a:lnTo>
                  <a:lnTo>
                    <a:pt x="721" y="3104"/>
                  </a:lnTo>
                  <a:lnTo>
                    <a:pt x="725" y="3088"/>
                  </a:lnTo>
                  <a:lnTo>
                    <a:pt x="732" y="3074"/>
                  </a:lnTo>
                  <a:lnTo>
                    <a:pt x="739" y="3060"/>
                  </a:lnTo>
                  <a:lnTo>
                    <a:pt x="747" y="3047"/>
                  </a:lnTo>
                  <a:lnTo>
                    <a:pt x="755" y="3033"/>
                  </a:lnTo>
                  <a:lnTo>
                    <a:pt x="763" y="3020"/>
                  </a:lnTo>
                  <a:lnTo>
                    <a:pt x="769" y="3006"/>
                  </a:lnTo>
                  <a:lnTo>
                    <a:pt x="775" y="2992"/>
                  </a:lnTo>
                  <a:lnTo>
                    <a:pt x="779" y="2972"/>
                  </a:lnTo>
                  <a:lnTo>
                    <a:pt x="782" y="2953"/>
                  </a:lnTo>
                  <a:lnTo>
                    <a:pt x="784" y="2934"/>
                  </a:lnTo>
                  <a:lnTo>
                    <a:pt x="782" y="2917"/>
                  </a:lnTo>
                  <a:lnTo>
                    <a:pt x="780" y="2901"/>
                  </a:lnTo>
                  <a:lnTo>
                    <a:pt x="777" y="2885"/>
                  </a:lnTo>
                  <a:lnTo>
                    <a:pt x="773" y="2869"/>
                  </a:lnTo>
                  <a:lnTo>
                    <a:pt x="767" y="2853"/>
                  </a:lnTo>
                  <a:lnTo>
                    <a:pt x="758" y="2822"/>
                  </a:lnTo>
                  <a:lnTo>
                    <a:pt x="747" y="2790"/>
                  </a:lnTo>
                  <a:lnTo>
                    <a:pt x="742" y="2774"/>
                  </a:lnTo>
                  <a:lnTo>
                    <a:pt x="739" y="2757"/>
                  </a:lnTo>
                  <a:lnTo>
                    <a:pt x="737" y="2739"/>
                  </a:lnTo>
                  <a:lnTo>
                    <a:pt x="736" y="2721"/>
                  </a:lnTo>
                  <a:lnTo>
                    <a:pt x="736" y="2710"/>
                  </a:lnTo>
                  <a:lnTo>
                    <a:pt x="737" y="2699"/>
                  </a:lnTo>
                  <a:lnTo>
                    <a:pt x="738" y="2688"/>
                  </a:lnTo>
                  <a:lnTo>
                    <a:pt x="740" y="2678"/>
                  </a:lnTo>
                  <a:lnTo>
                    <a:pt x="746" y="2658"/>
                  </a:lnTo>
                  <a:lnTo>
                    <a:pt x="751" y="2640"/>
                  </a:lnTo>
                  <a:lnTo>
                    <a:pt x="755" y="2620"/>
                  </a:lnTo>
                  <a:lnTo>
                    <a:pt x="759" y="2601"/>
                  </a:lnTo>
                  <a:lnTo>
                    <a:pt x="759" y="2591"/>
                  </a:lnTo>
                  <a:lnTo>
                    <a:pt x="759" y="2580"/>
                  </a:lnTo>
                  <a:lnTo>
                    <a:pt x="758" y="2570"/>
                  </a:lnTo>
                  <a:lnTo>
                    <a:pt x="755" y="2559"/>
                  </a:lnTo>
                  <a:lnTo>
                    <a:pt x="751" y="2538"/>
                  </a:lnTo>
                  <a:lnTo>
                    <a:pt x="746" y="2519"/>
                  </a:lnTo>
                  <a:lnTo>
                    <a:pt x="740" y="2499"/>
                  </a:lnTo>
                  <a:lnTo>
                    <a:pt x="734" y="2479"/>
                  </a:lnTo>
                  <a:lnTo>
                    <a:pt x="720" y="2440"/>
                  </a:lnTo>
                  <a:lnTo>
                    <a:pt x="704" y="2402"/>
                  </a:lnTo>
                  <a:lnTo>
                    <a:pt x="687" y="2363"/>
                  </a:lnTo>
                  <a:lnTo>
                    <a:pt x="672" y="2324"/>
                  </a:lnTo>
                  <a:lnTo>
                    <a:pt x="666" y="2305"/>
                  </a:lnTo>
                  <a:lnTo>
                    <a:pt x="659" y="2284"/>
                  </a:lnTo>
                  <a:lnTo>
                    <a:pt x="654" y="2265"/>
                  </a:lnTo>
                  <a:lnTo>
                    <a:pt x="648" y="2244"/>
                  </a:lnTo>
                  <a:lnTo>
                    <a:pt x="602" y="2026"/>
                  </a:lnTo>
                  <a:lnTo>
                    <a:pt x="600" y="2007"/>
                  </a:lnTo>
                  <a:lnTo>
                    <a:pt x="598" y="1991"/>
                  </a:lnTo>
                  <a:lnTo>
                    <a:pt x="593" y="1975"/>
                  </a:lnTo>
                  <a:lnTo>
                    <a:pt x="588" y="1964"/>
                  </a:lnTo>
                  <a:lnTo>
                    <a:pt x="583" y="1952"/>
                  </a:lnTo>
                  <a:lnTo>
                    <a:pt x="575" y="1942"/>
                  </a:lnTo>
                  <a:lnTo>
                    <a:pt x="566" y="1933"/>
                  </a:lnTo>
                  <a:lnTo>
                    <a:pt x="558" y="1926"/>
                  </a:lnTo>
                  <a:lnTo>
                    <a:pt x="548" y="1919"/>
                  </a:lnTo>
                  <a:lnTo>
                    <a:pt x="537" y="1913"/>
                  </a:lnTo>
                  <a:lnTo>
                    <a:pt x="525" y="1907"/>
                  </a:lnTo>
                  <a:lnTo>
                    <a:pt x="512" y="1902"/>
                  </a:lnTo>
                  <a:lnTo>
                    <a:pt x="485" y="1890"/>
                  </a:lnTo>
                  <a:lnTo>
                    <a:pt x="455" y="1878"/>
                  </a:lnTo>
                  <a:lnTo>
                    <a:pt x="445" y="1873"/>
                  </a:lnTo>
                  <a:lnTo>
                    <a:pt x="437" y="1865"/>
                  </a:lnTo>
                  <a:lnTo>
                    <a:pt x="428" y="1857"/>
                  </a:lnTo>
                  <a:lnTo>
                    <a:pt x="421" y="1846"/>
                  </a:lnTo>
                  <a:lnTo>
                    <a:pt x="413" y="1833"/>
                  </a:lnTo>
                  <a:lnTo>
                    <a:pt x="406" y="1820"/>
                  </a:lnTo>
                  <a:lnTo>
                    <a:pt x="401" y="1807"/>
                  </a:lnTo>
                  <a:lnTo>
                    <a:pt x="398" y="1793"/>
                  </a:lnTo>
                  <a:lnTo>
                    <a:pt x="395" y="1778"/>
                  </a:lnTo>
                  <a:lnTo>
                    <a:pt x="394" y="1764"/>
                  </a:lnTo>
                  <a:lnTo>
                    <a:pt x="392" y="1751"/>
                  </a:lnTo>
                  <a:lnTo>
                    <a:pt x="395" y="1737"/>
                  </a:lnTo>
                  <a:lnTo>
                    <a:pt x="397" y="1725"/>
                  </a:lnTo>
                  <a:lnTo>
                    <a:pt x="402" y="1714"/>
                  </a:lnTo>
                  <a:lnTo>
                    <a:pt x="405" y="1710"/>
                  </a:lnTo>
                  <a:lnTo>
                    <a:pt x="409" y="1705"/>
                  </a:lnTo>
                  <a:lnTo>
                    <a:pt x="413" y="1701"/>
                  </a:lnTo>
                  <a:lnTo>
                    <a:pt x="417" y="1698"/>
                  </a:lnTo>
                  <a:lnTo>
                    <a:pt x="442" y="1685"/>
                  </a:lnTo>
                  <a:lnTo>
                    <a:pt x="470" y="1672"/>
                  </a:lnTo>
                  <a:lnTo>
                    <a:pt x="477" y="1668"/>
                  </a:lnTo>
                  <a:lnTo>
                    <a:pt x="482" y="1663"/>
                  </a:lnTo>
                  <a:lnTo>
                    <a:pt x="488" y="1659"/>
                  </a:lnTo>
                  <a:lnTo>
                    <a:pt x="492" y="1654"/>
                  </a:lnTo>
                  <a:lnTo>
                    <a:pt x="495" y="1648"/>
                  </a:lnTo>
                  <a:lnTo>
                    <a:pt x="497" y="1642"/>
                  </a:lnTo>
                  <a:lnTo>
                    <a:pt x="498" y="1634"/>
                  </a:lnTo>
                  <a:lnTo>
                    <a:pt x="497" y="1627"/>
                  </a:lnTo>
                  <a:lnTo>
                    <a:pt x="495" y="1616"/>
                  </a:lnTo>
                  <a:lnTo>
                    <a:pt x="491" y="1605"/>
                  </a:lnTo>
                  <a:lnTo>
                    <a:pt x="486" y="1595"/>
                  </a:lnTo>
                  <a:lnTo>
                    <a:pt x="481" y="1587"/>
                  </a:lnTo>
                  <a:lnTo>
                    <a:pt x="469" y="1571"/>
                  </a:lnTo>
                  <a:lnTo>
                    <a:pt x="456" y="1556"/>
                  </a:lnTo>
                  <a:lnTo>
                    <a:pt x="451" y="1549"/>
                  </a:lnTo>
                  <a:lnTo>
                    <a:pt x="444" y="1540"/>
                  </a:lnTo>
                  <a:lnTo>
                    <a:pt x="440" y="1533"/>
                  </a:lnTo>
                  <a:lnTo>
                    <a:pt x="435" y="1524"/>
                  </a:lnTo>
                  <a:lnTo>
                    <a:pt x="431" y="1514"/>
                  </a:lnTo>
                  <a:lnTo>
                    <a:pt x="428" y="1503"/>
                  </a:lnTo>
                  <a:lnTo>
                    <a:pt x="427" y="1492"/>
                  </a:lnTo>
                  <a:lnTo>
                    <a:pt x="427" y="1479"/>
                  </a:lnTo>
                  <a:lnTo>
                    <a:pt x="426" y="1472"/>
                  </a:lnTo>
                  <a:lnTo>
                    <a:pt x="425" y="1467"/>
                  </a:lnTo>
                  <a:lnTo>
                    <a:pt x="422" y="1461"/>
                  </a:lnTo>
                  <a:lnTo>
                    <a:pt x="418" y="1457"/>
                  </a:lnTo>
                  <a:lnTo>
                    <a:pt x="409" y="1448"/>
                  </a:lnTo>
                  <a:lnTo>
                    <a:pt x="398" y="1440"/>
                  </a:lnTo>
                  <a:lnTo>
                    <a:pt x="372" y="1426"/>
                  </a:lnTo>
                  <a:lnTo>
                    <a:pt x="351" y="1412"/>
                  </a:lnTo>
                  <a:lnTo>
                    <a:pt x="347" y="1406"/>
                  </a:lnTo>
                  <a:lnTo>
                    <a:pt x="342" y="1399"/>
                  </a:lnTo>
                  <a:lnTo>
                    <a:pt x="337" y="1390"/>
                  </a:lnTo>
                  <a:lnTo>
                    <a:pt x="333" y="1380"/>
                  </a:lnTo>
                  <a:lnTo>
                    <a:pt x="325" y="1359"/>
                  </a:lnTo>
                  <a:lnTo>
                    <a:pt x="319" y="1333"/>
                  </a:lnTo>
                  <a:lnTo>
                    <a:pt x="314" y="1308"/>
                  </a:lnTo>
                  <a:lnTo>
                    <a:pt x="309" y="1283"/>
                  </a:lnTo>
                  <a:lnTo>
                    <a:pt x="306" y="1262"/>
                  </a:lnTo>
                  <a:lnTo>
                    <a:pt x="304" y="1245"/>
                  </a:lnTo>
                  <a:lnTo>
                    <a:pt x="303" y="1232"/>
                  </a:lnTo>
                  <a:lnTo>
                    <a:pt x="298" y="1220"/>
                  </a:lnTo>
                  <a:lnTo>
                    <a:pt x="293" y="1212"/>
                  </a:lnTo>
                  <a:lnTo>
                    <a:pt x="287" y="1203"/>
                  </a:lnTo>
                  <a:lnTo>
                    <a:pt x="279" y="1197"/>
                  </a:lnTo>
                  <a:lnTo>
                    <a:pt x="270" y="1190"/>
                  </a:lnTo>
                  <a:lnTo>
                    <a:pt x="261" y="1185"/>
                  </a:lnTo>
                  <a:lnTo>
                    <a:pt x="251" y="1181"/>
                  </a:lnTo>
                  <a:lnTo>
                    <a:pt x="229" y="1173"/>
                  </a:lnTo>
                  <a:lnTo>
                    <a:pt x="207" y="1165"/>
                  </a:lnTo>
                  <a:lnTo>
                    <a:pt x="196" y="1161"/>
                  </a:lnTo>
                  <a:lnTo>
                    <a:pt x="185" y="1157"/>
                  </a:lnTo>
                  <a:lnTo>
                    <a:pt x="174" y="1151"/>
                  </a:lnTo>
                  <a:lnTo>
                    <a:pt x="164" y="1145"/>
                  </a:lnTo>
                  <a:lnTo>
                    <a:pt x="159" y="1141"/>
                  </a:lnTo>
                  <a:lnTo>
                    <a:pt x="153" y="1134"/>
                  </a:lnTo>
                  <a:lnTo>
                    <a:pt x="147" y="1127"/>
                  </a:lnTo>
                  <a:lnTo>
                    <a:pt x="142" y="1118"/>
                  </a:lnTo>
                  <a:lnTo>
                    <a:pt x="132" y="1100"/>
                  </a:lnTo>
                  <a:lnTo>
                    <a:pt x="122" y="1079"/>
                  </a:lnTo>
                  <a:lnTo>
                    <a:pt x="106" y="1037"/>
                  </a:lnTo>
                  <a:lnTo>
                    <a:pt x="91" y="1001"/>
                  </a:lnTo>
                  <a:lnTo>
                    <a:pt x="83" y="985"/>
                  </a:lnTo>
                  <a:lnTo>
                    <a:pt x="75" y="967"/>
                  </a:lnTo>
                  <a:lnTo>
                    <a:pt x="67" y="944"/>
                  </a:lnTo>
                  <a:lnTo>
                    <a:pt x="60" y="921"/>
                  </a:lnTo>
                  <a:lnTo>
                    <a:pt x="58" y="911"/>
                  </a:lnTo>
                  <a:lnTo>
                    <a:pt x="55" y="899"/>
                  </a:lnTo>
                  <a:lnTo>
                    <a:pt x="54" y="887"/>
                  </a:lnTo>
                  <a:lnTo>
                    <a:pt x="53" y="876"/>
                  </a:lnTo>
                  <a:lnTo>
                    <a:pt x="54" y="866"/>
                  </a:lnTo>
                  <a:lnTo>
                    <a:pt x="56" y="857"/>
                  </a:lnTo>
                  <a:lnTo>
                    <a:pt x="59" y="848"/>
                  </a:lnTo>
                  <a:lnTo>
                    <a:pt x="63" y="840"/>
                  </a:lnTo>
                  <a:lnTo>
                    <a:pt x="65" y="810"/>
                  </a:lnTo>
                  <a:lnTo>
                    <a:pt x="69" y="782"/>
                  </a:lnTo>
                  <a:lnTo>
                    <a:pt x="75" y="755"/>
                  </a:lnTo>
                  <a:lnTo>
                    <a:pt x="82" y="729"/>
                  </a:lnTo>
                  <a:lnTo>
                    <a:pt x="90" y="703"/>
                  </a:lnTo>
                  <a:lnTo>
                    <a:pt x="99" y="677"/>
                  </a:lnTo>
                  <a:lnTo>
                    <a:pt x="106" y="650"/>
                  </a:lnTo>
                  <a:lnTo>
                    <a:pt x="115" y="622"/>
                  </a:lnTo>
                  <a:lnTo>
                    <a:pt x="118" y="612"/>
                  </a:lnTo>
                  <a:lnTo>
                    <a:pt x="123" y="603"/>
                  </a:lnTo>
                  <a:lnTo>
                    <a:pt x="130" y="591"/>
                  </a:lnTo>
                  <a:lnTo>
                    <a:pt x="137" y="580"/>
                  </a:lnTo>
                  <a:lnTo>
                    <a:pt x="154" y="556"/>
                  </a:lnTo>
                  <a:lnTo>
                    <a:pt x="171" y="531"/>
                  </a:lnTo>
                  <a:lnTo>
                    <a:pt x="180" y="518"/>
                  </a:lnTo>
                  <a:lnTo>
                    <a:pt x="187" y="507"/>
                  </a:lnTo>
                  <a:lnTo>
                    <a:pt x="195" y="495"/>
                  </a:lnTo>
                  <a:lnTo>
                    <a:pt x="200" y="484"/>
                  </a:lnTo>
                  <a:lnTo>
                    <a:pt x="204" y="473"/>
                  </a:lnTo>
                  <a:lnTo>
                    <a:pt x="207" y="462"/>
                  </a:lnTo>
                  <a:lnTo>
                    <a:pt x="208" y="458"/>
                  </a:lnTo>
                  <a:lnTo>
                    <a:pt x="208" y="453"/>
                  </a:lnTo>
                  <a:lnTo>
                    <a:pt x="208" y="448"/>
                  </a:lnTo>
                  <a:lnTo>
                    <a:pt x="207" y="444"/>
                  </a:lnTo>
                  <a:lnTo>
                    <a:pt x="204" y="441"/>
                  </a:lnTo>
                  <a:lnTo>
                    <a:pt x="200" y="436"/>
                  </a:lnTo>
                  <a:lnTo>
                    <a:pt x="195" y="433"/>
                  </a:lnTo>
                  <a:lnTo>
                    <a:pt x="188" y="430"/>
                  </a:lnTo>
                  <a:lnTo>
                    <a:pt x="173" y="425"/>
                  </a:lnTo>
                  <a:lnTo>
                    <a:pt x="155" y="420"/>
                  </a:lnTo>
                  <a:lnTo>
                    <a:pt x="118" y="414"/>
                  </a:lnTo>
                  <a:lnTo>
                    <a:pt x="91" y="406"/>
                  </a:lnTo>
                  <a:lnTo>
                    <a:pt x="78" y="401"/>
                  </a:lnTo>
                  <a:lnTo>
                    <a:pt x="64" y="394"/>
                  </a:lnTo>
                  <a:lnTo>
                    <a:pt x="56" y="392"/>
                  </a:lnTo>
                  <a:lnTo>
                    <a:pt x="50" y="391"/>
                  </a:lnTo>
                  <a:lnTo>
                    <a:pt x="42" y="390"/>
                  </a:lnTo>
                  <a:lnTo>
                    <a:pt x="35" y="390"/>
                  </a:lnTo>
                  <a:lnTo>
                    <a:pt x="35" y="390"/>
                  </a:lnTo>
                  <a:lnTo>
                    <a:pt x="0" y="271"/>
                  </a:lnTo>
                  <a:lnTo>
                    <a:pt x="20" y="124"/>
                  </a:lnTo>
                  <a:lnTo>
                    <a:pt x="88" y="0"/>
                  </a:lnTo>
                  <a:lnTo>
                    <a:pt x="88" y="0"/>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19" name="Freeform 10">
              <a:extLst>
                <a:ext uri="{FF2B5EF4-FFF2-40B4-BE49-F238E27FC236}">
                  <a16:creationId xmlns:a16="http://schemas.microsoft.com/office/drawing/2014/main" id="{03CF2761-2BB5-4E8E-95CD-213D23465AFA}"/>
                </a:ext>
              </a:extLst>
            </p:cNvPr>
            <p:cNvSpPr>
              <a:spLocks/>
            </p:cNvSpPr>
            <p:nvPr/>
          </p:nvSpPr>
          <p:spPr bwMode="auto">
            <a:xfrm>
              <a:off x="2550845" y="4403877"/>
              <a:ext cx="1948730" cy="1699443"/>
            </a:xfrm>
            <a:custGeom>
              <a:avLst/>
              <a:gdLst>
                <a:gd name="T0" fmla="*/ 2577 w 4274"/>
                <a:gd name="T1" fmla="*/ 1167 h 4257"/>
                <a:gd name="T2" fmla="*/ 2745 w 4274"/>
                <a:gd name="T3" fmla="*/ 1264 h 4257"/>
                <a:gd name="T4" fmla="*/ 2953 w 4274"/>
                <a:gd name="T5" fmla="*/ 1295 h 4257"/>
                <a:gd name="T6" fmla="*/ 3142 w 4274"/>
                <a:gd name="T7" fmla="*/ 1252 h 4257"/>
                <a:gd name="T8" fmla="*/ 3237 w 4274"/>
                <a:gd name="T9" fmla="*/ 1355 h 4257"/>
                <a:gd name="T10" fmla="*/ 3382 w 4274"/>
                <a:gd name="T11" fmla="*/ 1473 h 4257"/>
                <a:gd name="T12" fmla="*/ 3501 w 4274"/>
                <a:gd name="T13" fmla="*/ 1460 h 4257"/>
                <a:gd name="T14" fmla="*/ 3741 w 4274"/>
                <a:gd name="T15" fmla="*/ 1471 h 4257"/>
                <a:gd name="T16" fmla="*/ 3734 w 4274"/>
                <a:gd name="T17" fmla="*/ 1511 h 4257"/>
                <a:gd name="T18" fmla="*/ 3665 w 4274"/>
                <a:gd name="T19" fmla="*/ 1584 h 4257"/>
                <a:gd name="T20" fmla="*/ 3799 w 4274"/>
                <a:gd name="T21" fmla="*/ 1634 h 4257"/>
                <a:gd name="T22" fmla="*/ 3803 w 4274"/>
                <a:gd name="T23" fmla="*/ 1697 h 4257"/>
                <a:gd name="T24" fmla="*/ 3802 w 4274"/>
                <a:gd name="T25" fmla="*/ 1759 h 4257"/>
                <a:gd name="T26" fmla="*/ 3883 w 4274"/>
                <a:gd name="T27" fmla="*/ 1806 h 4257"/>
                <a:gd name="T28" fmla="*/ 3896 w 4274"/>
                <a:gd name="T29" fmla="*/ 1886 h 4257"/>
                <a:gd name="T30" fmla="*/ 3986 w 4274"/>
                <a:gd name="T31" fmla="*/ 1874 h 4257"/>
                <a:gd name="T32" fmla="*/ 4115 w 4274"/>
                <a:gd name="T33" fmla="*/ 1886 h 4257"/>
                <a:gd name="T34" fmla="*/ 4274 w 4274"/>
                <a:gd name="T35" fmla="*/ 1940 h 4257"/>
                <a:gd name="T36" fmla="*/ 4142 w 4274"/>
                <a:gd name="T37" fmla="*/ 1972 h 4257"/>
                <a:gd name="T38" fmla="*/ 4073 w 4274"/>
                <a:gd name="T39" fmla="*/ 1957 h 4257"/>
                <a:gd name="T40" fmla="*/ 3987 w 4274"/>
                <a:gd name="T41" fmla="*/ 1980 h 4257"/>
                <a:gd name="T42" fmla="*/ 3816 w 4274"/>
                <a:gd name="T43" fmla="*/ 1990 h 4257"/>
                <a:gd name="T44" fmla="*/ 3889 w 4274"/>
                <a:gd name="T45" fmla="*/ 2033 h 4257"/>
                <a:gd name="T46" fmla="*/ 3786 w 4274"/>
                <a:gd name="T47" fmla="*/ 2139 h 4257"/>
                <a:gd name="T48" fmla="*/ 3831 w 4274"/>
                <a:gd name="T49" fmla="*/ 2288 h 4257"/>
                <a:gd name="T50" fmla="*/ 3852 w 4274"/>
                <a:gd name="T51" fmla="*/ 2498 h 4257"/>
                <a:gd name="T52" fmla="*/ 3775 w 4274"/>
                <a:gd name="T53" fmla="*/ 2637 h 4257"/>
                <a:gd name="T54" fmla="*/ 3832 w 4274"/>
                <a:gd name="T55" fmla="*/ 2735 h 4257"/>
                <a:gd name="T56" fmla="*/ 3864 w 4274"/>
                <a:gd name="T57" fmla="*/ 2783 h 4257"/>
                <a:gd name="T58" fmla="*/ 3705 w 4274"/>
                <a:gd name="T59" fmla="*/ 2753 h 4257"/>
                <a:gd name="T60" fmla="*/ 3701 w 4274"/>
                <a:gd name="T61" fmla="*/ 2866 h 4257"/>
                <a:gd name="T62" fmla="*/ 3668 w 4274"/>
                <a:gd name="T63" fmla="*/ 2987 h 4257"/>
                <a:gd name="T64" fmla="*/ 3712 w 4274"/>
                <a:gd name="T65" fmla="*/ 3171 h 4257"/>
                <a:gd name="T66" fmla="*/ 3778 w 4274"/>
                <a:gd name="T67" fmla="*/ 3176 h 4257"/>
                <a:gd name="T68" fmla="*/ 3830 w 4274"/>
                <a:gd name="T69" fmla="*/ 3241 h 4257"/>
                <a:gd name="T70" fmla="*/ 3696 w 4274"/>
                <a:gd name="T71" fmla="*/ 3311 h 4257"/>
                <a:gd name="T72" fmla="*/ 3777 w 4274"/>
                <a:gd name="T73" fmla="*/ 3410 h 4257"/>
                <a:gd name="T74" fmla="*/ 3742 w 4274"/>
                <a:gd name="T75" fmla="*/ 3450 h 4257"/>
                <a:gd name="T76" fmla="*/ 3636 w 4274"/>
                <a:gd name="T77" fmla="*/ 3416 h 4257"/>
                <a:gd name="T78" fmla="*/ 3543 w 4274"/>
                <a:gd name="T79" fmla="*/ 3398 h 4257"/>
                <a:gd name="T80" fmla="*/ 3529 w 4274"/>
                <a:gd name="T81" fmla="*/ 3487 h 4257"/>
                <a:gd name="T82" fmla="*/ 3607 w 4274"/>
                <a:gd name="T83" fmla="*/ 3578 h 4257"/>
                <a:gd name="T84" fmla="*/ 3575 w 4274"/>
                <a:gd name="T85" fmla="*/ 3681 h 4257"/>
                <a:gd name="T86" fmla="*/ 3486 w 4274"/>
                <a:gd name="T87" fmla="*/ 3695 h 4257"/>
                <a:gd name="T88" fmla="*/ 3408 w 4274"/>
                <a:gd name="T89" fmla="*/ 3819 h 4257"/>
                <a:gd name="T90" fmla="*/ 3473 w 4274"/>
                <a:gd name="T91" fmla="*/ 4017 h 4257"/>
                <a:gd name="T92" fmla="*/ 3404 w 4274"/>
                <a:gd name="T93" fmla="*/ 4079 h 4257"/>
                <a:gd name="T94" fmla="*/ 3325 w 4274"/>
                <a:gd name="T95" fmla="*/ 4001 h 4257"/>
                <a:gd name="T96" fmla="*/ 3221 w 4274"/>
                <a:gd name="T97" fmla="*/ 4055 h 4257"/>
                <a:gd name="T98" fmla="*/ 3186 w 4274"/>
                <a:gd name="T99" fmla="*/ 4247 h 4257"/>
                <a:gd name="T100" fmla="*/ 3132 w 4274"/>
                <a:gd name="T101" fmla="*/ 4183 h 4257"/>
                <a:gd name="T102" fmla="*/ 3057 w 4274"/>
                <a:gd name="T103" fmla="*/ 4025 h 4257"/>
                <a:gd name="T104" fmla="*/ 2938 w 4274"/>
                <a:gd name="T105" fmla="*/ 4023 h 4257"/>
                <a:gd name="T106" fmla="*/ 2841 w 4274"/>
                <a:gd name="T107" fmla="*/ 3946 h 4257"/>
                <a:gd name="T108" fmla="*/ 2659 w 4274"/>
                <a:gd name="T109" fmla="*/ 3914 h 4257"/>
                <a:gd name="T110" fmla="*/ 2650 w 4274"/>
                <a:gd name="T111" fmla="*/ 3979 h 4257"/>
                <a:gd name="T112" fmla="*/ 2606 w 4274"/>
                <a:gd name="T113" fmla="*/ 4032 h 4257"/>
                <a:gd name="T114" fmla="*/ 2569 w 4274"/>
                <a:gd name="T115" fmla="*/ 3915 h 4257"/>
                <a:gd name="T116" fmla="*/ 2536 w 4274"/>
                <a:gd name="T117" fmla="*/ 3790 h 4257"/>
                <a:gd name="T118" fmla="*/ 2422 w 4274"/>
                <a:gd name="T119" fmla="*/ 3700 h 4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74" h="4257">
                  <a:moveTo>
                    <a:pt x="509" y="0"/>
                  </a:moveTo>
                  <a:lnTo>
                    <a:pt x="2500" y="1057"/>
                  </a:lnTo>
                  <a:lnTo>
                    <a:pt x="2506" y="1061"/>
                  </a:lnTo>
                  <a:lnTo>
                    <a:pt x="2512" y="1066"/>
                  </a:lnTo>
                  <a:lnTo>
                    <a:pt x="2517" y="1072"/>
                  </a:lnTo>
                  <a:lnTo>
                    <a:pt x="2521" y="1077"/>
                  </a:lnTo>
                  <a:lnTo>
                    <a:pt x="2529" y="1087"/>
                  </a:lnTo>
                  <a:lnTo>
                    <a:pt x="2536" y="1099"/>
                  </a:lnTo>
                  <a:lnTo>
                    <a:pt x="2545" y="1121"/>
                  </a:lnTo>
                  <a:lnTo>
                    <a:pt x="2559" y="1147"/>
                  </a:lnTo>
                  <a:lnTo>
                    <a:pt x="2568" y="1158"/>
                  </a:lnTo>
                  <a:lnTo>
                    <a:pt x="2577" y="1167"/>
                  </a:lnTo>
                  <a:lnTo>
                    <a:pt x="2585" y="1173"/>
                  </a:lnTo>
                  <a:lnTo>
                    <a:pt x="2594" y="1179"/>
                  </a:lnTo>
                  <a:lnTo>
                    <a:pt x="2615" y="1186"/>
                  </a:lnTo>
                  <a:lnTo>
                    <a:pt x="2639" y="1193"/>
                  </a:lnTo>
                  <a:lnTo>
                    <a:pt x="2651" y="1196"/>
                  </a:lnTo>
                  <a:lnTo>
                    <a:pt x="2661" y="1200"/>
                  </a:lnTo>
                  <a:lnTo>
                    <a:pt x="2671" y="1206"/>
                  </a:lnTo>
                  <a:lnTo>
                    <a:pt x="2680" y="1211"/>
                  </a:lnTo>
                  <a:lnTo>
                    <a:pt x="2696" y="1224"/>
                  </a:lnTo>
                  <a:lnTo>
                    <a:pt x="2713" y="1237"/>
                  </a:lnTo>
                  <a:lnTo>
                    <a:pt x="2729" y="1251"/>
                  </a:lnTo>
                  <a:lnTo>
                    <a:pt x="2745" y="1264"/>
                  </a:lnTo>
                  <a:lnTo>
                    <a:pt x="2755" y="1270"/>
                  </a:lnTo>
                  <a:lnTo>
                    <a:pt x="2765" y="1276"/>
                  </a:lnTo>
                  <a:lnTo>
                    <a:pt x="2774" y="1280"/>
                  </a:lnTo>
                  <a:lnTo>
                    <a:pt x="2785" y="1284"/>
                  </a:lnTo>
                  <a:lnTo>
                    <a:pt x="2805" y="1290"/>
                  </a:lnTo>
                  <a:lnTo>
                    <a:pt x="2825" y="1294"/>
                  </a:lnTo>
                  <a:lnTo>
                    <a:pt x="2847" y="1297"/>
                  </a:lnTo>
                  <a:lnTo>
                    <a:pt x="2868" y="1300"/>
                  </a:lnTo>
                  <a:lnTo>
                    <a:pt x="2890" y="1301"/>
                  </a:lnTo>
                  <a:lnTo>
                    <a:pt x="2911" y="1301"/>
                  </a:lnTo>
                  <a:lnTo>
                    <a:pt x="2932" y="1298"/>
                  </a:lnTo>
                  <a:lnTo>
                    <a:pt x="2953" y="1295"/>
                  </a:lnTo>
                  <a:lnTo>
                    <a:pt x="2964" y="1292"/>
                  </a:lnTo>
                  <a:lnTo>
                    <a:pt x="2977" y="1288"/>
                  </a:lnTo>
                  <a:lnTo>
                    <a:pt x="2990" y="1283"/>
                  </a:lnTo>
                  <a:lnTo>
                    <a:pt x="3004" y="1278"/>
                  </a:lnTo>
                  <a:lnTo>
                    <a:pt x="3031" y="1267"/>
                  </a:lnTo>
                  <a:lnTo>
                    <a:pt x="3059" y="1256"/>
                  </a:lnTo>
                  <a:lnTo>
                    <a:pt x="3073" y="1253"/>
                  </a:lnTo>
                  <a:lnTo>
                    <a:pt x="3088" y="1250"/>
                  </a:lnTo>
                  <a:lnTo>
                    <a:pt x="3101" y="1248"/>
                  </a:lnTo>
                  <a:lnTo>
                    <a:pt x="3115" y="1248"/>
                  </a:lnTo>
                  <a:lnTo>
                    <a:pt x="3129" y="1249"/>
                  </a:lnTo>
                  <a:lnTo>
                    <a:pt x="3142" y="1252"/>
                  </a:lnTo>
                  <a:lnTo>
                    <a:pt x="3148" y="1254"/>
                  </a:lnTo>
                  <a:lnTo>
                    <a:pt x="3155" y="1257"/>
                  </a:lnTo>
                  <a:lnTo>
                    <a:pt x="3161" y="1261"/>
                  </a:lnTo>
                  <a:lnTo>
                    <a:pt x="3167" y="1265"/>
                  </a:lnTo>
                  <a:lnTo>
                    <a:pt x="3176" y="1273"/>
                  </a:lnTo>
                  <a:lnTo>
                    <a:pt x="3184" y="1280"/>
                  </a:lnTo>
                  <a:lnTo>
                    <a:pt x="3191" y="1289"/>
                  </a:lnTo>
                  <a:lnTo>
                    <a:pt x="3197" y="1298"/>
                  </a:lnTo>
                  <a:lnTo>
                    <a:pt x="3209" y="1317"/>
                  </a:lnTo>
                  <a:lnTo>
                    <a:pt x="3220" y="1335"/>
                  </a:lnTo>
                  <a:lnTo>
                    <a:pt x="3228" y="1346"/>
                  </a:lnTo>
                  <a:lnTo>
                    <a:pt x="3237" y="1355"/>
                  </a:lnTo>
                  <a:lnTo>
                    <a:pt x="3245" y="1363"/>
                  </a:lnTo>
                  <a:lnTo>
                    <a:pt x="3254" y="1371"/>
                  </a:lnTo>
                  <a:lnTo>
                    <a:pt x="3273" y="1385"/>
                  </a:lnTo>
                  <a:lnTo>
                    <a:pt x="3292" y="1402"/>
                  </a:lnTo>
                  <a:lnTo>
                    <a:pt x="3296" y="1403"/>
                  </a:lnTo>
                  <a:lnTo>
                    <a:pt x="3303" y="1406"/>
                  </a:lnTo>
                  <a:lnTo>
                    <a:pt x="3309" y="1410"/>
                  </a:lnTo>
                  <a:lnTo>
                    <a:pt x="3317" y="1415"/>
                  </a:lnTo>
                  <a:lnTo>
                    <a:pt x="3332" y="1428"/>
                  </a:lnTo>
                  <a:lnTo>
                    <a:pt x="3349" y="1443"/>
                  </a:lnTo>
                  <a:lnTo>
                    <a:pt x="3365" y="1458"/>
                  </a:lnTo>
                  <a:lnTo>
                    <a:pt x="3382" y="1473"/>
                  </a:lnTo>
                  <a:lnTo>
                    <a:pt x="3397" y="1485"/>
                  </a:lnTo>
                  <a:lnTo>
                    <a:pt x="3409" y="1494"/>
                  </a:lnTo>
                  <a:lnTo>
                    <a:pt x="3416" y="1497"/>
                  </a:lnTo>
                  <a:lnTo>
                    <a:pt x="3424" y="1499"/>
                  </a:lnTo>
                  <a:lnTo>
                    <a:pt x="3430" y="1500"/>
                  </a:lnTo>
                  <a:lnTo>
                    <a:pt x="3435" y="1500"/>
                  </a:lnTo>
                  <a:lnTo>
                    <a:pt x="3442" y="1499"/>
                  </a:lnTo>
                  <a:lnTo>
                    <a:pt x="3447" y="1497"/>
                  </a:lnTo>
                  <a:lnTo>
                    <a:pt x="3453" y="1495"/>
                  </a:lnTo>
                  <a:lnTo>
                    <a:pt x="3459" y="1492"/>
                  </a:lnTo>
                  <a:lnTo>
                    <a:pt x="3480" y="1476"/>
                  </a:lnTo>
                  <a:lnTo>
                    <a:pt x="3501" y="1460"/>
                  </a:lnTo>
                  <a:lnTo>
                    <a:pt x="3520" y="1452"/>
                  </a:lnTo>
                  <a:lnTo>
                    <a:pt x="3539" y="1444"/>
                  </a:lnTo>
                  <a:lnTo>
                    <a:pt x="3560" y="1440"/>
                  </a:lnTo>
                  <a:lnTo>
                    <a:pt x="3579" y="1437"/>
                  </a:lnTo>
                  <a:lnTo>
                    <a:pt x="3600" y="1435"/>
                  </a:lnTo>
                  <a:lnTo>
                    <a:pt x="3621" y="1436"/>
                  </a:lnTo>
                  <a:lnTo>
                    <a:pt x="3642" y="1438"/>
                  </a:lnTo>
                  <a:lnTo>
                    <a:pt x="3662" y="1441"/>
                  </a:lnTo>
                  <a:lnTo>
                    <a:pt x="3683" y="1446"/>
                  </a:lnTo>
                  <a:lnTo>
                    <a:pt x="3702" y="1453"/>
                  </a:lnTo>
                  <a:lnTo>
                    <a:pt x="3722" y="1462"/>
                  </a:lnTo>
                  <a:lnTo>
                    <a:pt x="3741" y="1471"/>
                  </a:lnTo>
                  <a:lnTo>
                    <a:pt x="3759" y="1482"/>
                  </a:lnTo>
                  <a:lnTo>
                    <a:pt x="3777" y="1494"/>
                  </a:lnTo>
                  <a:lnTo>
                    <a:pt x="3793" y="1507"/>
                  </a:lnTo>
                  <a:lnTo>
                    <a:pt x="3809" y="1522"/>
                  </a:lnTo>
                  <a:lnTo>
                    <a:pt x="3809" y="1522"/>
                  </a:lnTo>
                  <a:lnTo>
                    <a:pt x="3798" y="1523"/>
                  </a:lnTo>
                  <a:lnTo>
                    <a:pt x="3790" y="1524"/>
                  </a:lnTo>
                  <a:lnTo>
                    <a:pt x="3778" y="1523"/>
                  </a:lnTo>
                  <a:lnTo>
                    <a:pt x="3766" y="1520"/>
                  </a:lnTo>
                  <a:lnTo>
                    <a:pt x="3753" y="1517"/>
                  </a:lnTo>
                  <a:lnTo>
                    <a:pt x="3740" y="1512"/>
                  </a:lnTo>
                  <a:lnTo>
                    <a:pt x="3734" y="1511"/>
                  </a:lnTo>
                  <a:lnTo>
                    <a:pt x="3728" y="1510"/>
                  </a:lnTo>
                  <a:lnTo>
                    <a:pt x="3722" y="1509"/>
                  </a:lnTo>
                  <a:lnTo>
                    <a:pt x="3716" y="1510"/>
                  </a:lnTo>
                  <a:lnTo>
                    <a:pt x="3710" y="1511"/>
                  </a:lnTo>
                  <a:lnTo>
                    <a:pt x="3704" y="1512"/>
                  </a:lnTo>
                  <a:lnTo>
                    <a:pt x="3699" y="1516"/>
                  </a:lnTo>
                  <a:lnTo>
                    <a:pt x="3695" y="1520"/>
                  </a:lnTo>
                  <a:lnTo>
                    <a:pt x="3643" y="1571"/>
                  </a:lnTo>
                  <a:lnTo>
                    <a:pt x="3646" y="1575"/>
                  </a:lnTo>
                  <a:lnTo>
                    <a:pt x="3651" y="1578"/>
                  </a:lnTo>
                  <a:lnTo>
                    <a:pt x="3658" y="1581"/>
                  </a:lnTo>
                  <a:lnTo>
                    <a:pt x="3665" y="1584"/>
                  </a:lnTo>
                  <a:lnTo>
                    <a:pt x="3685" y="1588"/>
                  </a:lnTo>
                  <a:lnTo>
                    <a:pt x="3707" y="1592"/>
                  </a:lnTo>
                  <a:lnTo>
                    <a:pt x="3729" y="1595"/>
                  </a:lnTo>
                  <a:lnTo>
                    <a:pt x="3750" y="1601"/>
                  </a:lnTo>
                  <a:lnTo>
                    <a:pt x="3759" y="1604"/>
                  </a:lnTo>
                  <a:lnTo>
                    <a:pt x="3767" y="1607"/>
                  </a:lnTo>
                  <a:lnTo>
                    <a:pt x="3774" y="1612"/>
                  </a:lnTo>
                  <a:lnTo>
                    <a:pt x="3778" y="1617"/>
                  </a:lnTo>
                  <a:lnTo>
                    <a:pt x="3782" y="1621"/>
                  </a:lnTo>
                  <a:lnTo>
                    <a:pt x="3788" y="1626"/>
                  </a:lnTo>
                  <a:lnTo>
                    <a:pt x="3793" y="1630"/>
                  </a:lnTo>
                  <a:lnTo>
                    <a:pt x="3799" y="1634"/>
                  </a:lnTo>
                  <a:lnTo>
                    <a:pt x="3813" y="1642"/>
                  </a:lnTo>
                  <a:lnTo>
                    <a:pt x="3829" y="1649"/>
                  </a:lnTo>
                  <a:lnTo>
                    <a:pt x="3842" y="1657"/>
                  </a:lnTo>
                  <a:lnTo>
                    <a:pt x="3853" y="1665"/>
                  </a:lnTo>
                  <a:lnTo>
                    <a:pt x="3858" y="1669"/>
                  </a:lnTo>
                  <a:lnTo>
                    <a:pt x="3861" y="1673"/>
                  </a:lnTo>
                  <a:lnTo>
                    <a:pt x="3863" y="1676"/>
                  </a:lnTo>
                  <a:lnTo>
                    <a:pt x="3864" y="1681"/>
                  </a:lnTo>
                  <a:lnTo>
                    <a:pt x="3843" y="1685"/>
                  </a:lnTo>
                  <a:lnTo>
                    <a:pt x="3816" y="1693"/>
                  </a:lnTo>
                  <a:lnTo>
                    <a:pt x="3809" y="1695"/>
                  </a:lnTo>
                  <a:lnTo>
                    <a:pt x="3803" y="1697"/>
                  </a:lnTo>
                  <a:lnTo>
                    <a:pt x="3797" y="1700"/>
                  </a:lnTo>
                  <a:lnTo>
                    <a:pt x="3793" y="1703"/>
                  </a:lnTo>
                  <a:lnTo>
                    <a:pt x="3789" y="1708"/>
                  </a:lnTo>
                  <a:lnTo>
                    <a:pt x="3785" y="1712"/>
                  </a:lnTo>
                  <a:lnTo>
                    <a:pt x="3783" y="1716"/>
                  </a:lnTo>
                  <a:lnTo>
                    <a:pt x="3782" y="1722"/>
                  </a:lnTo>
                  <a:lnTo>
                    <a:pt x="3782" y="1732"/>
                  </a:lnTo>
                  <a:lnTo>
                    <a:pt x="3784" y="1739"/>
                  </a:lnTo>
                  <a:lnTo>
                    <a:pt x="3786" y="1746"/>
                  </a:lnTo>
                  <a:lnTo>
                    <a:pt x="3791" y="1751"/>
                  </a:lnTo>
                  <a:lnTo>
                    <a:pt x="3795" y="1755"/>
                  </a:lnTo>
                  <a:lnTo>
                    <a:pt x="3802" y="1759"/>
                  </a:lnTo>
                  <a:lnTo>
                    <a:pt x="3807" y="1761"/>
                  </a:lnTo>
                  <a:lnTo>
                    <a:pt x="3815" y="1763"/>
                  </a:lnTo>
                  <a:lnTo>
                    <a:pt x="3829" y="1765"/>
                  </a:lnTo>
                  <a:lnTo>
                    <a:pt x="3844" y="1767"/>
                  </a:lnTo>
                  <a:lnTo>
                    <a:pt x="3851" y="1768"/>
                  </a:lnTo>
                  <a:lnTo>
                    <a:pt x="3859" y="1770"/>
                  </a:lnTo>
                  <a:lnTo>
                    <a:pt x="3865" y="1773"/>
                  </a:lnTo>
                  <a:lnTo>
                    <a:pt x="3871" y="1775"/>
                  </a:lnTo>
                  <a:lnTo>
                    <a:pt x="3876" y="1784"/>
                  </a:lnTo>
                  <a:lnTo>
                    <a:pt x="3879" y="1793"/>
                  </a:lnTo>
                  <a:lnTo>
                    <a:pt x="3882" y="1801"/>
                  </a:lnTo>
                  <a:lnTo>
                    <a:pt x="3883" y="1806"/>
                  </a:lnTo>
                  <a:lnTo>
                    <a:pt x="3883" y="1811"/>
                  </a:lnTo>
                  <a:lnTo>
                    <a:pt x="3883" y="1816"/>
                  </a:lnTo>
                  <a:lnTo>
                    <a:pt x="3882" y="1819"/>
                  </a:lnTo>
                  <a:lnTo>
                    <a:pt x="3879" y="1822"/>
                  </a:lnTo>
                  <a:lnTo>
                    <a:pt x="3876" y="1828"/>
                  </a:lnTo>
                  <a:lnTo>
                    <a:pt x="3873" y="1834"/>
                  </a:lnTo>
                  <a:lnTo>
                    <a:pt x="3872" y="1838"/>
                  </a:lnTo>
                  <a:lnTo>
                    <a:pt x="3871" y="1843"/>
                  </a:lnTo>
                  <a:lnTo>
                    <a:pt x="3871" y="1849"/>
                  </a:lnTo>
                  <a:lnTo>
                    <a:pt x="3872" y="1856"/>
                  </a:lnTo>
                  <a:lnTo>
                    <a:pt x="3879" y="1867"/>
                  </a:lnTo>
                  <a:lnTo>
                    <a:pt x="3896" y="1886"/>
                  </a:lnTo>
                  <a:lnTo>
                    <a:pt x="3912" y="1904"/>
                  </a:lnTo>
                  <a:lnTo>
                    <a:pt x="3920" y="1914"/>
                  </a:lnTo>
                  <a:lnTo>
                    <a:pt x="3927" y="1917"/>
                  </a:lnTo>
                  <a:lnTo>
                    <a:pt x="3932" y="1918"/>
                  </a:lnTo>
                  <a:lnTo>
                    <a:pt x="3937" y="1918"/>
                  </a:lnTo>
                  <a:lnTo>
                    <a:pt x="3942" y="1918"/>
                  </a:lnTo>
                  <a:lnTo>
                    <a:pt x="3946" y="1916"/>
                  </a:lnTo>
                  <a:lnTo>
                    <a:pt x="3951" y="1913"/>
                  </a:lnTo>
                  <a:lnTo>
                    <a:pt x="3955" y="1910"/>
                  </a:lnTo>
                  <a:lnTo>
                    <a:pt x="3958" y="1907"/>
                  </a:lnTo>
                  <a:lnTo>
                    <a:pt x="3972" y="1888"/>
                  </a:lnTo>
                  <a:lnTo>
                    <a:pt x="3986" y="1874"/>
                  </a:lnTo>
                  <a:lnTo>
                    <a:pt x="3998" y="1867"/>
                  </a:lnTo>
                  <a:lnTo>
                    <a:pt x="4009" y="1862"/>
                  </a:lnTo>
                  <a:lnTo>
                    <a:pt x="4019" y="1860"/>
                  </a:lnTo>
                  <a:lnTo>
                    <a:pt x="4027" y="1860"/>
                  </a:lnTo>
                  <a:lnTo>
                    <a:pt x="4036" y="1862"/>
                  </a:lnTo>
                  <a:lnTo>
                    <a:pt x="4046" y="1865"/>
                  </a:lnTo>
                  <a:lnTo>
                    <a:pt x="4057" y="1871"/>
                  </a:lnTo>
                  <a:lnTo>
                    <a:pt x="4067" y="1876"/>
                  </a:lnTo>
                  <a:lnTo>
                    <a:pt x="4080" y="1882"/>
                  </a:lnTo>
                  <a:lnTo>
                    <a:pt x="4092" y="1885"/>
                  </a:lnTo>
                  <a:lnTo>
                    <a:pt x="4104" y="1886"/>
                  </a:lnTo>
                  <a:lnTo>
                    <a:pt x="4115" y="1886"/>
                  </a:lnTo>
                  <a:lnTo>
                    <a:pt x="4139" y="1884"/>
                  </a:lnTo>
                  <a:lnTo>
                    <a:pt x="4164" y="1883"/>
                  </a:lnTo>
                  <a:lnTo>
                    <a:pt x="4174" y="1884"/>
                  </a:lnTo>
                  <a:lnTo>
                    <a:pt x="4188" y="1889"/>
                  </a:lnTo>
                  <a:lnTo>
                    <a:pt x="4205" y="1896"/>
                  </a:lnTo>
                  <a:lnTo>
                    <a:pt x="4222" y="1903"/>
                  </a:lnTo>
                  <a:lnTo>
                    <a:pt x="4239" y="1913"/>
                  </a:lnTo>
                  <a:lnTo>
                    <a:pt x="4254" y="1922"/>
                  </a:lnTo>
                  <a:lnTo>
                    <a:pt x="4266" y="1930"/>
                  </a:lnTo>
                  <a:lnTo>
                    <a:pt x="4274" y="1937"/>
                  </a:lnTo>
                  <a:lnTo>
                    <a:pt x="4274" y="1939"/>
                  </a:lnTo>
                  <a:lnTo>
                    <a:pt x="4274" y="1940"/>
                  </a:lnTo>
                  <a:lnTo>
                    <a:pt x="4272" y="1941"/>
                  </a:lnTo>
                  <a:lnTo>
                    <a:pt x="4269" y="1942"/>
                  </a:lnTo>
                  <a:lnTo>
                    <a:pt x="4262" y="1944"/>
                  </a:lnTo>
                  <a:lnTo>
                    <a:pt x="4252" y="1945"/>
                  </a:lnTo>
                  <a:lnTo>
                    <a:pt x="4233" y="1948"/>
                  </a:lnTo>
                  <a:lnTo>
                    <a:pt x="4220" y="1948"/>
                  </a:lnTo>
                  <a:lnTo>
                    <a:pt x="4162" y="1955"/>
                  </a:lnTo>
                  <a:lnTo>
                    <a:pt x="4159" y="1956"/>
                  </a:lnTo>
                  <a:lnTo>
                    <a:pt x="4155" y="1958"/>
                  </a:lnTo>
                  <a:lnTo>
                    <a:pt x="4152" y="1961"/>
                  </a:lnTo>
                  <a:lnTo>
                    <a:pt x="4148" y="1965"/>
                  </a:lnTo>
                  <a:lnTo>
                    <a:pt x="4142" y="1972"/>
                  </a:lnTo>
                  <a:lnTo>
                    <a:pt x="4134" y="1980"/>
                  </a:lnTo>
                  <a:lnTo>
                    <a:pt x="4131" y="1983"/>
                  </a:lnTo>
                  <a:lnTo>
                    <a:pt x="4127" y="1986"/>
                  </a:lnTo>
                  <a:lnTo>
                    <a:pt x="4122" y="1988"/>
                  </a:lnTo>
                  <a:lnTo>
                    <a:pt x="4117" y="1989"/>
                  </a:lnTo>
                  <a:lnTo>
                    <a:pt x="4112" y="1988"/>
                  </a:lnTo>
                  <a:lnTo>
                    <a:pt x="4106" y="1984"/>
                  </a:lnTo>
                  <a:lnTo>
                    <a:pt x="4099" y="1980"/>
                  </a:lnTo>
                  <a:lnTo>
                    <a:pt x="4091" y="1973"/>
                  </a:lnTo>
                  <a:lnTo>
                    <a:pt x="4085" y="1967"/>
                  </a:lnTo>
                  <a:lnTo>
                    <a:pt x="4078" y="1962"/>
                  </a:lnTo>
                  <a:lnTo>
                    <a:pt x="4073" y="1957"/>
                  </a:lnTo>
                  <a:lnTo>
                    <a:pt x="4067" y="1955"/>
                  </a:lnTo>
                  <a:lnTo>
                    <a:pt x="4063" y="1953"/>
                  </a:lnTo>
                  <a:lnTo>
                    <a:pt x="4059" y="1953"/>
                  </a:lnTo>
                  <a:lnTo>
                    <a:pt x="4055" y="1953"/>
                  </a:lnTo>
                  <a:lnTo>
                    <a:pt x="4051" y="1954"/>
                  </a:lnTo>
                  <a:lnTo>
                    <a:pt x="4037" y="1964"/>
                  </a:lnTo>
                  <a:lnTo>
                    <a:pt x="4014" y="1978"/>
                  </a:lnTo>
                  <a:lnTo>
                    <a:pt x="4009" y="1980"/>
                  </a:lnTo>
                  <a:lnTo>
                    <a:pt x="4005" y="1981"/>
                  </a:lnTo>
                  <a:lnTo>
                    <a:pt x="4000" y="1981"/>
                  </a:lnTo>
                  <a:lnTo>
                    <a:pt x="3996" y="1981"/>
                  </a:lnTo>
                  <a:lnTo>
                    <a:pt x="3987" y="1980"/>
                  </a:lnTo>
                  <a:lnTo>
                    <a:pt x="3980" y="1978"/>
                  </a:lnTo>
                  <a:lnTo>
                    <a:pt x="3971" y="1976"/>
                  </a:lnTo>
                  <a:lnTo>
                    <a:pt x="3963" y="1973"/>
                  </a:lnTo>
                  <a:lnTo>
                    <a:pt x="3953" y="1972"/>
                  </a:lnTo>
                  <a:lnTo>
                    <a:pt x="3943" y="1973"/>
                  </a:lnTo>
                  <a:lnTo>
                    <a:pt x="3914" y="1977"/>
                  </a:lnTo>
                  <a:lnTo>
                    <a:pt x="3876" y="1979"/>
                  </a:lnTo>
                  <a:lnTo>
                    <a:pt x="3858" y="1980"/>
                  </a:lnTo>
                  <a:lnTo>
                    <a:pt x="3841" y="1982"/>
                  </a:lnTo>
                  <a:lnTo>
                    <a:pt x="3826" y="1984"/>
                  </a:lnTo>
                  <a:lnTo>
                    <a:pt x="3817" y="1989"/>
                  </a:lnTo>
                  <a:lnTo>
                    <a:pt x="3816" y="1990"/>
                  </a:lnTo>
                  <a:lnTo>
                    <a:pt x="3816" y="1992"/>
                  </a:lnTo>
                  <a:lnTo>
                    <a:pt x="3818" y="1994"/>
                  </a:lnTo>
                  <a:lnTo>
                    <a:pt x="3821" y="1996"/>
                  </a:lnTo>
                  <a:lnTo>
                    <a:pt x="3832" y="2002"/>
                  </a:lnTo>
                  <a:lnTo>
                    <a:pt x="3846" y="2008"/>
                  </a:lnTo>
                  <a:lnTo>
                    <a:pt x="3861" y="2013"/>
                  </a:lnTo>
                  <a:lnTo>
                    <a:pt x="3874" y="2020"/>
                  </a:lnTo>
                  <a:lnTo>
                    <a:pt x="3880" y="2023"/>
                  </a:lnTo>
                  <a:lnTo>
                    <a:pt x="3885" y="2025"/>
                  </a:lnTo>
                  <a:lnTo>
                    <a:pt x="3888" y="2029"/>
                  </a:lnTo>
                  <a:lnTo>
                    <a:pt x="3890" y="2031"/>
                  </a:lnTo>
                  <a:lnTo>
                    <a:pt x="3889" y="2033"/>
                  </a:lnTo>
                  <a:lnTo>
                    <a:pt x="3885" y="2038"/>
                  </a:lnTo>
                  <a:lnTo>
                    <a:pt x="3877" y="2045"/>
                  </a:lnTo>
                  <a:lnTo>
                    <a:pt x="3870" y="2052"/>
                  </a:lnTo>
                  <a:lnTo>
                    <a:pt x="3852" y="2066"/>
                  </a:lnTo>
                  <a:lnTo>
                    <a:pt x="3841" y="2076"/>
                  </a:lnTo>
                  <a:lnTo>
                    <a:pt x="3829" y="2086"/>
                  </a:lnTo>
                  <a:lnTo>
                    <a:pt x="3817" y="2097"/>
                  </a:lnTo>
                  <a:lnTo>
                    <a:pt x="3805" y="2107"/>
                  </a:lnTo>
                  <a:lnTo>
                    <a:pt x="3795" y="2119"/>
                  </a:lnTo>
                  <a:lnTo>
                    <a:pt x="3792" y="2126"/>
                  </a:lnTo>
                  <a:lnTo>
                    <a:pt x="3789" y="2132"/>
                  </a:lnTo>
                  <a:lnTo>
                    <a:pt x="3786" y="2139"/>
                  </a:lnTo>
                  <a:lnTo>
                    <a:pt x="3784" y="2145"/>
                  </a:lnTo>
                  <a:lnTo>
                    <a:pt x="3784" y="2152"/>
                  </a:lnTo>
                  <a:lnTo>
                    <a:pt x="3785" y="2159"/>
                  </a:lnTo>
                  <a:lnTo>
                    <a:pt x="3788" y="2167"/>
                  </a:lnTo>
                  <a:lnTo>
                    <a:pt x="3792" y="2174"/>
                  </a:lnTo>
                  <a:lnTo>
                    <a:pt x="3803" y="2194"/>
                  </a:lnTo>
                  <a:lnTo>
                    <a:pt x="3812" y="2210"/>
                  </a:lnTo>
                  <a:lnTo>
                    <a:pt x="3819" y="2224"/>
                  </a:lnTo>
                  <a:lnTo>
                    <a:pt x="3824" y="2238"/>
                  </a:lnTo>
                  <a:lnTo>
                    <a:pt x="3828" y="2253"/>
                  </a:lnTo>
                  <a:lnTo>
                    <a:pt x="3830" y="2269"/>
                  </a:lnTo>
                  <a:lnTo>
                    <a:pt x="3831" y="2288"/>
                  </a:lnTo>
                  <a:lnTo>
                    <a:pt x="3831" y="2312"/>
                  </a:lnTo>
                  <a:lnTo>
                    <a:pt x="3831" y="2329"/>
                  </a:lnTo>
                  <a:lnTo>
                    <a:pt x="3831" y="2347"/>
                  </a:lnTo>
                  <a:lnTo>
                    <a:pt x="3832" y="2364"/>
                  </a:lnTo>
                  <a:lnTo>
                    <a:pt x="3833" y="2383"/>
                  </a:lnTo>
                  <a:lnTo>
                    <a:pt x="3836" y="2420"/>
                  </a:lnTo>
                  <a:lnTo>
                    <a:pt x="3837" y="2456"/>
                  </a:lnTo>
                  <a:lnTo>
                    <a:pt x="3838" y="2464"/>
                  </a:lnTo>
                  <a:lnTo>
                    <a:pt x="3842" y="2472"/>
                  </a:lnTo>
                  <a:lnTo>
                    <a:pt x="3846" y="2481"/>
                  </a:lnTo>
                  <a:lnTo>
                    <a:pt x="3849" y="2490"/>
                  </a:lnTo>
                  <a:lnTo>
                    <a:pt x="3852" y="2498"/>
                  </a:lnTo>
                  <a:lnTo>
                    <a:pt x="3853" y="2506"/>
                  </a:lnTo>
                  <a:lnTo>
                    <a:pt x="3853" y="2510"/>
                  </a:lnTo>
                  <a:lnTo>
                    <a:pt x="3852" y="2513"/>
                  </a:lnTo>
                  <a:lnTo>
                    <a:pt x="3851" y="2518"/>
                  </a:lnTo>
                  <a:lnTo>
                    <a:pt x="3848" y="2521"/>
                  </a:lnTo>
                  <a:lnTo>
                    <a:pt x="3838" y="2533"/>
                  </a:lnTo>
                  <a:lnTo>
                    <a:pt x="3829" y="2546"/>
                  </a:lnTo>
                  <a:lnTo>
                    <a:pt x="3820" y="2560"/>
                  </a:lnTo>
                  <a:lnTo>
                    <a:pt x="3811" y="2573"/>
                  </a:lnTo>
                  <a:lnTo>
                    <a:pt x="3796" y="2601"/>
                  </a:lnTo>
                  <a:lnTo>
                    <a:pt x="3780" y="2628"/>
                  </a:lnTo>
                  <a:lnTo>
                    <a:pt x="3775" y="2637"/>
                  </a:lnTo>
                  <a:lnTo>
                    <a:pt x="3771" y="2643"/>
                  </a:lnTo>
                  <a:lnTo>
                    <a:pt x="3769" y="2650"/>
                  </a:lnTo>
                  <a:lnTo>
                    <a:pt x="3767" y="2656"/>
                  </a:lnTo>
                  <a:lnTo>
                    <a:pt x="3767" y="2661"/>
                  </a:lnTo>
                  <a:lnTo>
                    <a:pt x="3768" y="2666"/>
                  </a:lnTo>
                  <a:lnTo>
                    <a:pt x="3769" y="2670"/>
                  </a:lnTo>
                  <a:lnTo>
                    <a:pt x="3771" y="2674"/>
                  </a:lnTo>
                  <a:lnTo>
                    <a:pt x="3785" y="2691"/>
                  </a:lnTo>
                  <a:lnTo>
                    <a:pt x="3806" y="2711"/>
                  </a:lnTo>
                  <a:lnTo>
                    <a:pt x="3816" y="2720"/>
                  </a:lnTo>
                  <a:lnTo>
                    <a:pt x="3828" y="2728"/>
                  </a:lnTo>
                  <a:lnTo>
                    <a:pt x="3832" y="2735"/>
                  </a:lnTo>
                  <a:lnTo>
                    <a:pt x="3838" y="2741"/>
                  </a:lnTo>
                  <a:lnTo>
                    <a:pt x="3846" y="2748"/>
                  </a:lnTo>
                  <a:lnTo>
                    <a:pt x="3855" y="2753"/>
                  </a:lnTo>
                  <a:lnTo>
                    <a:pt x="3862" y="2760"/>
                  </a:lnTo>
                  <a:lnTo>
                    <a:pt x="3870" y="2767"/>
                  </a:lnTo>
                  <a:lnTo>
                    <a:pt x="3872" y="2771"/>
                  </a:lnTo>
                  <a:lnTo>
                    <a:pt x="3874" y="2775"/>
                  </a:lnTo>
                  <a:lnTo>
                    <a:pt x="3875" y="2779"/>
                  </a:lnTo>
                  <a:lnTo>
                    <a:pt x="3875" y="2785"/>
                  </a:lnTo>
                  <a:lnTo>
                    <a:pt x="3873" y="2785"/>
                  </a:lnTo>
                  <a:lnTo>
                    <a:pt x="3870" y="2785"/>
                  </a:lnTo>
                  <a:lnTo>
                    <a:pt x="3864" y="2783"/>
                  </a:lnTo>
                  <a:lnTo>
                    <a:pt x="3858" y="2781"/>
                  </a:lnTo>
                  <a:lnTo>
                    <a:pt x="3842" y="2776"/>
                  </a:lnTo>
                  <a:lnTo>
                    <a:pt x="3824" y="2769"/>
                  </a:lnTo>
                  <a:lnTo>
                    <a:pt x="3789" y="2755"/>
                  </a:lnTo>
                  <a:lnTo>
                    <a:pt x="3765" y="2747"/>
                  </a:lnTo>
                  <a:lnTo>
                    <a:pt x="3752" y="2745"/>
                  </a:lnTo>
                  <a:lnTo>
                    <a:pt x="3740" y="2742"/>
                  </a:lnTo>
                  <a:lnTo>
                    <a:pt x="3729" y="2744"/>
                  </a:lnTo>
                  <a:lnTo>
                    <a:pt x="3718" y="2746"/>
                  </a:lnTo>
                  <a:lnTo>
                    <a:pt x="3714" y="2748"/>
                  </a:lnTo>
                  <a:lnTo>
                    <a:pt x="3710" y="2750"/>
                  </a:lnTo>
                  <a:lnTo>
                    <a:pt x="3705" y="2753"/>
                  </a:lnTo>
                  <a:lnTo>
                    <a:pt x="3701" y="2756"/>
                  </a:lnTo>
                  <a:lnTo>
                    <a:pt x="3693" y="2765"/>
                  </a:lnTo>
                  <a:lnTo>
                    <a:pt x="3686" y="2777"/>
                  </a:lnTo>
                  <a:lnTo>
                    <a:pt x="3681" y="2787"/>
                  </a:lnTo>
                  <a:lnTo>
                    <a:pt x="3678" y="2796"/>
                  </a:lnTo>
                  <a:lnTo>
                    <a:pt x="3678" y="2806"/>
                  </a:lnTo>
                  <a:lnTo>
                    <a:pt x="3680" y="2815"/>
                  </a:lnTo>
                  <a:lnTo>
                    <a:pt x="3682" y="2823"/>
                  </a:lnTo>
                  <a:lnTo>
                    <a:pt x="3685" y="2832"/>
                  </a:lnTo>
                  <a:lnTo>
                    <a:pt x="3688" y="2841"/>
                  </a:lnTo>
                  <a:lnTo>
                    <a:pt x="3693" y="2849"/>
                  </a:lnTo>
                  <a:lnTo>
                    <a:pt x="3701" y="2866"/>
                  </a:lnTo>
                  <a:lnTo>
                    <a:pt x="3708" y="2880"/>
                  </a:lnTo>
                  <a:lnTo>
                    <a:pt x="3709" y="2887"/>
                  </a:lnTo>
                  <a:lnTo>
                    <a:pt x="3709" y="2894"/>
                  </a:lnTo>
                  <a:lnTo>
                    <a:pt x="3708" y="2900"/>
                  </a:lnTo>
                  <a:lnTo>
                    <a:pt x="3704" y="2907"/>
                  </a:lnTo>
                  <a:lnTo>
                    <a:pt x="3693" y="2922"/>
                  </a:lnTo>
                  <a:lnTo>
                    <a:pt x="3682" y="2936"/>
                  </a:lnTo>
                  <a:lnTo>
                    <a:pt x="3677" y="2942"/>
                  </a:lnTo>
                  <a:lnTo>
                    <a:pt x="3674" y="2951"/>
                  </a:lnTo>
                  <a:lnTo>
                    <a:pt x="3671" y="2960"/>
                  </a:lnTo>
                  <a:lnTo>
                    <a:pt x="3669" y="2970"/>
                  </a:lnTo>
                  <a:lnTo>
                    <a:pt x="3668" y="2987"/>
                  </a:lnTo>
                  <a:lnTo>
                    <a:pt x="3667" y="3001"/>
                  </a:lnTo>
                  <a:lnTo>
                    <a:pt x="3667" y="3015"/>
                  </a:lnTo>
                  <a:lnTo>
                    <a:pt x="3668" y="3029"/>
                  </a:lnTo>
                  <a:lnTo>
                    <a:pt x="3671" y="3058"/>
                  </a:lnTo>
                  <a:lnTo>
                    <a:pt x="3676" y="3087"/>
                  </a:lnTo>
                  <a:lnTo>
                    <a:pt x="3681" y="3106"/>
                  </a:lnTo>
                  <a:lnTo>
                    <a:pt x="3689" y="3131"/>
                  </a:lnTo>
                  <a:lnTo>
                    <a:pt x="3694" y="3143"/>
                  </a:lnTo>
                  <a:lnTo>
                    <a:pt x="3699" y="3155"/>
                  </a:lnTo>
                  <a:lnTo>
                    <a:pt x="3704" y="3164"/>
                  </a:lnTo>
                  <a:lnTo>
                    <a:pt x="3709" y="3169"/>
                  </a:lnTo>
                  <a:lnTo>
                    <a:pt x="3712" y="3171"/>
                  </a:lnTo>
                  <a:lnTo>
                    <a:pt x="3715" y="3172"/>
                  </a:lnTo>
                  <a:lnTo>
                    <a:pt x="3720" y="3173"/>
                  </a:lnTo>
                  <a:lnTo>
                    <a:pt x="3723" y="3173"/>
                  </a:lnTo>
                  <a:lnTo>
                    <a:pt x="3730" y="3171"/>
                  </a:lnTo>
                  <a:lnTo>
                    <a:pt x="3738" y="3169"/>
                  </a:lnTo>
                  <a:lnTo>
                    <a:pt x="3745" y="3166"/>
                  </a:lnTo>
                  <a:lnTo>
                    <a:pt x="3753" y="3163"/>
                  </a:lnTo>
                  <a:lnTo>
                    <a:pt x="3761" y="3160"/>
                  </a:lnTo>
                  <a:lnTo>
                    <a:pt x="3768" y="3160"/>
                  </a:lnTo>
                  <a:lnTo>
                    <a:pt x="3770" y="3166"/>
                  </a:lnTo>
                  <a:lnTo>
                    <a:pt x="3774" y="3170"/>
                  </a:lnTo>
                  <a:lnTo>
                    <a:pt x="3778" y="3176"/>
                  </a:lnTo>
                  <a:lnTo>
                    <a:pt x="3782" y="3180"/>
                  </a:lnTo>
                  <a:lnTo>
                    <a:pt x="3794" y="3188"/>
                  </a:lnTo>
                  <a:lnTo>
                    <a:pt x="3807" y="3197"/>
                  </a:lnTo>
                  <a:lnTo>
                    <a:pt x="3819" y="3206"/>
                  </a:lnTo>
                  <a:lnTo>
                    <a:pt x="3829" y="3214"/>
                  </a:lnTo>
                  <a:lnTo>
                    <a:pt x="3833" y="3219"/>
                  </a:lnTo>
                  <a:lnTo>
                    <a:pt x="3835" y="3223"/>
                  </a:lnTo>
                  <a:lnTo>
                    <a:pt x="3836" y="3227"/>
                  </a:lnTo>
                  <a:lnTo>
                    <a:pt x="3836" y="3233"/>
                  </a:lnTo>
                  <a:lnTo>
                    <a:pt x="3835" y="3236"/>
                  </a:lnTo>
                  <a:lnTo>
                    <a:pt x="3833" y="3239"/>
                  </a:lnTo>
                  <a:lnTo>
                    <a:pt x="3830" y="3241"/>
                  </a:lnTo>
                  <a:lnTo>
                    <a:pt x="3825" y="3245"/>
                  </a:lnTo>
                  <a:lnTo>
                    <a:pt x="3815" y="3250"/>
                  </a:lnTo>
                  <a:lnTo>
                    <a:pt x="3802" y="3254"/>
                  </a:lnTo>
                  <a:lnTo>
                    <a:pt x="3772" y="3264"/>
                  </a:lnTo>
                  <a:lnTo>
                    <a:pt x="3741" y="3274"/>
                  </a:lnTo>
                  <a:lnTo>
                    <a:pt x="3727" y="3280"/>
                  </a:lnTo>
                  <a:lnTo>
                    <a:pt x="3715" y="3288"/>
                  </a:lnTo>
                  <a:lnTo>
                    <a:pt x="3710" y="3291"/>
                  </a:lnTo>
                  <a:lnTo>
                    <a:pt x="3704" y="3295"/>
                  </a:lnTo>
                  <a:lnTo>
                    <a:pt x="3701" y="3301"/>
                  </a:lnTo>
                  <a:lnTo>
                    <a:pt x="3698" y="3305"/>
                  </a:lnTo>
                  <a:lnTo>
                    <a:pt x="3696" y="3311"/>
                  </a:lnTo>
                  <a:lnTo>
                    <a:pt x="3695" y="3317"/>
                  </a:lnTo>
                  <a:lnTo>
                    <a:pt x="3695" y="3323"/>
                  </a:lnTo>
                  <a:lnTo>
                    <a:pt x="3696" y="3330"/>
                  </a:lnTo>
                  <a:lnTo>
                    <a:pt x="3699" y="3338"/>
                  </a:lnTo>
                  <a:lnTo>
                    <a:pt x="3703" y="3345"/>
                  </a:lnTo>
                  <a:lnTo>
                    <a:pt x="3709" y="3354"/>
                  </a:lnTo>
                  <a:lnTo>
                    <a:pt x="3715" y="3362"/>
                  </a:lnTo>
                  <a:lnTo>
                    <a:pt x="3725" y="3370"/>
                  </a:lnTo>
                  <a:lnTo>
                    <a:pt x="3739" y="3381"/>
                  </a:lnTo>
                  <a:lnTo>
                    <a:pt x="3756" y="3392"/>
                  </a:lnTo>
                  <a:lnTo>
                    <a:pt x="3771" y="3403"/>
                  </a:lnTo>
                  <a:lnTo>
                    <a:pt x="3777" y="3410"/>
                  </a:lnTo>
                  <a:lnTo>
                    <a:pt x="3781" y="3416"/>
                  </a:lnTo>
                  <a:lnTo>
                    <a:pt x="3783" y="3419"/>
                  </a:lnTo>
                  <a:lnTo>
                    <a:pt x="3784" y="3422"/>
                  </a:lnTo>
                  <a:lnTo>
                    <a:pt x="3784" y="3425"/>
                  </a:lnTo>
                  <a:lnTo>
                    <a:pt x="3784" y="3427"/>
                  </a:lnTo>
                  <a:lnTo>
                    <a:pt x="3783" y="3430"/>
                  </a:lnTo>
                  <a:lnTo>
                    <a:pt x="3781" y="3433"/>
                  </a:lnTo>
                  <a:lnTo>
                    <a:pt x="3779" y="3435"/>
                  </a:lnTo>
                  <a:lnTo>
                    <a:pt x="3776" y="3438"/>
                  </a:lnTo>
                  <a:lnTo>
                    <a:pt x="3766" y="3442"/>
                  </a:lnTo>
                  <a:lnTo>
                    <a:pt x="3752" y="3446"/>
                  </a:lnTo>
                  <a:lnTo>
                    <a:pt x="3742" y="3450"/>
                  </a:lnTo>
                  <a:lnTo>
                    <a:pt x="3729" y="3455"/>
                  </a:lnTo>
                  <a:lnTo>
                    <a:pt x="3724" y="3457"/>
                  </a:lnTo>
                  <a:lnTo>
                    <a:pt x="3718" y="3460"/>
                  </a:lnTo>
                  <a:lnTo>
                    <a:pt x="3713" y="3462"/>
                  </a:lnTo>
                  <a:lnTo>
                    <a:pt x="3709" y="3462"/>
                  </a:lnTo>
                  <a:lnTo>
                    <a:pt x="3701" y="3460"/>
                  </a:lnTo>
                  <a:lnTo>
                    <a:pt x="3694" y="3456"/>
                  </a:lnTo>
                  <a:lnTo>
                    <a:pt x="3686" y="3452"/>
                  </a:lnTo>
                  <a:lnTo>
                    <a:pt x="3678" y="3448"/>
                  </a:lnTo>
                  <a:lnTo>
                    <a:pt x="3664" y="3438"/>
                  </a:lnTo>
                  <a:lnTo>
                    <a:pt x="3650" y="3427"/>
                  </a:lnTo>
                  <a:lnTo>
                    <a:pt x="3636" y="3416"/>
                  </a:lnTo>
                  <a:lnTo>
                    <a:pt x="3621" y="3407"/>
                  </a:lnTo>
                  <a:lnTo>
                    <a:pt x="3613" y="3402"/>
                  </a:lnTo>
                  <a:lnTo>
                    <a:pt x="3604" y="3399"/>
                  </a:lnTo>
                  <a:lnTo>
                    <a:pt x="3595" y="3396"/>
                  </a:lnTo>
                  <a:lnTo>
                    <a:pt x="3586" y="3394"/>
                  </a:lnTo>
                  <a:lnTo>
                    <a:pt x="3578" y="3393"/>
                  </a:lnTo>
                  <a:lnTo>
                    <a:pt x="3572" y="3393"/>
                  </a:lnTo>
                  <a:lnTo>
                    <a:pt x="3565" y="3393"/>
                  </a:lnTo>
                  <a:lnTo>
                    <a:pt x="3559" y="3393"/>
                  </a:lnTo>
                  <a:lnTo>
                    <a:pt x="3553" y="3394"/>
                  </a:lnTo>
                  <a:lnTo>
                    <a:pt x="3548" y="3396"/>
                  </a:lnTo>
                  <a:lnTo>
                    <a:pt x="3543" y="3398"/>
                  </a:lnTo>
                  <a:lnTo>
                    <a:pt x="3539" y="3400"/>
                  </a:lnTo>
                  <a:lnTo>
                    <a:pt x="3535" y="3403"/>
                  </a:lnTo>
                  <a:lnTo>
                    <a:pt x="3532" y="3407"/>
                  </a:lnTo>
                  <a:lnTo>
                    <a:pt x="3528" y="3411"/>
                  </a:lnTo>
                  <a:lnTo>
                    <a:pt x="3525" y="3414"/>
                  </a:lnTo>
                  <a:lnTo>
                    <a:pt x="3521" y="3424"/>
                  </a:lnTo>
                  <a:lnTo>
                    <a:pt x="3519" y="3434"/>
                  </a:lnTo>
                  <a:lnTo>
                    <a:pt x="3517" y="3443"/>
                  </a:lnTo>
                  <a:lnTo>
                    <a:pt x="3519" y="3454"/>
                  </a:lnTo>
                  <a:lnTo>
                    <a:pt x="3521" y="3465"/>
                  </a:lnTo>
                  <a:lnTo>
                    <a:pt x="3524" y="3476"/>
                  </a:lnTo>
                  <a:lnTo>
                    <a:pt x="3529" y="3487"/>
                  </a:lnTo>
                  <a:lnTo>
                    <a:pt x="3535" y="3496"/>
                  </a:lnTo>
                  <a:lnTo>
                    <a:pt x="3543" y="3505"/>
                  </a:lnTo>
                  <a:lnTo>
                    <a:pt x="3552" y="3514"/>
                  </a:lnTo>
                  <a:lnTo>
                    <a:pt x="3576" y="3531"/>
                  </a:lnTo>
                  <a:lnTo>
                    <a:pt x="3593" y="3544"/>
                  </a:lnTo>
                  <a:lnTo>
                    <a:pt x="3601" y="3549"/>
                  </a:lnTo>
                  <a:lnTo>
                    <a:pt x="3605" y="3555"/>
                  </a:lnTo>
                  <a:lnTo>
                    <a:pt x="3609" y="3559"/>
                  </a:lnTo>
                  <a:lnTo>
                    <a:pt x="3611" y="3563"/>
                  </a:lnTo>
                  <a:lnTo>
                    <a:pt x="3611" y="3569"/>
                  </a:lnTo>
                  <a:lnTo>
                    <a:pt x="3610" y="3573"/>
                  </a:lnTo>
                  <a:lnTo>
                    <a:pt x="3607" y="3578"/>
                  </a:lnTo>
                  <a:lnTo>
                    <a:pt x="3603" y="3585"/>
                  </a:lnTo>
                  <a:lnTo>
                    <a:pt x="3588" y="3599"/>
                  </a:lnTo>
                  <a:lnTo>
                    <a:pt x="3565" y="3619"/>
                  </a:lnTo>
                  <a:lnTo>
                    <a:pt x="3563" y="3629"/>
                  </a:lnTo>
                  <a:lnTo>
                    <a:pt x="3563" y="3638"/>
                  </a:lnTo>
                  <a:lnTo>
                    <a:pt x="3564" y="3645"/>
                  </a:lnTo>
                  <a:lnTo>
                    <a:pt x="3566" y="3651"/>
                  </a:lnTo>
                  <a:lnTo>
                    <a:pt x="3569" y="3657"/>
                  </a:lnTo>
                  <a:lnTo>
                    <a:pt x="3572" y="3664"/>
                  </a:lnTo>
                  <a:lnTo>
                    <a:pt x="3574" y="3670"/>
                  </a:lnTo>
                  <a:lnTo>
                    <a:pt x="3575" y="3678"/>
                  </a:lnTo>
                  <a:lnTo>
                    <a:pt x="3575" y="3681"/>
                  </a:lnTo>
                  <a:lnTo>
                    <a:pt x="3574" y="3684"/>
                  </a:lnTo>
                  <a:lnTo>
                    <a:pt x="3572" y="3686"/>
                  </a:lnTo>
                  <a:lnTo>
                    <a:pt x="3569" y="3689"/>
                  </a:lnTo>
                  <a:lnTo>
                    <a:pt x="3564" y="3690"/>
                  </a:lnTo>
                  <a:lnTo>
                    <a:pt x="3556" y="3690"/>
                  </a:lnTo>
                  <a:lnTo>
                    <a:pt x="3540" y="3687"/>
                  </a:lnTo>
                  <a:lnTo>
                    <a:pt x="3526" y="3685"/>
                  </a:lnTo>
                  <a:lnTo>
                    <a:pt x="3520" y="3684"/>
                  </a:lnTo>
                  <a:lnTo>
                    <a:pt x="3513" y="3685"/>
                  </a:lnTo>
                  <a:lnTo>
                    <a:pt x="3507" y="3686"/>
                  </a:lnTo>
                  <a:lnTo>
                    <a:pt x="3499" y="3689"/>
                  </a:lnTo>
                  <a:lnTo>
                    <a:pt x="3486" y="3695"/>
                  </a:lnTo>
                  <a:lnTo>
                    <a:pt x="3472" y="3704"/>
                  </a:lnTo>
                  <a:lnTo>
                    <a:pt x="3445" y="3722"/>
                  </a:lnTo>
                  <a:lnTo>
                    <a:pt x="3421" y="3738"/>
                  </a:lnTo>
                  <a:lnTo>
                    <a:pt x="3414" y="3743"/>
                  </a:lnTo>
                  <a:lnTo>
                    <a:pt x="3408" y="3749"/>
                  </a:lnTo>
                  <a:lnTo>
                    <a:pt x="3404" y="3755"/>
                  </a:lnTo>
                  <a:lnTo>
                    <a:pt x="3401" y="3763"/>
                  </a:lnTo>
                  <a:lnTo>
                    <a:pt x="3400" y="3771"/>
                  </a:lnTo>
                  <a:lnTo>
                    <a:pt x="3399" y="3779"/>
                  </a:lnTo>
                  <a:lnTo>
                    <a:pt x="3400" y="3789"/>
                  </a:lnTo>
                  <a:lnTo>
                    <a:pt x="3402" y="3799"/>
                  </a:lnTo>
                  <a:lnTo>
                    <a:pt x="3408" y="3819"/>
                  </a:lnTo>
                  <a:lnTo>
                    <a:pt x="3417" y="3841"/>
                  </a:lnTo>
                  <a:lnTo>
                    <a:pt x="3427" y="3865"/>
                  </a:lnTo>
                  <a:lnTo>
                    <a:pt x="3438" y="3888"/>
                  </a:lnTo>
                  <a:lnTo>
                    <a:pt x="3449" y="3913"/>
                  </a:lnTo>
                  <a:lnTo>
                    <a:pt x="3459" y="3937"/>
                  </a:lnTo>
                  <a:lnTo>
                    <a:pt x="3463" y="3949"/>
                  </a:lnTo>
                  <a:lnTo>
                    <a:pt x="3468" y="3961"/>
                  </a:lnTo>
                  <a:lnTo>
                    <a:pt x="3470" y="3973"/>
                  </a:lnTo>
                  <a:lnTo>
                    <a:pt x="3472" y="3984"/>
                  </a:lnTo>
                  <a:lnTo>
                    <a:pt x="3474" y="3995"/>
                  </a:lnTo>
                  <a:lnTo>
                    <a:pt x="3474" y="4006"/>
                  </a:lnTo>
                  <a:lnTo>
                    <a:pt x="3473" y="4017"/>
                  </a:lnTo>
                  <a:lnTo>
                    <a:pt x="3471" y="4027"/>
                  </a:lnTo>
                  <a:lnTo>
                    <a:pt x="3468" y="4036"/>
                  </a:lnTo>
                  <a:lnTo>
                    <a:pt x="3462" y="4045"/>
                  </a:lnTo>
                  <a:lnTo>
                    <a:pt x="3456" y="4054"/>
                  </a:lnTo>
                  <a:lnTo>
                    <a:pt x="3448" y="4061"/>
                  </a:lnTo>
                  <a:lnTo>
                    <a:pt x="3441" y="4067"/>
                  </a:lnTo>
                  <a:lnTo>
                    <a:pt x="3433" y="4072"/>
                  </a:lnTo>
                  <a:lnTo>
                    <a:pt x="3427" y="4075"/>
                  </a:lnTo>
                  <a:lnTo>
                    <a:pt x="3420" y="4077"/>
                  </a:lnTo>
                  <a:lnTo>
                    <a:pt x="3415" y="4079"/>
                  </a:lnTo>
                  <a:lnTo>
                    <a:pt x="3409" y="4079"/>
                  </a:lnTo>
                  <a:lnTo>
                    <a:pt x="3404" y="4079"/>
                  </a:lnTo>
                  <a:lnTo>
                    <a:pt x="3399" y="4078"/>
                  </a:lnTo>
                  <a:lnTo>
                    <a:pt x="3394" y="4077"/>
                  </a:lnTo>
                  <a:lnTo>
                    <a:pt x="3390" y="4075"/>
                  </a:lnTo>
                  <a:lnTo>
                    <a:pt x="3387" y="4072"/>
                  </a:lnTo>
                  <a:lnTo>
                    <a:pt x="3382" y="4069"/>
                  </a:lnTo>
                  <a:lnTo>
                    <a:pt x="3376" y="4061"/>
                  </a:lnTo>
                  <a:lnTo>
                    <a:pt x="3369" y="4051"/>
                  </a:lnTo>
                  <a:lnTo>
                    <a:pt x="3358" y="4032"/>
                  </a:lnTo>
                  <a:lnTo>
                    <a:pt x="3345" y="4015"/>
                  </a:lnTo>
                  <a:lnTo>
                    <a:pt x="3337" y="4007"/>
                  </a:lnTo>
                  <a:lnTo>
                    <a:pt x="3330" y="4003"/>
                  </a:lnTo>
                  <a:lnTo>
                    <a:pt x="3325" y="4001"/>
                  </a:lnTo>
                  <a:lnTo>
                    <a:pt x="3321" y="4000"/>
                  </a:lnTo>
                  <a:lnTo>
                    <a:pt x="3315" y="4000"/>
                  </a:lnTo>
                  <a:lnTo>
                    <a:pt x="3311" y="4001"/>
                  </a:lnTo>
                  <a:lnTo>
                    <a:pt x="3287" y="4005"/>
                  </a:lnTo>
                  <a:lnTo>
                    <a:pt x="3261" y="4013"/>
                  </a:lnTo>
                  <a:lnTo>
                    <a:pt x="3250" y="4017"/>
                  </a:lnTo>
                  <a:lnTo>
                    <a:pt x="3239" y="4023"/>
                  </a:lnTo>
                  <a:lnTo>
                    <a:pt x="3234" y="4028"/>
                  </a:lnTo>
                  <a:lnTo>
                    <a:pt x="3230" y="4032"/>
                  </a:lnTo>
                  <a:lnTo>
                    <a:pt x="3228" y="4036"/>
                  </a:lnTo>
                  <a:lnTo>
                    <a:pt x="3226" y="4041"/>
                  </a:lnTo>
                  <a:lnTo>
                    <a:pt x="3221" y="4055"/>
                  </a:lnTo>
                  <a:lnTo>
                    <a:pt x="3218" y="4069"/>
                  </a:lnTo>
                  <a:lnTo>
                    <a:pt x="3216" y="4085"/>
                  </a:lnTo>
                  <a:lnTo>
                    <a:pt x="3214" y="4101"/>
                  </a:lnTo>
                  <a:lnTo>
                    <a:pt x="3211" y="4133"/>
                  </a:lnTo>
                  <a:lnTo>
                    <a:pt x="3206" y="4164"/>
                  </a:lnTo>
                  <a:lnTo>
                    <a:pt x="3205" y="4182"/>
                  </a:lnTo>
                  <a:lnTo>
                    <a:pt x="3203" y="4202"/>
                  </a:lnTo>
                  <a:lnTo>
                    <a:pt x="3201" y="4211"/>
                  </a:lnTo>
                  <a:lnTo>
                    <a:pt x="3199" y="4220"/>
                  </a:lnTo>
                  <a:lnTo>
                    <a:pt x="3197" y="4229"/>
                  </a:lnTo>
                  <a:lnTo>
                    <a:pt x="3192" y="4236"/>
                  </a:lnTo>
                  <a:lnTo>
                    <a:pt x="3186" y="4247"/>
                  </a:lnTo>
                  <a:lnTo>
                    <a:pt x="3180" y="4253"/>
                  </a:lnTo>
                  <a:lnTo>
                    <a:pt x="3177" y="4254"/>
                  </a:lnTo>
                  <a:lnTo>
                    <a:pt x="3175" y="4256"/>
                  </a:lnTo>
                  <a:lnTo>
                    <a:pt x="3172" y="4257"/>
                  </a:lnTo>
                  <a:lnTo>
                    <a:pt x="3170" y="4257"/>
                  </a:lnTo>
                  <a:lnTo>
                    <a:pt x="3164" y="4253"/>
                  </a:lnTo>
                  <a:lnTo>
                    <a:pt x="3159" y="4249"/>
                  </a:lnTo>
                  <a:lnTo>
                    <a:pt x="3155" y="4243"/>
                  </a:lnTo>
                  <a:lnTo>
                    <a:pt x="3150" y="4235"/>
                  </a:lnTo>
                  <a:lnTo>
                    <a:pt x="3143" y="4218"/>
                  </a:lnTo>
                  <a:lnTo>
                    <a:pt x="3136" y="4199"/>
                  </a:lnTo>
                  <a:lnTo>
                    <a:pt x="3132" y="4183"/>
                  </a:lnTo>
                  <a:lnTo>
                    <a:pt x="3128" y="4172"/>
                  </a:lnTo>
                  <a:lnTo>
                    <a:pt x="3119" y="4155"/>
                  </a:lnTo>
                  <a:lnTo>
                    <a:pt x="3112" y="4138"/>
                  </a:lnTo>
                  <a:lnTo>
                    <a:pt x="3106" y="4122"/>
                  </a:lnTo>
                  <a:lnTo>
                    <a:pt x="3101" y="4105"/>
                  </a:lnTo>
                  <a:lnTo>
                    <a:pt x="3096" y="4090"/>
                  </a:lnTo>
                  <a:lnTo>
                    <a:pt x="3091" y="4075"/>
                  </a:lnTo>
                  <a:lnTo>
                    <a:pt x="3085" y="4062"/>
                  </a:lnTo>
                  <a:lnTo>
                    <a:pt x="3079" y="4049"/>
                  </a:lnTo>
                  <a:lnTo>
                    <a:pt x="3071" y="4038"/>
                  </a:lnTo>
                  <a:lnTo>
                    <a:pt x="3063" y="4030"/>
                  </a:lnTo>
                  <a:lnTo>
                    <a:pt x="3057" y="4025"/>
                  </a:lnTo>
                  <a:lnTo>
                    <a:pt x="3052" y="4022"/>
                  </a:lnTo>
                  <a:lnTo>
                    <a:pt x="3046" y="4019"/>
                  </a:lnTo>
                  <a:lnTo>
                    <a:pt x="3039" y="4017"/>
                  </a:lnTo>
                  <a:lnTo>
                    <a:pt x="3031" y="4015"/>
                  </a:lnTo>
                  <a:lnTo>
                    <a:pt x="3024" y="4014"/>
                  </a:lnTo>
                  <a:lnTo>
                    <a:pt x="3015" y="4013"/>
                  </a:lnTo>
                  <a:lnTo>
                    <a:pt x="3005" y="4013"/>
                  </a:lnTo>
                  <a:lnTo>
                    <a:pt x="2995" y="4013"/>
                  </a:lnTo>
                  <a:lnTo>
                    <a:pt x="2984" y="4014"/>
                  </a:lnTo>
                  <a:lnTo>
                    <a:pt x="2972" y="4015"/>
                  </a:lnTo>
                  <a:lnTo>
                    <a:pt x="2959" y="4017"/>
                  </a:lnTo>
                  <a:lnTo>
                    <a:pt x="2938" y="4023"/>
                  </a:lnTo>
                  <a:lnTo>
                    <a:pt x="2909" y="4031"/>
                  </a:lnTo>
                  <a:lnTo>
                    <a:pt x="2902" y="4033"/>
                  </a:lnTo>
                  <a:lnTo>
                    <a:pt x="2895" y="4033"/>
                  </a:lnTo>
                  <a:lnTo>
                    <a:pt x="2889" y="4034"/>
                  </a:lnTo>
                  <a:lnTo>
                    <a:pt x="2882" y="4033"/>
                  </a:lnTo>
                  <a:lnTo>
                    <a:pt x="2877" y="4032"/>
                  </a:lnTo>
                  <a:lnTo>
                    <a:pt x="2873" y="4030"/>
                  </a:lnTo>
                  <a:lnTo>
                    <a:pt x="2869" y="4027"/>
                  </a:lnTo>
                  <a:lnTo>
                    <a:pt x="2867" y="4022"/>
                  </a:lnTo>
                  <a:lnTo>
                    <a:pt x="2860" y="3992"/>
                  </a:lnTo>
                  <a:lnTo>
                    <a:pt x="2849" y="3961"/>
                  </a:lnTo>
                  <a:lnTo>
                    <a:pt x="2841" y="3946"/>
                  </a:lnTo>
                  <a:lnTo>
                    <a:pt x="2834" y="3933"/>
                  </a:lnTo>
                  <a:lnTo>
                    <a:pt x="2828" y="3926"/>
                  </a:lnTo>
                  <a:lnTo>
                    <a:pt x="2823" y="3921"/>
                  </a:lnTo>
                  <a:lnTo>
                    <a:pt x="2817" y="3915"/>
                  </a:lnTo>
                  <a:lnTo>
                    <a:pt x="2810" y="3911"/>
                  </a:lnTo>
                  <a:lnTo>
                    <a:pt x="2785" y="3909"/>
                  </a:lnTo>
                  <a:lnTo>
                    <a:pt x="2750" y="3908"/>
                  </a:lnTo>
                  <a:lnTo>
                    <a:pt x="2731" y="3907"/>
                  </a:lnTo>
                  <a:lnTo>
                    <a:pt x="2712" y="3908"/>
                  </a:lnTo>
                  <a:lnTo>
                    <a:pt x="2693" y="3909"/>
                  </a:lnTo>
                  <a:lnTo>
                    <a:pt x="2675" y="3911"/>
                  </a:lnTo>
                  <a:lnTo>
                    <a:pt x="2659" y="3914"/>
                  </a:lnTo>
                  <a:lnTo>
                    <a:pt x="2646" y="3920"/>
                  </a:lnTo>
                  <a:lnTo>
                    <a:pt x="2640" y="3922"/>
                  </a:lnTo>
                  <a:lnTo>
                    <a:pt x="2635" y="3926"/>
                  </a:lnTo>
                  <a:lnTo>
                    <a:pt x="2632" y="3929"/>
                  </a:lnTo>
                  <a:lnTo>
                    <a:pt x="2629" y="3934"/>
                  </a:lnTo>
                  <a:lnTo>
                    <a:pt x="2627" y="3939"/>
                  </a:lnTo>
                  <a:lnTo>
                    <a:pt x="2627" y="3944"/>
                  </a:lnTo>
                  <a:lnTo>
                    <a:pt x="2629" y="3950"/>
                  </a:lnTo>
                  <a:lnTo>
                    <a:pt x="2632" y="3956"/>
                  </a:lnTo>
                  <a:lnTo>
                    <a:pt x="2636" y="3964"/>
                  </a:lnTo>
                  <a:lnTo>
                    <a:pt x="2642" y="3971"/>
                  </a:lnTo>
                  <a:lnTo>
                    <a:pt x="2650" y="3979"/>
                  </a:lnTo>
                  <a:lnTo>
                    <a:pt x="2659" y="3989"/>
                  </a:lnTo>
                  <a:lnTo>
                    <a:pt x="2665" y="3994"/>
                  </a:lnTo>
                  <a:lnTo>
                    <a:pt x="2668" y="4000"/>
                  </a:lnTo>
                  <a:lnTo>
                    <a:pt x="2671" y="4004"/>
                  </a:lnTo>
                  <a:lnTo>
                    <a:pt x="2672" y="4007"/>
                  </a:lnTo>
                  <a:lnTo>
                    <a:pt x="2671" y="4010"/>
                  </a:lnTo>
                  <a:lnTo>
                    <a:pt x="2668" y="4013"/>
                  </a:lnTo>
                  <a:lnTo>
                    <a:pt x="2664" y="4015"/>
                  </a:lnTo>
                  <a:lnTo>
                    <a:pt x="2661" y="4017"/>
                  </a:lnTo>
                  <a:lnTo>
                    <a:pt x="2638" y="4022"/>
                  </a:lnTo>
                  <a:lnTo>
                    <a:pt x="2615" y="4028"/>
                  </a:lnTo>
                  <a:lnTo>
                    <a:pt x="2606" y="4032"/>
                  </a:lnTo>
                  <a:lnTo>
                    <a:pt x="2597" y="4037"/>
                  </a:lnTo>
                  <a:lnTo>
                    <a:pt x="2597" y="4037"/>
                  </a:lnTo>
                  <a:lnTo>
                    <a:pt x="2590" y="4027"/>
                  </a:lnTo>
                  <a:lnTo>
                    <a:pt x="2583" y="4016"/>
                  </a:lnTo>
                  <a:lnTo>
                    <a:pt x="2578" y="4005"/>
                  </a:lnTo>
                  <a:lnTo>
                    <a:pt x="2573" y="3995"/>
                  </a:lnTo>
                  <a:lnTo>
                    <a:pt x="2571" y="3984"/>
                  </a:lnTo>
                  <a:lnTo>
                    <a:pt x="2569" y="3975"/>
                  </a:lnTo>
                  <a:lnTo>
                    <a:pt x="2567" y="3965"/>
                  </a:lnTo>
                  <a:lnTo>
                    <a:pt x="2567" y="3955"/>
                  </a:lnTo>
                  <a:lnTo>
                    <a:pt x="2567" y="3936"/>
                  </a:lnTo>
                  <a:lnTo>
                    <a:pt x="2569" y="3915"/>
                  </a:lnTo>
                  <a:lnTo>
                    <a:pt x="2572" y="3894"/>
                  </a:lnTo>
                  <a:lnTo>
                    <a:pt x="2574" y="3870"/>
                  </a:lnTo>
                  <a:lnTo>
                    <a:pt x="2574" y="3858"/>
                  </a:lnTo>
                  <a:lnTo>
                    <a:pt x="2574" y="3846"/>
                  </a:lnTo>
                  <a:lnTo>
                    <a:pt x="2572" y="3836"/>
                  </a:lnTo>
                  <a:lnTo>
                    <a:pt x="2570" y="3827"/>
                  </a:lnTo>
                  <a:lnTo>
                    <a:pt x="2566" y="3819"/>
                  </a:lnTo>
                  <a:lnTo>
                    <a:pt x="2561" y="3812"/>
                  </a:lnTo>
                  <a:lnTo>
                    <a:pt x="2556" y="3805"/>
                  </a:lnTo>
                  <a:lnTo>
                    <a:pt x="2551" y="3800"/>
                  </a:lnTo>
                  <a:lnTo>
                    <a:pt x="2543" y="3794"/>
                  </a:lnTo>
                  <a:lnTo>
                    <a:pt x="2536" y="3790"/>
                  </a:lnTo>
                  <a:lnTo>
                    <a:pt x="2527" y="3786"/>
                  </a:lnTo>
                  <a:lnTo>
                    <a:pt x="2518" y="3781"/>
                  </a:lnTo>
                  <a:lnTo>
                    <a:pt x="2499" y="3775"/>
                  </a:lnTo>
                  <a:lnTo>
                    <a:pt x="2478" y="3768"/>
                  </a:lnTo>
                  <a:lnTo>
                    <a:pt x="2465" y="3764"/>
                  </a:lnTo>
                  <a:lnTo>
                    <a:pt x="2456" y="3758"/>
                  </a:lnTo>
                  <a:lnTo>
                    <a:pt x="2447" y="3751"/>
                  </a:lnTo>
                  <a:lnTo>
                    <a:pt x="2440" y="3743"/>
                  </a:lnTo>
                  <a:lnTo>
                    <a:pt x="2435" y="3734"/>
                  </a:lnTo>
                  <a:lnTo>
                    <a:pt x="2431" y="3724"/>
                  </a:lnTo>
                  <a:lnTo>
                    <a:pt x="2426" y="3712"/>
                  </a:lnTo>
                  <a:lnTo>
                    <a:pt x="2422" y="3700"/>
                  </a:lnTo>
                  <a:lnTo>
                    <a:pt x="111" y="1120"/>
                  </a:lnTo>
                  <a:lnTo>
                    <a:pt x="136" y="1006"/>
                  </a:lnTo>
                  <a:lnTo>
                    <a:pt x="0" y="917"/>
                  </a:lnTo>
                  <a:lnTo>
                    <a:pt x="0" y="917"/>
                  </a:lnTo>
                  <a:lnTo>
                    <a:pt x="562" y="94"/>
                  </a:lnTo>
                  <a:lnTo>
                    <a:pt x="509" y="0"/>
                  </a:lnTo>
                  <a:lnTo>
                    <a:pt x="509" y="0"/>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20" name="Freeform 12">
              <a:extLst>
                <a:ext uri="{FF2B5EF4-FFF2-40B4-BE49-F238E27FC236}">
                  <a16:creationId xmlns:a16="http://schemas.microsoft.com/office/drawing/2014/main" id="{09E36956-B31C-48F0-8A20-180A125B9D92}"/>
                </a:ext>
              </a:extLst>
            </p:cNvPr>
            <p:cNvSpPr>
              <a:spLocks/>
            </p:cNvSpPr>
            <p:nvPr/>
          </p:nvSpPr>
          <p:spPr bwMode="auto">
            <a:xfrm>
              <a:off x="2851669" y="3988238"/>
              <a:ext cx="1839352" cy="1103680"/>
            </a:xfrm>
            <a:custGeom>
              <a:avLst/>
              <a:gdLst>
                <a:gd name="T0" fmla="*/ 189 w 4036"/>
                <a:gd name="T1" fmla="*/ 1054 h 2763"/>
                <a:gd name="T2" fmla="*/ 396 w 4036"/>
                <a:gd name="T3" fmla="*/ 769 h 2763"/>
                <a:gd name="T4" fmla="*/ 561 w 4036"/>
                <a:gd name="T5" fmla="*/ 588 h 2763"/>
                <a:gd name="T6" fmla="*/ 992 w 4036"/>
                <a:gd name="T7" fmla="*/ 408 h 2763"/>
                <a:gd name="T8" fmla="*/ 1553 w 4036"/>
                <a:gd name="T9" fmla="*/ 226 h 2763"/>
                <a:gd name="T10" fmla="*/ 1693 w 4036"/>
                <a:gd name="T11" fmla="*/ 351 h 2763"/>
                <a:gd name="T12" fmla="*/ 2045 w 4036"/>
                <a:gd name="T13" fmla="*/ 488 h 2763"/>
                <a:gd name="T14" fmla="*/ 2316 w 4036"/>
                <a:gd name="T15" fmla="*/ 449 h 2763"/>
                <a:gd name="T16" fmla="*/ 2368 w 4036"/>
                <a:gd name="T17" fmla="*/ 290 h 2763"/>
                <a:gd name="T18" fmla="*/ 2598 w 4036"/>
                <a:gd name="T19" fmla="*/ 256 h 2763"/>
                <a:gd name="T20" fmla="*/ 2722 w 4036"/>
                <a:gd name="T21" fmla="*/ 102 h 2763"/>
                <a:gd name="T22" fmla="*/ 2837 w 4036"/>
                <a:gd name="T23" fmla="*/ 7 h 2763"/>
                <a:gd name="T24" fmla="*/ 2921 w 4036"/>
                <a:gd name="T25" fmla="*/ 129 h 2763"/>
                <a:gd name="T26" fmla="*/ 3142 w 4036"/>
                <a:gd name="T27" fmla="*/ 191 h 2763"/>
                <a:gd name="T28" fmla="*/ 3398 w 4036"/>
                <a:gd name="T29" fmla="*/ 69 h 2763"/>
                <a:gd name="T30" fmla="*/ 3531 w 4036"/>
                <a:gd name="T31" fmla="*/ 54 h 2763"/>
                <a:gd name="T32" fmla="*/ 3740 w 4036"/>
                <a:gd name="T33" fmla="*/ 30 h 2763"/>
                <a:gd name="T34" fmla="*/ 3860 w 4036"/>
                <a:gd name="T35" fmla="*/ 91 h 2763"/>
                <a:gd name="T36" fmla="*/ 3898 w 4036"/>
                <a:gd name="T37" fmla="*/ 243 h 2763"/>
                <a:gd name="T38" fmla="*/ 3793 w 4036"/>
                <a:gd name="T39" fmla="*/ 327 h 2763"/>
                <a:gd name="T40" fmla="*/ 3851 w 4036"/>
                <a:gd name="T41" fmla="*/ 408 h 2763"/>
                <a:gd name="T42" fmla="*/ 3734 w 4036"/>
                <a:gd name="T43" fmla="*/ 463 h 2763"/>
                <a:gd name="T44" fmla="*/ 3771 w 4036"/>
                <a:gd name="T45" fmla="*/ 600 h 2763"/>
                <a:gd name="T46" fmla="*/ 3656 w 4036"/>
                <a:gd name="T47" fmla="*/ 531 h 2763"/>
                <a:gd name="T48" fmla="*/ 3455 w 4036"/>
                <a:gd name="T49" fmla="*/ 530 h 2763"/>
                <a:gd name="T50" fmla="*/ 3334 w 4036"/>
                <a:gd name="T51" fmla="*/ 673 h 2763"/>
                <a:gd name="T52" fmla="*/ 3463 w 4036"/>
                <a:gd name="T53" fmla="*/ 718 h 2763"/>
                <a:gd name="T54" fmla="*/ 3361 w 4036"/>
                <a:gd name="T55" fmla="*/ 779 h 2763"/>
                <a:gd name="T56" fmla="*/ 3266 w 4036"/>
                <a:gd name="T57" fmla="*/ 829 h 2763"/>
                <a:gd name="T58" fmla="*/ 3333 w 4036"/>
                <a:gd name="T59" fmla="*/ 1001 h 2763"/>
                <a:gd name="T60" fmla="*/ 3593 w 4036"/>
                <a:gd name="T61" fmla="*/ 1009 h 2763"/>
                <a:gd name="T62" fmla="*/ 3849 w 4036"/>
                <a:gd name="T63" fmla="*/ 924 h 2763"/>
                <a:gd name="T64" fmla="*/ 3778 w 4036"/>
                <a:gd name="T65" fmla="*/ 973 h 2763"/>
                <a:gd name="T66" fmla="*/ 3656 w 4036"/>
                <a:gd name="T67" fmla="*/ 1171 h 2763"/>
                <a:gd name="T68" fmla="*/ 3724 w 4036"/>
                <a:gd name="T69" fmla="*/ 1240 h 2763"/>
                <a:gd name="T70" fmla="*/ 3815 w 4036"/>
                <a:gd name="T71" fmla="*/ 1316 h 2763"/>
                <a:gd name="T72" fmla="*/ 3979 w 4036"/>
                <a:gd name="T73" fmla="*/ 1235 h 2763"/>
                <a:gd name="T74" fmla="*/ 3975 w 4036"/>
                <a:gd name="T75" fmla="*/ 1332 h 2763"/>
                <a:gd name="T76" fmla="*/ 3770 w 4036"/>
                <a:gd name="T77" fmla="*/ 1394 h 2763"/>
                <a:gd name="T78" fmla="*/ 3612 w 4036"/>
                <a:gd name="T79" fmla="*/ 1433 h 2763"/>
                <a:gd name="T80" fmla="*/ 3677 w 4036"/>
                <a:gd name="T81" fmla="*/ 1550 h 2763"/>
                <a:gd name="T82" fmla="*/ 3763 w 4036"/>
                <a:gd name="T83" fmla="*/ 1610 h 2763"/>
                <a:gd name="T84" fmla="*/ 3838 w 4036"/>
                <a:gd name="T85" fmla="*/ 1618 h 2763"/>
                <a:gd name="T86" fmla="*/ 3706 w 4036"/>
                <a:gd name="T87" fmla="*/ 1775 h 2763"/>
                <a:gd name="T88" fmla="*/ 3780 w 4036"/>
                <a:gd name="T89" fmla="*/ 1764 h 2763"/>
                <a:gd name="T90" fmla="*/ 3673 w 4036"/>
                <a:gd name="T91" fmla="*/ 1969 h 2763"/>
                <a:gd name="T92" fmla="*/ 3750 w 4036"/>
                <a:gd name="T93" fmla="*/ 2076 h 2763"/>
                <a:gd name="T94" fmla="*/ 3725 w 4036"/>
                <a:gd name="T95" fmla="*/ 2239 h 2763"/>
                <a:gd name="T96" fmla="*/ 3814 w 4036"/>
                <a:gd name="T97" fmla="*/ 2339 h 2763"/>
                <a:gd name="T98" fmla="*/ 3622 w 4036"/>
                <a:gd name="T99" fmla="*/ 2387 h 2763"/>
                <a:gd name="T100" fmla="*/ 3450 w 4036"/>
                <a:gd name="T101" fmla="*/ 2396 h 2763"/>
                <a:gd name="T102" fmla="*/ 3411 w 4036"/>
                <a:gd name="T103" fmla="*/ 2529 h 2763"/>
                <a:gd name="T104" fmla="*/ 3633 w 4036"/>
                <a:gd name="T105" fmla="*/ 2658 h 2763"/>
                <a:gd name="T106" fmla="*/ 3598 w 4036"/>
                <a:gd name="T107" fmla="*/ 2752 h 2763"/>
                <a:gd name="T108" fmla="*/ 3418 w 4036"/>
                <a:gd name="T109" fmla="*/ 2720 h 2763"/>
                <a:gd name="T110" fmla="*/ 3284 w 4036"/>
                <a:gd name="T111" fmla="*/ 2660 h 2763"/>
                <a:gd name="T112" fmla="*/ 2971 w 4036"/>
                <a:gd name="T113" fmla="*/ 2629 h 2763"/>
                <a:gd name="T114" fmla="*/ 2800 w 4036"/>
                <a:gd name="T115" fmla="*/ 2563 h 2763"/>
                <a:gd name="T116" fmla="*/ 2652 w 4036"/>
                <a:gd name="T117" fmla="*/ 2414 h 2763"/>
                <a:gd name="T118" fmla="*/ 2423 w 4036"/>
                <a:gd name="T119" fmla="*/ 2451 h 2763"/>
                <a:gd name="T120" fmla="*/ 2162 w 4036"/>
                <a:gd name="T121" fmla="*/ 2359 h 2763"/>
                <a:gd name="T122" fmla="*/ 1997 w 4036"/>
                <a:gd name="T123" fmla="*/ 2214 h 2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36" h="2763">
                  <a:moveTo>
                    <a:pt x="0" y="1153"/>
                  </a:moveTo>
                  <a:lnTo>
                    <a:pt x="4" y="1149"/>
                  </a:lnTo>
                  <a:lnTo>
                    <a:pt x="9" y="1146"/>
                  </a:lnTo>
                  <a:lnTo>
                    <a:pt x="14" y="1143"/>
                  </a:lnTo>
                  <a:lnTo>
                    <a:pt x="20" y="1139"/>
                  </a:lnTo>
                  <a:lnTo>
                    <a:pt x="33" y="1133"/>
                  </a:lnTo>
                  <a:lnTo>
                    <a:pt x="44" y="1127"/>
                  </a:lnTo>
                  <a:lnTo>
                    <a:pt x="63" y="1116"/>
                  </a:lnTo>
                  <a:lnTo>
                    <a:pt x="82" y="1104"/>
                  </a:lnTo>
                  <a:lnTo>
                    <a:pt x="103" y="1093"/>
                  </a:lnTo>
                  <a:lnTo>
                    <a:pt x="122" y="1084"/>
                  </a:lnTo>
                  <a:lnTo>
                    <a:pt x="137" y="1079"/>
                  </a:lnTo>
                  <a:lnTo>
                    <a:pt x="151" y="1073"/>
                  </a:lnTo>
                  <a:lnTo>
                    <a:pt x="164" y="1067"/>
                  </a:lnTo>
                  <a:lnTo>
                    <a:pt x="177" y="1060"/>
                  </a:lnTo>
                  <a:lnTo>
                    <a:pt x="189" y="1054"/>
                  </a:lnTo>
                  <a:lnTo>
                    <a:pt x="202" y="1046"/>
                  </a:lnTo>
                  <a:lnTo>
                    <a:pt x="215" y="1038"/>
                  </a:lnTo>
                  <a:lnTo>
                    <a:pt x="228" y="1028"/>
                  </a:lnTo>
                  <a:lnTo>
                    <a:pt x="244" y="1005"/>
                  </a:lnTo>
                  <a:lnTo>
                    <a:pt x="262" y="984"/>
                  </a:lnTo>
                  <a:lnTo>
                    <a:pt x="281" y="962"/>
                  </a:lnTo>
                  <a:lnTo>
                    <a:pt x="300" y="941"/>
                  </a:lnTo>
                  <a:lnTo>
                    <a:pt x="319" y="920"/>
                  </a:lnTo>
                  <a:lnTo>
                    <a:pt x="337" y="897"/>
                  </a:lnTo>
                  <a:lnTo>
                    <a:pt x="353" y="875"/>
                  </a:lnTo>
                  <a:lnTo>
                    <a:pt x="368" y="851"/>
                  </a:lnTo>
                  <a:lnTo>
                    <a:pt x="377" y="836"/>
                  </a:lnTo>
                  <a:lnTo>
                    <a:pt x="383" y="820"/>
                  </a:lnTo>
                  <a:lnTo>
                    <a:pt x="389" y="804"/>
                  </a:lnTo>
                  <a:lnTo>
                    <a:pt x="394" y="787"/>
                  </a:lnTo>
                  <a:lnTo>
                    <a:pt x="396" y="769"/>
                  </a:lnTo>
                  <a:lnTo>
                    <a:pt x="396" y="750"/>
                  </a:lnTo>
                  <a:lnTo>
                    <a:pt x="396" y="742"/>
                  </a:lnTo>
                  <a:lnTo>
                    <a:pt x="397" y="732"/>
                  </a:lnTo>
                  <a:lnTo>
                    <a:pt x="399" y="723"/>
                  </a:lnTo>
                  <a:lnTo>
                    <a:pt x="400" y="715"/>
                  </a:lnTo>
                  <a:lnTo>
                    <a:pt x="397" y="667"/>
                  </a:lnTo>
                  <a:lnTo>
                    <a:pt x="397" y="667"/>
                  </a:lnTo>
                  <a:lnTo>
                    <a:pt x="415" y="665"/>
                  </a:lnTo>
                  <a:lnTo>
                    <a:pt x="432" y="661"/>
                  </a:lnTo>
                  <a:lnTo>
                    <a:pt x="449" y="655"/>
                  </a:lnTo>
                  <a:lnTo>
                    <a:pt x="466" y="649"/>
                  </a:lnTo>
                  <a:lnTo>
                    <a:pt x="482" y="641"/>
                  </a:lnTo>
                  <a:lnTo>
                    <a:pt x="498" y="632"/>
                  </a:lnTo>
                  <a:lnTo>
                    <a:pt x="514" y="622"/>
                  </a:lnTo>
                  <a:lnTo>
                    <a:pt x="530" y="611"/>
                  </a:lnTo>
                  <a:lnTo>
                    <a:pt x="561" y="588"/>
                  </a:lnTo>
                  <a:lnTo>
                    <a:pt x="591" y="565"/>
                  </a:lnTo>
                  <a:lnTo>
                    <a:pt x="619" y="541"/>
                  </a:lnTo>
                  <a:lnTo>
                    <a:pt x="648" y="519"/>
                  </a:lnTo>
                  <a:lnTo>
                    <a:pt x="665" y="507"/>
                  </a:lnTo>
                  <a:lnTo>
                    <a:pt x="684" y="497"/>
                  </a:lnTo>
                  <a:lnTo>
                    <a:pt x="702" y="487"/>
                  </a:lnTo>
                  <a:lnTo>
                    <a:pt x="720" y="478"/>
                  </a:lnTo>
                  <a:lnTo>
                    <a:pt x="740" y="471"/>
                  </a:lnTo>
                  <a:lnTo>
                    <a:pt x="758" y="464"/>
                  </a:lnTo>
                  <a:lnTo>
                    <a:pt x="778" y="458"/>
                  </a:lnTo>
                  <a:lnTo>
                    <a:pt x="797" y="452"/>
                  </a:lnTo>
                  <a:lnTo>
                    <a:pt x="836" y="443"/>
                  </a:lnTo>
                  <a:lnTo>
                    <a:pt x="876" y="434"/>
                  </a:lnTo>
                  <a:lnTo>
                    <a:pt x="916" y="424"/>
                  </a:lnTo>
                  <a:lnTo>
                    <a:pt x="957" y="415"/>
                  </a:lnTo>
                  <a:lnTo>
                    <a:pt x="992" y="408"/>
                  </a:lnTo>
                  <a:lnTo>
                    <a:pt x="1025" y="399"/>
                  </a:lnTo>
                  <a:lnTo>
                    <a:pt x="1057" y="390"/>
                  </a:lnTo>
                  <a:lnTo>
                    <a:pt x="1090" y="378"/>
                  </a:lnTo>
                  <a:lnTo>
                    <a:pt x="1154" y="353"/>
                  </a:lnTo>
                  <a:lnTo>
                    <a:pt x="1216" y="325"/>
                  </a:lnTo>
                  <a:lnTo>
                    <a:pt x="1248" y="311"/>
                  </a:lnTo>
                  <a:lnTo>
                    <a:pt x="1280" y="298"/>
                  </a:lnTo>
                  <a:lnTo>
                    <a:pt x="1311" y="285"/>
                  </a:lnTo>
                  <a:lnTo>
                    <a:pt x="1344" y="273"/>
                  </a:lnTo>
                  <a:lnTo>
                    <a:pt x="1376" y="262"/>
                  </a:lnTo>
                  <a:lnTo>
                    <a:pt x="1410" y="253"/>
                  </a:lnTo>
                  <a:lnTo>
                    <a:pt x="1444" y="245"/>
                  </a:lnTo>
                  <a:lnTo>
                    <a:pt x="1479" y="239"/>
                  </a:lnTo>
                  <a:lnTo>
                    <a:pt x="1514" y="233"/>
                  </a:lnTo>
                  <a:lnTo>
                    <a:pt x="1541" y="228"/>
                  </a:lnTo>
                  <a:lnTo>
                    <a:pt x="1553" y="226"/>
                  </a:lnTo>
                  <a:lnTo>
                    <a:pt x="1564" y="225"/>
                  </a:lnTo>
                  <a:lnTo>
                    <a:pt x="1574" y="225"/>
                  </a:lnTo>
                  <a:lnTo>
                    <a:pt x="1583" y="225"/>
                  </a:lnTo>
                  <a:lnTo>
                    <a:pt x="1590" y="227"/>
                  </a:lnTo>
                  <a:lnTo>
                    <a:pt x="1598" y="230"/>
                  </a:lnTo>
                  <a:lnTo>
                    <a:pt x="1605" y="234"/>
                  </a:lnTo>
                  <a:lnTo>
                    <a:pt x="1612" y="242"/>
                  </a:lnTo>
                  <a:lnTo>
                    <a:pt x="1619" y="249"/>
                  </a:lnTo>
                  <a:lnTo>
                    <a:pt x="1627" y="260"/>
                  </a:lnTo>
                  <a:lnTo>
                    <a:pt x="1635" y="274"/>
                  </a:lnTo>
                  <a:lnTo>
                    <a:pt x="1644" y="289"/>
                  </a:lnTo>
                  <a:lnTo>
                    <a:pt x="1653" y="304"/>
                  </a:lnTo>
                  <a:lnTo>
                    <a:pt x="1661" y="317"/>
                  </a:lnTo>
                  <a:lnTo>
                    <a:pt x="1671" y="329"/>
                  </a:lnTo>
                  <a:lnTo>
                    <a:pt x="1682" y="340"/>
                  </a:lnTo>
                  <a:lnTo>
                    <a:pt x="1693" y="351"/>
                  </a:lnTo>
                  <a:lnTo>
                    <a:pt x="1704" y="360"/>
                  </a:lnTo>
                  <a:lnTo>
                    <a:pt x="1715" y="368"/>
                  </a:lnTo>
                  <a:lnTo>
                    <a:pt x="1727" y="375"/>
                  </a:lnTo>
                  <a:lnTo>
                    <a:pt x="1753" y="389"/>
                  </a:lnTo>
                  <a:lnTo>
                    <a:pt x="1780" y="401"/>
                  </a:lnTo>
                  <a:lnTo>
                    <a:pt x="1808" y="412"/>
                  </a:lnTo>
                  <a:lnTo>
                    <a:pt x="1839" y="424"/>
                  </a:lnTo>
                  <a:lnTo>
                    <a:pt x="1875" y="441"/>
                  </a:lnTo>
                  <a:lnTo>
                    <a:pt x="1913" y="456"/>
                  </a:lnTo>
                  <a:lnTo>
                    <a:pt x="1931" y="462"/>
                  </a:lnTo>
                  <a:lnTo>
                    <a:pt x="1950" y="469"/>
                  </a:lnTo>
                  <a:lnTo>
                    <a:pt x="1969" y="474"/>
                  </a:lnTo>
                  <a:lnTo>
                    <a:pt x="1988" y="479"/>
                  </a:lnTo>
                  <a:lnTo>
                    <a:pt x="2007" y="484"/>
                  </a:lnTo>
                  <a:lnTo>
                    <a:pt x="2027" y="486"/>
                  </a:lnTo>
                  <a:lnTo>
                    <a:pt x="2045" y="488"/>
                  </a:lnTo>
                  <a:lnTo>
                    <a:pt x="2064" y="489"/>
                  </a:lnTo>
                  <a:lnTo>
                    <a:pt x="2084" y="488"/>
                  </a:lnTo>
                  <a:lnTo>
                    <a:pt x="2103" y="487"/>
                  </a:lnTo>
                  <a:lnTo>
                    <a:pt x="2124" y="483"/>
                  </a:lnTo>
                  <a:lnTo>
                    <a:pt x="2143" y="478"/>
                  </a:lnTo>
                  <a:lnTo>
                    <a:pt x="2163" y="475"/>
                  </a:lnTo>
                  <a:lnTo>
                    <a:pt x="2187" y="473"/>
                  </a:lnTo>
                  <a:lnTo>
                    <a:pt x="2217" y="472"/>
                  </a:lnTo>
                  <a:lnTo>
                    <a:pt x="2246" y="470"/>
                  </a:lnTo>
                  <a:lnTo>
                    <a:pt x="2261" y="469"/>
                  </a:lnTo>
                  <a:lnTo>
                    <a:pt x="2274" y="466"/>
                  </a:lnTo>
                  <a:lnTo>
                    <a:pt x="2287" y="464"/>
                  </a:lnTo>
                  <a:lnTo>
                    <a:pt x="2298" y="461"/>
                  </a:lnTo>
                  <a:lnTo>
                    <a:pt x="2306" y="457"/>
                  </a:lnTo>
                  <a:lnTo>
                    <a:pt x="2314" y="451"/>
                  </a:lnTo>
                  <a:lnTo>
                    <a:pt x="2316" y="449"/>
                  </a:lnTo>
                  <a:lnTo>
                    <a:pt x="2318" y="446"/>
                  </a:lnTo>
                  <a:lnTo>
                    <a:pt x="2319" y="443"/>
                  </a:lnTo>
                  <a:lnTo>
                    <a:pt x="2319" y="438"/>
                  </a:lnTo>
                  <a:lnTo>
                    <a:pt x="2319" y="410"/>
                  </a:lnTo>
                  <a:lnTo>
                    <a:pt x="2321" y="384"/>
                  </a:lnTo>
                  <a:lnTo>
                    <a:pt x="2324" y="372"/>
                  </a:lnTo>
                  <a:lnTo>
                    <a:pt x="2326" y="361"/>
                  </a:lnTo>
                  <a:lnTo>
                    <a:pt x="2329" y="351"/>
                  </a:lnTo>
                  <a:lnTo>
                    <a:pt x="2332" y="341"/>
                  </a:lnTo>
                  <a:lnTo>
                    <a:pt x="2335" y="331"/>
                  </a:lnTo>
                  <a:lnTo>
                    <a:pt x="2340" y="324"/>
                  </a:lnTo>
                  <a:lnTo>
                    <a:pt x="2344" y="316"/>
                  </a:lnTo>
                  <a:lnTo>
                    <a:pt x="2350" y="309"/>
                  </a:lnTo>
                  <a:lnTo>
                    <a:pt x="2355" y="302"/>
                  </a:lnTo>
                  <a:lnTo>
                    <a:pt x="2361" y="296"/>
                  </a:lnTo>
                  <a:lnTo>
                    <a:pt x="2368" y="290"/>
                  </a:lnTo>
                  <a:lnTo>
                    <a:pt x="2374" y="286"/>
                  </a:lnTo>
                  <a:lnTo>
                    <a:pt x="2382" y="281"/>
                  </a:lnTo>
                  <a:lnTo>
                    <a:pt x="2389" y="277"/>
                  </a:lnTo>
                  <a:lnTo>
                    <a:pt x="2398" y="274"/>
                  </a:lnTo>
                  <a:lnTo>
                    <a:pt x="2406" y="271"/>
                  </a:lnTo>
                  <a:lnTo>
                    <a:pt x="2424" y="266"/>
                  </a:lnTo>
                  <a:lnTo>
                    <a:pt x="2445" y="262"/>
                  </a:lnTo>
                  <a:lnTo>
                    <a:pt x="2465" y="261"/>
                  </a:lnTo>
                  <a:lnTo>
                    <a:pt x="2488" y="260"/>
                  </a:lnTo>
                  <a:lnTo>
                    <a:pt x="2513" y="261"/>
                  </a:lnTo>
                  <a:lnTo>
                    <a:pt x="2539" y="262"/>
                  </a:lnTo>
                  <a:lnTo>
                    <a:pt x="2553" y="263"/>
                  </a:lnTo>
                  <a:lnTo>
                    <a:pt x="2567" y="262"/>
                  </a:lnTo>
                  <a:lnTo>
                    <a:pt x="2579" y="261"/>
                  </a:lnTo>
                  <a:lnTo>
                    <a:pt x="2589" y="259"/>
                  </a:lnTo>
                  <a:lnTo>
                    <a:pt x="2598" y="256"/>
                  </a:lnTo>
                  <a:lnTo>
                    <a:pt x="2607" y="252"/>
                  </a:lnTo>
                  <a:lnTo>
                    <a:pt x="2615" y="247"/>
                  </a:lnTo>
                  <a:lnTo>
                    <a:pt x="2623" y="242"/>
                  </a:lnTo>
                  <a:lnTo>
                    <a:pt x="2637" y="230"/>
                  </a:lnTo>
                  <a:lnTo>
                    <a:pt x="2651" y="216"/>
                  </a:lnTo>
                  <a:lnTo>
                    <a:pt x="2667" y="202"/>
                  </a:lnTo>
                  <a:lnTo>
                    <a:pt x="2687" y="188"/>
                  </a:lnTo>
                  <a:lnTo>
                    <a:pt x="2695" y="181"/>
                  </a:lnTo>
                  <a:lnTo>
                    <a:pt x="2702" y="175"/>
                  </a:lnTo>
                  <a:lnTo>
                    <a:pt x="2708" y="168"/>
                  </a:lnTo>
                  <a:lnTo>
                    <a:pt x="2712" y="162"/>
                  </a:lnTo>
                  <a:lnTo>
                    <a:pt x="2716" y="155"/>
                  </a:lnTo>
                  <a:lnTo>
                    <a:pt x="2719" y="148"/>
                  </a:lnTo>
                  <a:lnTo>
                    <a:pt x="2721" y="141"/>
                  </a:lnTo>
                  <a:lnTo>
                    <a:pt x="2722" y="134"/>
                  </a:lnTo>
                  <a:lnTo>
                    <a:pt x="2722" y="102"/>
                  </a:lnTo>
                  <a:lnTo>
                    <a:pt x="2721" y="67"/>
                  </a:lnTo>
                  <a:lnTo>
                    <a:pt x="2722" y="60"/>
                  </a:lnTo>
                  <a:lnTo>
                    <a:pt x="2723" y="53"/>
                  </a:lnTo>
                  <a:lnTo>
                    <a:pt x="2725" y="47"/>
                  </a:lnTo>
                  <a:lnTo>
                    <a:pt x="2729" y="41"/>
                  </a:lnTo>
                  <a:lnTo>
                    <a:pt x="2733" y="36"/>
                  </a:lnTo>
                  <a:lnTo>
                    <a:pt x="2737" y="31"/>
                  </a:lnTo>
                  <a:lnTo>
                    <a:pt x="2742" y="27"/>
                  </a:lnTo>
                  <a:lnTo>
                    <a:pt x="2747" y="23"/>
                  </a:lnTo>
                  <a:lnTo>
                    <a:pt x="2758" y="16"/>
                  </a:lnTo>
                  <a:lnTo>
                    <a:pt x="2771" y="11"/>
                  </a:lnTo>
                  <a:lnTo>
                    <a:pt x="2784" y="7"/>
                  </a:lnTo>
                  <a:lnTo>
                    <a:pt x="2798" y="5"/>
                  </a:lnTo>
                  <a:lnTo>
                    <a:pt x="2812" y="4"/>
                  </a:lnTo>
                  <a:lnTo>
                    <a:pt x="2825" y="5"/>
                  </a:lnTo>
                  <a:lnTo>
                    <a:pt x="2837" y="7"/>
                  </a:lnTo>
                  <a:lnTo>
                    <a:pt x="2849" y="11"/>
                  </a:lnTo>
                  <a:lnTo>
                    <a:pt x="2858" y="15"/>
                  </a:lnTo>
                  <a:lnTo>
                    <a:pt x="2866" y="20"/>
                  </a:lnTo>
                  <a:lnTo>
                    <a:pt x="2869" y="24"/>
                  </a:lnTo>
                  <a:lnTo>
                    <a:pt x="2871" y="27"/>
                  </a:lnTo>
                  <a:lnTo>
                    <a:pt x="2872" y="30"/>
                  </a:lnTo>
                  <a:lnTo>
                    <a:pt x="2873" y="34"/>
                  </a:lnTo>
                  <a:lnTo>
                    <a:pt x="2876" y="51"/>
                  </a:lnTo>
                  <a:lnTo>
                    <a:pt x="2879" y="65"/>
                  </a:lnTo>
                  <a:lnTo>
                    <a:pt x="2883" y="78"/>
                  </a:lnTo>
                  <a:lnTo>
                    <a:pt x="2888" y="90"/>
                  </a:lnTo>
                  <a:lnTo>
                    <a:pt x="2893" y="99"/>
                  </a:lnTo>
                  <a:lnTo>
                    <a:pt x="2898" y="109"/>
                  </a:lnTo>
                  <a:lnTo>
                    <a:pt x="2906" y="117"/>
                  </a:lnTo>
                  <a:lnTo>
                    <a:pt x="2913" y="124"/>
                  </a:lnTo>
                  <a:lnTo>
                    <a:pt x="2921" y="129"/>
                  </a:lnTo>
                  <a:lnTo>
                    <a:pt x="2930" y="136"/>
                  </a:lnTo>
                  <a:lnTo>
                    <a:pt x="2940" y="141"/>
                  </a:lnTo>
                  <a:lnTo>
                    <a:pt x="2950" y="147"/>
                  </a:lnTo>
                  <a:lnTo>
                    <a:pt x="2974" y="156"/>
                  </a:lnTo>
                  <a:lnTo>
                    <a:pt x="3001" y="166"/>
                  </a:lnTo>
                  <a:lnTo>
                    <a:pt x="3020" y="175"/>
                  </a:lnTo>
                  <a:lnTo>
                    <a:pt x="3039" y="182"/>
                  </a:lnTo>
                  <a:lnTo>
                    <a:pt x="3057" y="190"/>
                  </a:lnTo>
                  <a:lnTo>
                    <a:pt x="3077" y="196"/>
                  </a:lnTo>
                  <a:lnTo>
                    <a:pt x="3085" y="199"/>
                  </a:lnTo>
                  <a:lnTo>
                    <a:pt x="3095" y="200"/>
                  </a:lnTo>
                  <a:lnTo>
                    <a:pt x="3105" y="201"/>
                  </a:lnTo>
                  <a:lnTo>
                    <a:pt x="3114" y="200"/>
                  </a:lnTo>
                  <a:lnTo>
                    <a:pt x="3124" y="198"/>
                  </a:lnTo>
                  <a:lnTo>
                    <a:pt x="3133" y="195"/>
                  </a:lnTo>
                  <a:lnTo>
                    <a:pt x="3142" y="191"/>
                  </a:lnTo>
                  <a:lnTo>
                    <a:pt x="3152" y="185"/>
                  </a:lnTo>
                  <a:lnTo>
                    <a:pt x="3172" y="171"/>
                  </a:lnTo>
                  <a:lnTo>
                    <a:pt x="3199" y="150"/>
                  </a:lnTo>
                  <a:lnTo>
                    <a:pt x="3231" y="125"/>
                  </a:lnTo>
                  <a:lnTo>
                    <a:pt x="3266" y="100"/>
                  </a:lnTo>
                  <a:lnTo>
                    <a:pt x="3283" y="88"/>
                  </a:lnTo>
                  <a:lnTo>
                    <a:pt x="3300" y="78"/>
                  </a:lnTo>
                  <a:lnTo>
                    <a:pt x="3316" y="68"/>
                  </a:lnTo>
                  <a:lnTo>
                    <a:pt x="3333" y="60"/>
                  </a:lnTo>
                  <a:lnTo>
                    <a:pt x="3347" y="54"/>
                  </a:lnTo>
                  <a:lnTo>
                    <a:pt x="3360" y="51"/>
                  </a:lnTo>
                  <a:lnTo>
                    <a:pt x="3365" y="51"/>
                  </a:lnTo>
                  <a:lnTo>
                    <a:pt x="3370" y="51"/>
                  </a:lnTo>
                  <a:lnTo>
                    <a:pt x="3375" y="52"/>
                  </a:lnTo>
                  <a:lnTo>
                    <a:pt x="3378" y="53"/>
                  </a:lnTo>
                  <a:lnTo>
                    <a:pt x="3398" y="69"/>
                  </a:lnTo>
                  <a:lnTo>
                    <a:pt x="3417" y="85"/>
                  </a:lnTo>
                  <a:lnTo>
                    <a:pt x="3421" y="88"/>
                  </a:lnTo>
                  <a:lnTo>
                    <a:pt x="3427" y="92"/>
                  </a:lnTo>
                  <a:lnTo>
                    <a:pt x="3431" y="94"/>
                  </a:lnTo>
                  <a:lnTo>
                    <a:pt x="3437" y="96"/>
                  </a:lnTo>
                  <a:lnTo>
                    <a:pt x="3443" y="97"/>
                  </a:lnTo>
                  <a:lnTo>
                    <a:pt x="3449" y="97"/>
                  </a:lnTo>
                  <a:lnTo>
                    <a:pt x="3457" y="97"/>
                  </a:lnTo>
                  <a:lnTo>
                    <a:pt x="3464" y="96"/>
                  </a:lnTo>
                  <a:lnTo>
                    <a:pt x="3472" y="94"/>
                  </a:lnTo>
                  <a:lnTo>
                    <a:pt x="3478" y="92"/>
                  </a:lnTo>
                  <a:lnTo>
                    <a:pt x="3486" y="88"/>
                  </a:lnTo>
                  <a:lnTo>
                    <a:pt x="3492" y="84"/>
                  </a:lnTo>
                  <a:lnTo>
                    <a:pt x="3505" y="75"/>
                  </a:lnTo>
                  <a:lnTo>
                    <a:pt x="3518" y="65"/>
                  </a:lnTo>
                  <a:lnTo>
                    <a:pt x="3531" y="54"/>
                  </a:lnTo>
                  <a:lnTo>
                    <a:pt x="3544" y="43"/>
                  </a:lnTo>
                  <a:lnTo>
                    <a:pt x="3557" y="33"/>
                  </a:lnTo>
                  <a:lnTo>
                    <a:pt x="3570" y="26"/>
                  </a:lnTo>
                  <a:lnTo>
                    <a:pt x="3598" y="17"/>
                  </a:lnTo>
                  <a:lnTo>
                    <a:pt x="3624" y="9"/>
                  </a:lnTo>
                  <a:lnTo>
                    <a:pt x="3638" y="5"/>
                  </a:lnTo>
                  <a:lnTo>
                    <a:pt x="3652" y="2"/>
                  </a:lnTo>
                  <a:lnTo>
                    <a:pt x="3666" y="0"/>
                  </a:lnTo>
                  <a:lnTo>
                    <a:pt x="3682" y="0"/>
                  </a:lnTo>
                  <a:lnTo>
                    <a:pt x="3690" y="0"/>
                  </a:lnTo>
                  <a:lnTo>
                    <a:pt x="3698" y="2"/>
                  </a:lnTo>
                  <a:lnTo>
                    <a:pt x="3704" y="4"/>
                  </a:lnTo>
                  <a:lnTo>
                    <a:pt x="3710" y="7"/>
                  </a:lnTo>
                  <a:lnTo>
                    <a:pt x="3719" y="16"/>
                  </a:lnTo>
                  <a:lnTo>
                    <a:pt x="3731" y="25"/>
                  </a:lnTo>
                  <a:lnTo>
                    <a:pt x="3740" y="30"/>
                  </a:lnTo>
                  <a:lnTo>
                    <a:pt x="3750" y="34"/>
                  </a:lnTo>
                  <a:lnTo>
                    <a:pt x="3759" y="39"/>
                  </a:lnTo>
                  <a:lnTo>
                    <a:pt x="3770" y="42"/>
                  </a:lnTo>
                  <a:lnTo>
                    <a:pt x="3793" y="47"/>
                  </a:lnTo>
                  <a:lnTo>
                    <a:pt x="3815" y="52"/>
                  </a:lnTo>
                  <a:lnTo>
                    <a:pt x="3838" y="57"/>
                  </a:lnTo>
                  <a:lnTo>
                    <a:pt x="3861" y="64"/>
                  </a:lnTo>
                  <a:lnTo>
                    <a:pt x="3872" y="68"/>
                  </a:lnTo>
                  <a:lnTo>
                    <a:pt x="3881" y="73"/>
                  </a:lnTo>
                  <a:lnTo>
                    <a:pt x="3891" y="80"/>
                  </a:lnTo>
                  <a:lnTo>
                    <a:pt x="3900" y="86"/>
                  </a:lnTo>
                  <a:lnTo>
                    <a:pt x="3895" y="86"/>
                  </a:lnTo>
                  <a:lnTo>
                    <a:pt x="3884" y="87"/>
                  </a:lnTo>
                  <a:lnTo>
                    <a:pt x="3874" y="88"/>
                  </a:lnTo>
                  <a:lnTo>
                    <a:pt x="3865" y="90"/>
                  </a:lnTo>
                  <a:lnTo>
                    <a:pt x="3860" y="91"/>
                  </a:lnTo>
                  <a:lnTo>
                    <a:pt x="3852" y="93"/>
                  </a:lnTo>
                  <a:lnTo>
                    <a:pt x="3847" y="97"/>
                  </a:lnTo>
                  <a:lnTo>
                    <a:pt x="3841" y="101"/>
                  </a:lnTo>
                  <a:lnTo>
                    <a:pt x="3838" y="107"/>
                  </a:lnTo>
                  <a:lnTo>
                    <a:pt x="3835" y="113"/>
                  </a:lnTo>
                  <a:lnTo>
                    <a:pt x="3833" y="120"/>
                  </a:lnTo>
                  <a:lnTo>
                    <a:pt x="3831" y="127"/>
                  </a:lnTo>
                  <a:lnTo>
                    <a:pt x="3830" y="135"/>
                  </a:lnTo>
                  <a:lnTo>
                    <a:pt x="3828" y="151"/>
                  </a:lnTo>
                  <a:lnTo>
                    <a:pt x="3830" y="166"/>
                  </a:lnTo>
                  <a:lnTo>
                    <a:pt x="3831" y="180"/>
                  </a:lnTo>
                  <a:lnTo>
                    <a:pt x="3832" y="193"/>
                  </a:lnTo>
                  <a:lnTo>
                    <a:pt x="3853" y="213"/>
                  </a:lnTo>
                  <a:lnTo>
                    <a:pt x="3874" y="230"/>
                  </a:lnTo>
                  <a:lnTo>
                    <a:pt x="3885" y="237"/>
                  </a:lnTo>
                  <a:lnTo>
                    <a:pt x="3898" y="243"/>
                  </a:lnTo>
                  <a:lnTo>
                    <a:pt x="3912" y="248"/>
                  </a:lnTo>
                  <a:lnTo>
                    <a:pt x="3927" y="252"/>
                  </a:lnTo>
                  <a:lnTo>
                    <a:pt x="3925" y="254"/>
                  </a:lnTo>
                  <a:lnTo>
                    <a:pt x="3920" y="257"/>
                  </a:lnTo>
                  <a:lnTo>
                    <a:pt x="3913" y="260"/>
                  </a:lnTo>
                  <a:lnTo>
                    <a:pt x="3904" y="264"/>
                  </a:lnTo>
                  <a:lnTo>
                    <a:pt x="3888" y="270"/>
                  </a:lnTo>
                  <a:lnTo>
                    <a:pt x="3876" y="274"/>
                  </a:lnTo>
                  <a:lnTo>
                    <a:pt x="3863" y="279"/>
                  </a:lnTo>
                  <a:lnTo>
                    <a:pt x="3849" y="286"/>
                  </a:lnTo>
                  <a:lnTo>
                    <a:pt x="3833" y="294"/>
                  </a:lnTo>
                  <a:lnTo>
                    <a:pt x="3819" y="304"/>
                  </a:lnTo>
                  <a:lnTo>
                    <a:pt x="3811" y="309"/>
                  </a:lnTo>
                  <a:lnTo>
                    <a:pt x="3805" y="315"/>
                  </a:lnTo>
                  <a:lnTo>
                    <a:pt x="3798" y="321"/>
                  </a:lnTo>
                  <a:lnTo>
                    <a:pt x="3793" y="327"/>
                  </a:lnTo>
                  <a:lnTo>
                    <a:pt x="3788" y="334"/>
                  </a:lnTo>
                  <a:lnTo>
                    <a:pt x="3784" y="340"/>
                  </a:lnTo>
                  <a:lnTo>
                    <a:pt x="3782" y="347"/>
                  </a:lnTo>
                  <a:lnTo>
                    <a:pt x="3780" y="354"/>
                  </a:lnTo>
                  <a:lnTo>
                    <a:pt x="3780" y="362"/>
                  </a:lnTo>
                  <a:lnTo>
                    <a:pt x="3781" y="367"/>
                  </a:lnTo>
                  <a:lnTo>
                    <a:pt x="3784" y="374"/>
                  </a:lnTo>
                  <a:lnTo>
                    <a:pt x="3788" y="378"/>
                  </a:lnTo>
                  <a:lnTo>
                    <a:pt x="3794" y="382"/>
                  </a:lnTo>
                  <a:lnTo>
                    <a:pt x="3800" y="385"/>
                  </a:lnTo>
                  <a:lnTo>
                    <a:pt x="3807" y="389"/>
                  </a:lnTo>
                  <a:lnTo>
                    <a:pt x="3814" y="392"/>
                  </a:lnTo>
                  <a:lnTo>
                    <a:pt x="3828" y="396"/>
                  </a:lnTo>
                  <a:lnTo>
                    <a:pt x="3841" y="402"/>
                  </a:lnTo>
                  <a:lnTo>
                    <a:pt x="3847" y="405"/>
                  </a:lnTo>
                  <a:lnTo>
                    <a:pt x="3851" y="408"/>
                  </a:lnTo>
                  <a:lnTo>
                    <a:pt x="3853" y="412"/>
                  </a:lnTo>
                  <a:lnTo>
                    <a:pt x="3854" y="417"/>
                  </a:lnTo>
                  <a:lnTo>
                    <a:pt x="3853" y="423"/>
                  </a:lnTo>
                  <a:lnTo>
                    <a:pt x="3852" y="429"/>
                  </a:lnTo>
                  <a:lnTo>
                    <a:pt x="3851" y="434"/>
                  </a:lnTo>
                  <a:lnTo>
                    <a:pt x="3848" y="438"/>
                  </a:lnTo>
                  <a:lnTo>
                    <a:pt x="3846" y="442"/>
                  </a:lnTo>
                  <a:lnTo>
                    <a:pt x="3841" y="446"/>
                  </a:lnTo>
                  <a:lnTo>
                    <a:pt x="3837" y="448"/>
                  </a:lnTo>
                  <a:lnTo>
                    <a:pt x="3833" y="451"/>
                  </a:lnTo>
                  <a:lnTo>
                    <a:pt x="3823" y="455"/>
                  </a:lnTo>
                  <a:lnTo>
                    <a:pt x="3811" y="457"/>
                  </a:lnTo>
                  <a:lnTo>
                    <a:pt x="3798" y="459"/>
                  </a:lnTo>
                  <a:lnTo>
                    <a:pt x="3785" y="459"/>
                  </a:lnTo>
                  <a:lnTo>
                    <a:pt x="3758" y="461"/>
                  </a:lnTo>
                  <a:lnTo>
                    <a:pt x="3734" y="463"/>
                  </a:lnTo>
                  <a:lnTo>
                    <a:pt x="3724" y="466"/>
                  </a:lnTo>
                  <a:lnTo>
                    <a:pt x="3715" y="471"/>
                  </a:lnTo>
                  <a:lnTo>
                    <a:pt x="3711" y="473"/>
                  </a:lnTo>
                  <a:lnTo>
                    <a:pt x="3707" y="476"/>
                  </a:lnTo>
                  <a:lnTo>
                    <a:pt x="3705" y="479"/>
                  </a:lnTo>
                  <a:lnTo>
                    <a:pt x="3703" y="484"/>
                  </a:lnTo>
                  <a:lnTo>
                    <a:pt x="3705" y="489"/>
                  </a:lnTo>
                  <a:lnTo>
                    <a:pt x="3710" y="501"/>
                  </a:lnTo>
                  <a:lnTo>
                    <a:pt x="3716" y="516"/>
                  </a:lnTo>
                  <a:lnTo>
                    <a:pt x="3724" y="534"/>
                  </a:lnTo>
                  <a:lnTo>
                    <a:pt x="3732" y="552"/>
                  </a:lnTo>
                  <a:lnTo>
                    <a:pt x="3741" y="568"/>
                  </a:lnTo>
                  <a:lnTo>
                    <a:pt x="3747" y="580"/>
                  </a:lnTo>
                  <a:lnTo>
                    <a:pt x="3753" y="585"/>
                  </a:lnTo>
                  <a:lnTo>
                    <a:pt x="3765" y="594"/>
                  </a:lnTo>
                  <a:lnTo>
                    <a:pt x="3771" y="600"/>
                  </a:lnTo>
                  <a:lnTo>
                    <a:pt x="3772" y="604"/>
                  </a:lnTo>
                  <a:lnTo>
                    <a:pt x="3772" y="606"/>
                  </a:lnTo>
                  <a:lnTo>
                    <a:pt x="3771" y="607"/>
                  </a:lnTo>
                  <a:lnTo>
                    <a:pt x="3770" y="608"/>
                  </a:lnTo>
                  <a:lnTo>
                    <a:pt x="3765" y="609"/>
                  </a:lnTo>
                  <a:lnTo>
                    <a:pt x="3756" y="607"/>
                  </a:lnTo>
                  <a:lnTo>
                    <a:pt x="3746" y="604"/>
                  </a:lnTo>
                  <a:lnTo>
                    <a:pt x="3734" y="597"/>
                  </a:lnTo>
                  <a:lnTo>
                    <a:pt x="3726" y="591"/>
                  </a:lnTo>
                  <a:lnTo>
                    <a:pt x="3717" y="584"/>
                  </a:lnTo>
                  <a:lnTo>
                    <a:pt x="3710" y="577"/>
                  </a:lnTo>
                  <a:lnTo>
                    <a:pt x="3701" y="569"/>
                  </a:lnTo>
                  <a:lnTo>
                    <a:pt x="3686" y="554"/>
                  </a:lnTo>
                  <a:lnTo>
                    <a:pt x="3670" y="539"/>
                  </a:lnTo>
                  <a:lnTo>
                    <a:pt x="3663" y="534"/>
                  </a:lnTo>
                  <a:lnTo>
                    <a:pt x="3656" y="531"/>
                  </a:lnTo>
                  <a:lnTo>
                    <a:pt x="3649" y="529"/>
                  </a:lnTo>
                  <a:lnTo>
                    <a:pt x="3642" y="528"/>
                  </a:lnTo>
                  <a:lnTo>
                    <a:pt x="3626" y="528"/>
                  </a:lnTo>
                  <a:lnTo>
                    <a:pt x="3611" y="530"/>
                  </a:lnTo>
                  <a:lnTo>
                    <a:pt x="3598" y="531"/>
                  </a:lnTo>
                  <a:lnTo>
                    <a:pt x="3586" y="530"/>
                  </a:lnTo>
                  <a:lnTo>
                    <a:pt x="3575" y="528"/>
                  </a:lnTo>
                  <a:lnTo>
                    <a:pt x="3564" y="525"/>
                  </a:lnTo>
                  <a:lnTo>
                    <a:pt x="3552" y="522"/>
                  </a:lnTo>
                  <a:lnTo>
                    <a:pt x="3540" y="518"/>
                  </a:lnTo>
                  <a:lnTo>
                    <a:pt x="3528" y="516"/>
                  </a:lnTo>
                  <a:lnTo>
                    <a:pt x="3516" y="516"/>
                  </a:lnTo>
                  <a:lnTo>
                    <a:pt x="3501" y="517"/>
                  </a:lnTo>
                  <a:lnTo>
                    <a:pt x="3486" y="520"/>
                  </a:lnTo>
                  <a:lnTo>
                    <a:pt x="3471" y="525"/>
                  </a:lnTo>
                  <a:lnTo>
                    <a:pt x="3455" y="530"/>
                  </a:lnTo>
                  <a:lnTo>
                    <a:pt x="3440" y="537"/>
                  </a:lnTo>
                  <a:lnTo>
                    <a:pt x="3425" y="544"/>
                  </a:lnTo>
                  <a:lnTo>
                    <a:pt x="3413" y="552"/>
                  </a:lnTo>
                  <a:lnTo>
                    <a:pt x="3400" y="560"/>
                  </a:lnTo>
                  <a:lnTo>
                    <a:pt x="3391" y="569"/>
                  </a:lnTo>
                  <a:lnTo>
                    <a:pt x="3381" y="576"/>
                  </a:lnTo>
                  <a:lnTo>
                    <a:pt x="3371" y="582"/>
                  </a:lnTo>
                  <a:lnTo>
                    <a:pt x="3361" y="588"/>
                  </a:lnTo>
                  <a:lnTo>
                    <a:pt x="3351" y="595"/>
                  </a:lnTo>
                  <a:lnTo>
                    <a:pt x="3340" y="601"/>
                  </a:lnTo>
                  <a:lnTo>
                    <a:pt x="3332" y="609"/>
                  </a:lnTo>
                  <a:lnTo>
                    <a:pt x="3323" y="618"/>
                  </a:lnTo>
                  <a:lnTo>
                    <a:pt x="3324" y="631"/>
                  </a:lnTo>
                  <a:lnTo>
                    <a:pt x="3326" y="645"/>
                  </a:lnTo>
                  <a:lnTo>
                    <a:pt x="3329" y="659"/>
                  </a:lnTo>
                  <a:lnTo>
                    <a:pt x="3334" y="673"/>
                  </a:lnTo>
                  <a:lnTo>
                    <a:pt x="3337" y="679"/>
                  </a:lnTo>
                  <a:lnTo>
                    <a:pt x="3340" y="686"/>
                  </a:lnTo>
                  <a:lnTo>
                    <a:pt x="3343" y="692"/>
                  </a:lnTo>
                  <a:lnTo>
                    <a:pt x="3348" y="698"/>
                  </a:lnTo>
                  <a:lnTo>
                    <a:pt x="3352" y="702"/>
                  </a:lnTo>
                  <a:lnTo>
                    <a:pt x="3357" y="706"/>
                  </a:lnTo>
                  <a:lnTo>
                    <a:pt x="3364" y="709"/>
                  </a:lnTo>
                  <a:lnTo>
                    <a:pt x="3371" y="712"/>
                  </a:lnTo>
                  <a:lnTo>
                    <a:pt x="3386" y="715"/>
                  </a:lnTo>
                  <a:lnTo>
                    <a:pt x="3400" y="717"/>
                  </a:lnTo>
                  <a:lnTo>
                    <a:pt x="3415" y="718"/>
                  </a:lnTo>
                  <a:lnTo>
                    <a:pt x="3429" y="718"/>
                  </a:lnTo>
                  <a:lnTo>
                    <a:pt x="3438" y="718"/>
                  </a:lnTo>
                  <a:lnTo>
                    <a:pt x="3451" y="717"/>
                  </a:lnTo>
                  <a:lnTo>
                    <a:pt x="3458" y="717"/>
                  </a:lnTo>
                  <a:lnTo>
                    <a:pt x="3463" y="718"/>
                  </a:lnTo>
                  <a:lnTo>
                    <a:pt x="3469" y="719"/>
                  </a:lnTo>
                  <a:lnTo>
                    <a:pt x="3472" y="720"/>
                  </a:lnTo>
                  <a:lnTo>
                    <a:pt x="3470" y="729"/>
                  </a:lnTo>
                  <a:lnTo>
                    <a:pt x="3469" y="739"/>
                  </a:lnTo>
                  <a:lnTo>
                    <a:pt x="3469" y="752"/>
                  </a:lnTo>
                  <a:lnTo>
                    <a:pt x="3468" y="758"/>
                  </a:lnTo>
                  <a:lnTo>
                    <a:pt x="3465" y="760"/>
                  </a:lnTo>
                  <a:lnTo>
                    <a:pt x="3461" y="761"/>
                  </a:lnTo>
                  <a:lnTo>
                    <a:pt x="3455" y="763"/>
                  </a:lnTo>
                  <a:lnTo>
                    <a:pt x="3445" y="765"/>
                  </a:lnTo>
                  <a:lnTo>
                    <a:pt x="3420" y="766"/>
                  </a:lnTo>
                  <a:lnTo>
                    <a:pt x="3394" y="767"/>
                  </a:lnTo>
                  <a:lnTo>
                    <a:pt x="3382" y="769"/>
                  </a:lnTo>
                  <a:lnTo>
                    <a:pt x="3371" y="772"/>
                  </a:lnTo>
                  <a:lnTo>
                    <a:pt x="3366" y="775"/>
                  </a:lnTo>
                  <a:lnTo>
                    <a:pt x="3361" y="779"/>
                  </a:lnTo>
                  <a:lnTo>
                    <a:pt x="3356" y="782"/>
                  </a:lnTo>
                  <a:lnTo>
                    <a:pt x="3352" y="786"/>
                  </a:lnTo>
                  <a:lnTo>
                    <a:pt x="3348" y="790"/>
                  </a:lnTo>
                  <a:lnTo>
                    <a:pt x="3342" y="794"/>
                  </a:lnTo>
                  <a:lnTo>
                    <a:pt x="3336" y="796"/>
                  </a:lnTo>
                  <a:lnTo>
                    <a:pt x="3329" y="797"/>
                  </a:lnTo>
                  <a:lnTo>
                    <a:pt x="3315" y="798"/>
                  </a:lnTo>
                  <a:lnTo>
                    <a:pt x="3301" y="799"/>
                  </a:lnTo>
                  <a:lnTo>
                    <a:pt x="3294" y="800"/>
                  </a:lnTo>
                  <a:lnTo>
                    <a:pt x="3287" y="801"/>
                  </a:lnTo>
                  <a:lnTo>
                    <a:pt x="3282" y="803"/>
                  </a:lnTo>
                  <a:lnTo>
                    <a:pt x="3276" y="806"/>
                  </a:lnTo>
                  <a:lnTo>
                    <a:pt x="3272" y="810"/>
                  </a:lnTo>
                  <a:lnTo>
                    <a:pt x="3269" y="815"/>
                  </a:lnTo>
                  <a:lnTo>
                    <a:pt x="3267" y="822"/>
                  </a:lnTo>
                  <a:lnTo>
                    <a:pt x="3266" y="829"/>
                  </a:lnTo>
                  <a:lnTo>
                    <a:pt x="3265" y="842"/>
                  </a:lnTo>
                  <a:lnTo>
                    <a:pt x="3265" y="854"/>
                  </a:lnTo>
                  <a:lnTo>
                    <a:pt x="3266" y="866"/>
                  </a:lnTo>
                  <a:lnTo>
                    <a:pt x="3267" y="878"/>
                  </a:lnTo>
                  <a:lnTo>
                    <a:pt x="3269" y="890"/>
                  </a:lnTo>
                  <a:lnTo>
                    <a:pt x="3271" y="901"/>
                  </a:lnTo>
                  <a:lnTo>
                    <a:pt x="3274" y="912"/>
                  </a:lnTo>
                  <a:lnTo>
                    <a:pt x="3277" y="923"/>
                  </a:lnTo>
                  <a:lnTo>
                    <a:pt x="3282" y="934"/>
                  </a:lnTo>
                  <a:lnTo>
                    <a:pt x="3287" y="945"/>
                  </a:lnTo>
                  <a:lnTo>
                    <a:pt x="3294" y="955"/>
                  </a:lnTo>
                  <a:lnTo>
                    <a:pt x="3300" y="965"/>
                  </a:lnTo>
                  <a:lnTo>
                    <a:pt x="3307" y="974"/>
                  </a:lnTo>
                  <a:lnTo>
                    <a:pt x="3314" y="984"/>
                  </a:lnTo>
                  <a:lnTo>
                    <a:pt x="3323" y="992"/>
                  </a:lnTo>
                  <a:lnTo>
                    <a:pt x="3333" y="1001"/>
                  </a:lnTo>
                  <a:lnTo>
                    <a:pt x="3343" y="1009"/>
                  </a:lnTo>
                  <a:lnTo>
                    <a:pt x="3355" y="1015"/>
                  </a:lnTo>
                  <a:lnTo>
                    <a:pt x="3367" y="1019"/>
                  </a:lnTo>
                  <a:lnTo>
                    <a:pt x="3380" y="1022"/>
                  </a:lnTo>
                  <a:lnTo>
                    <a:pt x="3394" y="1024"/>
                  </a:lnTo>
                  <a:lnTo>
                    <a:pt x="3408" y="1024"/>
                  </a:lnTo>
                  <a:lnTo>
                    <a:pt x="3423" y="1024"/>
                  </a:lnTo>
                  <a:lnTo>
                    <a:pt x="3437" y="1023"/>
                  </a:lnTo>
                  <a:lnTo>
                    <a:pt x="3467" y="1018"/>
                  </a:lnTo>
                  <a:lnTo>
                    <a:pt x="3496" y="1014"/>
                  </a:lnTo>
                  <a:lnTo>
                    <a:pt x="3511" y="1012"/>
                  </a:lnTo>
                  <a:lnTo>
                    <a:pt x="3525" y="1011"/>
                  </a:lnTo>
                  <a:lnTo>
                    <a:pt x="3538" y="1010"/>
                  </a:lnTo>
                  <a:lnTo>
                    <a:pt x="3551" y="1010"/>
                  </a:lnTo>
                  <a:lnTo>
                    <a:pt x="3575" y="1010"/>
                  </a:lnTo>
                  <a:lnTo>
                    <a:pt x="3593" y="1009"/>
                  </a:lnTo>
                  <a:lnTo>
                    <a:pt x="3608" y="1006"/>
                  </a:lnTo>
                  <a:lnTo>
                    <a:pt x="3621" y="1003"/>
                  </a:lnTo>
                  <a:lnTo>
                    <a:pt x="3633" y="999"/>
                  </a:lnTo>
                  <a:lnTo>
                    <a:pt x="3646" y="991"/>
                  </a:lnTo>
                  <a:lnTo>
                    <a:pt x="3662" y="983"/>
                  </a:lnTo>
                  <a:lnTo>
                    <a:pt x="3682" y="972"/>
                  </a:lnTo>
                  <a:lnTo>
                    <a:pt x="3700" y="962"/>
                  </a:lnTo>
                  <a:lnTo>
                    <a:pt x="3718" y="954"/>
                  </a:lnTo>
                  <a:lnTo>
                    <a:pt x="3734" y="947"/>
                  </a:lnTo>
                  <a:lnTo>
                    <a:pt x="3752" y="941"/>
                  </a:lnTo>
                  <a:lnTo>
                    <a:pt x="3768" y="935"/>
                  </a:lnTo>
                  <a:lnTo>
                    <a:pt x="3784" y="931"/>
                  </a:lnTo>
                  <a:lnTo>
                    <a:pt x="3800" y="928"/>
                  </a:lnTo>
                  <a:lnTo>
                    <a:pt x="3817" y="925"/>
                  </a:lnTo>
                  <a:lnTo>
                    <a:pt x="3833" y="924"/>
                  </a:lnTo>
                  <a:lnTo>
                    <a:pt x="3849" y="924"/>
                  </a:lnTo>
                  <a:lnTo>
                    <a:pt x="3865" y="924"/>
                  </a:lnTo>
                  <a:lnTo>
                    <a:pt x="3882" y="925"/>
                  </a:lnTo>
                  <a:lnTo>
                    <a:pt x="3900" y="929"/>
                  </a:lnTo>
                  <a:lnTo>
                    <a:pt x="3918" y="931"/>
                  </a:lnTo>
                  <a:lnTo>
                    <a:pt x="3938" y="935"/>
                  </a:lnTo>
                  <a:lnTo>
                    <a:pt x="3957" y="939"/>
                  </a:lnTo>
                  <a:lnTo>
                    <a:pt x="3956" y="943"/>
                  </a:lnTo>
                  <a:lnTo>
                    <a:pt x="3953" y="946"/>
                  </a:lnTo>
                  <a:lnTo>
                    <a:pt x="3947" y="948"/>
                  </a:lnTo>
                  <a:lnTo>
                    <a:pt x="3941" y="950"/>
                  </a:lnTo>
                  <a:lnTo>
                    <a:pt x="3925" y="955"/>
                  </a:lnTo>
                  <a:lnTo>
                    <a:pt x="3905" y="957"/>
                  </a:lnTo>
                  <a:lnTo>
                    <a:pt x="3866" y="961"/>
                  </a:lnTo>
                  <a:lnTo>
                    <a:pt x="3841" y="963"/>
                  </a:lnTo>
                  <a:lnTo>
                    <a:pt x="3805" y="968"/>
                  </a:lnTo>
                  <a:lnTo>
                    <a:pt x="3778" y="973"/>
                  </a:lnTo>
                  <a:lnTo>
                    <a:pt x="3767" y="976"/>
                  </a:lnTo>
                  <a:lnTo>
                    <a:pt x="3757" y="979"/>
                  </a:lnTo>
                  <a:lnTo>
                    <a:pt x="3750" y="984"/>
                  </a:lnTo>
                  <a:lnTo>
                    <a:pt x="3742" y="989"/>
                  </a:lnTo>
                  <a:lnTo>
                    <a:pt x="3736" y="996"/>
                  </a:lnTo>
                  <a:lnTo>
                    <a:pt x="3730" y="1002"/>
                  </a:lnTo>
                  <a:lnTo>
                    <a:pt x="3726" y="1011"/>
                  </a:lnTo>
                  <a:lnTo>
                    <a:pt x="3720" y="1020"/>
                  </a:lnTo>
                  <a:lnTo>
                    <a:pt x="3710" y="1044"/>
                  </a:lnTo>
                  <a:lnTo>
                    <a:pt x="3697" y="1074"/>
                  </a:lnTo>
                  <a:lnTo>
                    <a:pt x="3684" y="1098"/>
                  </a:lnTo>
                  <a:lnTo>
                    <a:pt x="3667" y="1128"/>
                  </a:lnTo>
                  <a:lnTo>
                    <a:pt x="3661" y="1144"/>
                  </a:lnTo>
                  <a:lnTo>
                    <a:pt x="3657" y="1158"/>
                  </a:lnTo>
                  <a:lnTo>
                    <a:pt x="3656" y="1164"/>
                  </a:lnTo>
                  <a:lnTo>
                    <a:pt x="3656" y="1171"/>
                  </a:lnTo>
                  <a:lnTo>
                    <a:pt x="3657" y="1176"/>
                  </a:lnTo>
                  <a:lnTo>
                    <a:pt x="3659" y="1180"/>
                  </a:lnTo>
                  <a:lnTo>
                    <a:pt x="3667" y="1179"/>
                  </a:lnTo>
                  <a:lnTo>
                    <a:pt x="3689" y="1177"/>
                  </a:lnTo>
                  <a:lnTo>
                    <a:pt x="3702" y="1177"/>
                  </a:lnTo>
                  <a:lnTo>
                    <a:pt x="3715" y="1177"/>
                  </a:lnTo>
                  <a:lnTo>
                    <a:pt x="3727" y="1178"/>
                  </a:lnTo>
                  <a:lnTo>
                    <a:pt x="3737" y="1181"/>
                  </a:lnTo>
                  <a:lnTo>
                    <a:pt x="3741" y="1184"/>
                  </a:lnTo>
                  <a:lnTo>
                    <a:pt x="3743" y="1188"/>
                  </a:lnTo>
                  <a:lnTo>
                    <a:pt x="3744" y="1192"/>
                  </a:lnTo>
                  <a:lnTo>
                    <a:pt x="3743" y="1197"/>
                  </a:lnTo>
                  <a:lnTo>
                    <a:pt x="3738" y="1209"/>
                  </a:lnTo>
                  <a:lnTo>
                    <a:pt x="3730" y="1224"/>
                  </a:lnTo>
                  <a:lnTo>
                    <a:pt x="3727" y="1231"/>
                  </a:lnTo>
                  <a:lnTo>
                    <a:pt x="3724" y="1240"/>
                  </a:lnTo>
                  <a:lnTo>
                    <a:pt x="3720" y="1248"/>
                  </a:lnTo>
                  <a:lnTo>
                    <a:pt x="3718" y="1257"/>
                  </a:lnTo>
                  <a:lnTo>
                    <a:pt x="3718" y="1267"/>
                  </a:lnTo>
                  <a:lnTo>
                    <a:pt x="3719" y="1275"/>
                  </a:lnTo>
                  <a:lnTo>
                    <a:pt x="3723" y="1285"/>
                  </a:lnTo>
                  <a:lnTo>
                    <a:pt x="3727" y="1294"/>
                  </a:lnTo>
                  <a:lnTo>
                    <a:pt x="3737" y="1308"/>
                  </a:lnTo>
                  <a:lnTo>
                    <a:pt x="3746" y="1317"/>
                  </a:lnTo>
                  <a:lnTo>
                    <a:pt x="3755" y="1325"/>
                  </a:lnTo>
                  <a:lnTo>
                    <a:pt x="3765" y="1329"/>
                  </a:lnTo>
                  <a:lnTo>
                    <a:pt x="3773" y="1332"/>
                  </a:lnTo>
                  <a:lnTo>
                    <a:pt x="3782" y="1333"/>
                  </a:lnTo>
                  <a:lnTo>
                    <a:pt x="3790" y="1330"/>
                  </a:lnTo>
                  <a:lnTo>
                    <a:pt x="3798" y="1327"/>
                  </a:lnTo>
                  <a:lnTo>
                    <a:pt x="3807" y="1323"/>
                  </a:lnTo>
                  <a:lnTo>
                    <a:pt x="3815" y="1316"/>
                  </a:lnTo>
                  <a:lnTo>
                    <a:pt x="3824" y="1310"/>
                  </a:lnTo>
                  <a:lnTo>
                    <a:pt x="3833" y="1302"/>
                  </a:lnTo>
                  <a:lnTo>
                    <a:pt x="3851" y="1286"/>
                  </a:lnTo>
                  <a:lnTo>
                    <a:pt x="3872" y="1270"/>
                  </a:lnTo>
                  <a:lnTo>
                    <a:pt x="3876" y="1270"/>
                  </a:lnTo>
                  <a:lnTo>
                    <a:pt x="3881" y="1269"/>
                  </a:lnTo>
                  <a:lnTo>
                    <a:pt x="3886" y="1268"/>
                  </a:lnTo>
                  <a:lnTo>
                    <a:pt x="3890" y="1266"/>
                  </a:lnTo>
                  <a:lnTo>
                    <a:pt x="3900" y="1260"/>
                  </a:lnTo>
                  <a:lnTo>
                    <a:pt x="3911" y="1255"/>
                  </a:lnTo>
                  <a:lnTo>
                    <a:pt x="3920" y="1248"/>
                  </a:lnTo>
                  <a:lnTo>
                    <a:pt x="3930" y="1243"/>
                  </a:lnTo>
                  <a:lnTo>
                    <a:pt x="3940" y="1239"/>
                  </a:lnTo>
                  <a:lnTo>
                    <a:pt x="3949" y="1236"/>
                  </a:lnTo>
                  <a:lnTo>
                    <a:pt x="3965" y="1236"/>
                  </a:lnTo>
                  <a:lnTo>
                    <a:pt x="3979" y="1235"/>
                  </a:lnTo>
                  <a:lnTo>
                    <a:pt x="3993" y="1234"/>
                  </a:lnTo>
                  <a:lnTo>
                    <a:pt x="4009" y="1232"/>
                  </a:lnTo>
                  <a:lnTo>
                    <a:pt x="4020" y="1230"/>
                  </a:lnTo>
                  <a:lnTo>
                    <a:pt x="4027" y="1230"/>
                  </a:lnTo>
                  <a:lnTo>
                    <a:pt x="4032" y="1231"/>
                  </a:lnTo>
                  <a:lnTo>
                    <a:pt x="4035" y="1233"/>
                  </a:lnTo>
                  <a:lnTo>
                    <a:pt x="4036" y="1236"/>
                  </a:lnTo>
                  <a:lnTo>
                    <a:pt x="4036" y="1241"/>
                  </a:lnTo>
                  <a:lnTo>
                    <a:pt x="4034" y="1245"/>
                  </a:lnTo>
                  <a:lnTo>
                    <a:pt x="4032" y="1251"/>
                  </a:lnTo>
                  <a:lnTo>
                    <a:pt x="4014" y="1274"/>
                  </a:lnTo>
                  <a:lnTo>
                    <a:pt x="4000" y="1294"/>
                  </a:lnTo>
                  <a:lnTo>
                    <a:pt x="3995" y="1305"/>
                  </a:lnTo>
                  <a:lnTo>
                    <a:pt x="3988" y="1314"/>
                  </a:lnTo>
                  <a:lnTo>
                    <a:pt x="3982" y="1323"/>
                  </a:lnTo>
                  <a:lnTo>
                    <a:pt x="3975" y="1332"/>
                  </a:lnTo>
                  <a:lnTo>
                    <a:pt x="3969" y="1339"/>
                  </a:lnTo>
                  <a:lnTo>
                    <a:pt x="3961" y="1346"/>
                  </a:lnTo>
                  <a:lnTo>
                    <a:pt x="3954" y="1351"/>
                  </a:lnTo>
                  <a:lnTo>
                    <a:pt x="3946" y="1357"/>
                  </a:lnTo>
                  <a:lnTo>
                    <a:pt x="3930" y="1367"/>
                  </a:lnTo>
                  <a:lnTo>
                    <a:pt x="3912" y="1376"/>
                  </a:lnTo>
                  <a:lnTo>
                    <a:pt x="3891" y="1384"/>
                  </a:lnTo>
                  <a:lnTo>
                    <a:pt x="3869" y="1392"/>
                  </a:lnTo>
                  <a:lnTo>
                    <a:pt x="3855" y="1397"/>
                  </a:lnTo>
                  <a:lnTo>
                    <a:pt x="3842" y="1402"/>
                  </a:lnTo>
                  <a:lnTo>
                    <a:pt x="3831" y="1404"/>
                  </a:lnTo>
                  <a:lnTo>
                    <a:pt x="3820" y="1405"/>
                  </a:lnTo>
                  <a:lnTo>
                    <a:pt x="3808" y="1405"/>
                  </a:lnTo>
                  <a:lnTo>
                    <a:pt x="3797" y="1403"/>
                  </a:lnTo>
                  <a:lnTo>
                    <a:pt x="3784" y="1400"/>
                  </a:lnTo>
                  <a:lnTo>
                    <a:pt x="3770" y="1394"/>
                  </a:lnTo>
                  <a:lnTo>
                    <a:pt x="3756" y="1390"/>
                  </a:lnTo>
                  <a:lnTo>
                    <a:pt x="3743" y="1387"/>
                  </a:lnTo>
                  <a:lnTo>
                    <a:pt x="3729" y="1384"/>
                  </a:lnTo>
                  <a:lnTo>
                    <a:pt x="3716" y="1383"/>
                  </a:lnTo>
                  <a:lnTo>
                    <a:pt x="3702" y="1383"/>
                  </a:lnTo>
                  <a:lnTo>
                    <a:pt x="3688" y="1384"/>
                  </a:lnTo>
                  <a:lnTo>
                    <a:pt x="3674" y="1386"/>
                  </a:lnTo>
                  <a:lnTo>
                    <a:pt x="3660" y="1388"/>
                  </a:lnTo>
                  <a:lnTo>
                    <a:pt x="3652" y="1392"/>
                  </a:lnTo>
                  <a:lnTo>
                    <a:pt x="3645" y="1397"/>
                  </a:lnTo>
                  <a:lnTo>
                    <a:pt x="3638" y="1402"/>
                  </a:lnTo>
                  <a:lnTo>
                    <a:pt x="3632" y="1408"/>
                  </a:lnTo>
                  <a:lnTo>
                    <a:pt x="3625" y="1414"/>
                  </a:lnTo>
                  <a:lnTo>
                    <a:pt x="3620" y="1420"/>
                  </a:lnTo>
                  <a:lnTo>
                    <a:pt x="3616" y="1427"/>
                  </a:lnTo>
                  <a:lnTo>
                    <a:pt x="3612" y="1433"/>
                  </a:lnTo>
                  <a:lnTo>
                    <a:pt x="3610" y="1441"/>
                  </a:lnTo>
                  <a:lnTo>
                    <a:pt x="3608" y="1448"/>
                  </a:lnTo>
                  <a:lnTo>
                    <a:pt x="3608" y="1456"/>
                  </a:lnTo>
                  <a:lnTo>
                    <a:pt x="3609" y="1463"/>
                  </a:lnTo>
                  <a:lnTo>
                    <a:pt x="3611" y="1472"/>
                  </a:lnTo>
                  <a:lnTo>
                    <a:pt x="3615" y="1481"/>
                  </a:lnTo>
                  <a:lnTo>
                    <a:pt x="3619" y="1488"/>
                  </a:lnTo>
                  <a:lnTo>
                    <a:pt x="3625" y="1497"/>
                  </a:lnTo>
                  <a:lnTo>
                    <a:pt x="3634" y="1506"/>
                  </a:lnTo>
                  <a:lnTo>
                    <a:pt x="3643" y="1514"/>
                  </a:lnTo>
                  <a:lnTo>
                    <a:pt x="3651" y="1519"/>
                  </a:lnTo>
                  <a:lnTo>
                    <a:pt x="3659" y="1525"/>
                  </a:lnTo>
                  <a:lnTo>
                    <a:pt x="3665" y="1530"/>
                  </a:lnTo>
                  <a:lnTo>
                    <a:pt x="3672" y="1539"/>
                  </a:lnTo>
                  <a:lnTo>
                    <a:pt x="3674" y="1544"/>
                  </a:lnTo>
                  <a:lnTo>
                    <a:pt x="3677" y="1550"/>
                  </a:lnTo>
                  <a:lnTo>
                    <a:pt x="3679" y="1557"/>
                  </a:lnTo>
                  <a:lnTo>
                    <a:pt x="3682" y="1566"/>
                  </a:lnTo>
                  <a:lnTo>
                    <a:pt x="3684" y="1576"/>
                  </a:lnTo>
                  <a:lnTo>
                    <a:pt x="3687" y="1584"/>
                  </a:lnTo>
                  <a:lnTo>
                    <a:pt x="3691" y="1592"/>
                  </a:lnTo>
                  <a:lnTo>
                    <a:pt x="3696" y="1598"/>
                  </a:lnTo>
                  <a:lnTo>
                    <a:pt x="3700" y="1604"/>
                  </a:lnTo>
                  <a:lnTo>
                    <a:pt x="3706" y="1608"/>
                  </a:lnTo>
                  <a:lnTo>
                    <a:pt x="3712" y="1612"/>
                  </a:lnTo>
                  <a:lnTo>
                    <a:pt x="3718" y="1614"/>
                  </a:lnTo>
                  <a:lnTo>
                    <a:pt x="3725" y="1617"/>
                  </a:lnTo>
                  <a:lnTo>
                    <a:pt x="3732" y="1617"/>
                  </a:lnTo>
                  <a:lnTo>
                    <a:pt x="3739" y="1617"/>
                  </a:lnTo>
                  <a:lnTo>
                    <a:pt x="3746" y="1616"/>
                  </a:lnTo>
                  <a:lnTo>
                    <a:pt x="3755" y="1613"/>
                  </a:lnTo>
                  <a:lnTo>
                    <a:pt x="3763" y="1610"/>
                  </a:lnTo>
                  <a:lnTo>
                    <a:pt x="3770" y="1607"/>
                  </a:lnTo>
                  <a:lnTo>
                    <a:pt x="3779" y="1602"/>
                  </a:lnTo>
                  <a:lnTo>
                    <a:pt x="3794" y="1593"/>
                  </a:lnTo>
                  <a:lnTo>
                    <a:pt x="3807" y="1586"/>
                  </a:lnTo>
                  <a:lnTo>
                    <a:pt x="3818" y="1582"/>
                  </a:lnTo>
                  <a:lnTo>
                    <a:pt x="3827" y="1580"/>
                  </a:lnTo>
                  <a:lnTo>
                    <a:pt x="3849" y="1579"/>
                  </a:lnTo>
                  <a:lnTo>
                    <a:pt x="3879" y="1580"/>
                  </a:lnTo>
                  <a:lnTo>
                    <a:pt x="3880" y="1580"/>
                  </a:lnTo>
                  <a:lnTo>
                    <a:pt x="3881" y="1581"/>
                  </a:lnTo>
                  <a:lnTo>
                    <a:pt x="3878" y="1589"/>
                  </a:lnTo>
                  <a:lnTo>
                    <a:pt x="3873" y="1596"/>
                  </a:lnTo>
                  <a:lnTo>
                    <a:pt x="3866" y="1602"/>
                  </a:lnTo>
                  <a:lnTo>
                    <a:pt x="3858" y="1608"/>
                  </a:lnTo>
                  <a:lnTo>
                    <a:pt x="3849" y="1613"/>
                  </a:lnTo>
                  <a:lnTo>
                    <a:pt x="3838" y="1618"/>
                  </a:lnTo>
                  <a:lnTo>
                    <a:pt x="3826" y="1622"/>
                  </a:lnTo>
                  <a:lnTo>
                    <a:pt x="3815" y="1626"/>
                  </a:lnTo>
                  <a:lnTo>
                    <a:pt x="3767" y="1639"/>
                  </a:lnTo>
                  <a:lnTo>
                    <a:pt x="3729" y="1649"/>
                  </a:lnTo>
                  <a:lnTo>
                    <a:pt x="3723" y="1653"/>
                  </a:lnTo>
                  <a:lnTo>
                    <a:pt x="3716" y="1658"/>
                  </a:lnTo>
                  <a:lnTo>
                    <a:pt x="3712" y="1663"/>
                  </a:lnTo>
                  <a:lnTo>
                    <a:pt x="3707" y="1670"/>
                  </a:lnTo>
                  <a:lnTo>
                    <a:pt x="3704" y="1677"/>
                  </a:lnTo>
                  <a:lnTo>
                    <a:pt x="3702" y="1685"/>
                  </a:lnTo>
                  <a:lnTo>
                    <a:pt x="3701" y="1692"/>
                  </a:lnTo>
                  <a:lnTo>
                    <a:pt x="3700" y="1701"/>
                  </a:lnTo>
                  <a:lnTo>
                    <a:pt x="3701" y="1735"/>
                  </a:lnTo>
                  <a:lnTo>
                    <a:pt x="3703" y="1766"/>
                  </a:lnTo>
                  <a:lnTo>
                    <a:pt x="3704" y="1772"/>
                  </a:lnTo>
                  <a:lnTo>
                    <a:pt x="3706" y="1775"/>
                  </a:lnTo>
                  <a:lnTo>
                    <a:pt x="3710" y="1779"/>
                  </a:lnTo>
                  <a:lnTo>
                    <a:pt x="3714" y="1780"/>
                  </a:lnTo>
                  <a:lnTo>
                    <a:pt x="3718" y="1780"/>
                  </a:lnTo>
                  <a:lnTo>
                    <a:pt x="3724" y="1778"/>
                  </a:lnTo>
                  <a:lnTo>
                    <a:pt x="3729" y="1775"/>
                  </a:lnTo>
                  <a:lnTo>
                    <a:pt x="3736" y="1773"/>
                  </a:lnTo>
                  <a:lnTo>
                    <a:pt x="3748" y="1766"/>
                  </a:lnTo>
                  <a:lnTo>
                    <a:pt x="3760" y="1759"/>
                  </a:lnTo>
                  <a:lnTo>
                    <a:pt x="3767" y="1757"/>
                  </a:lnTo>
                  <a:lnTo>
                    <a:pt x="3772" y="1755"/>
                  </a:lnTo>
                  <a:lnTo>
                    <a:pt x="3777" y="1753"/>
                  </a:lnTo>
                  <a:lnTo>
                    <a:pt x="3781" y="1753"/>
                  </a:lnTo>
                  <a:lnTo>
                    <a:pt x="3782" y="1754"/>
                  </a:lnTo>
                  <a:lnTo>
                    <a:pt x="3782" y="1756"/>
                  </a:lnTo>
                  <a:lnTo>
                    <a:pt x="3781" y="1759"/>
                  </a:lnTo>
                  <a:lnTo>
                    <a:pt x="3780" y="1764"/>
                  </a:lnTo>
                  <a:lnTo>
                    <a:pt x="3777" y="1771"/>
                  </a:lnTo>
                  <a:lnTo>
                    <a:pt x="3774" y="1775"/>
                  </a:lnTo>
                  <a:lnTo>
                    <a:pt x="3765" y="1805"/>
                  </a:lnTo>
                  <a:lnTo>
                    <a:pt x="3754" y="1832"/>
                  </a:lnTo>
                  <a:lnTo>
                    <a:pt x="3747" y="1845"/>
                  </a:lnTo>
                  <a:lnTo>
                    <a:pt x="3740" y="1857"/>
                  </a:lnTo>
                  <a:lnTo>
                    <a:pt x="3731" y="1870"/>
                  </a:lnTo>
                  <a:lnTo>
                    <a:pt x="3720" y="1883"/>
                  </a:lnTo>
                  <a:lnTo>
                    <a:pt x="3697" y="1906"/>
                  </a:lnTo>
                  <a:lnTo>
                    <a:pt x="3675" y="1931"/>
                  </a:lnTo>
                  <a:lnTo>
                    <a:pt x="3671" y="1936"/>
                  </a:lnTo>
                  <a:lnTo>
                    <a:pt x="3669" y="1943"/>
                  </a:lnTo>
                  <a:lnTo>
                    <a:pt x="3667" y="1949"/>
                  </a:lnTo>
                  <a:lnTo>
                    <a:pt x="3667" y="1956"/>
                  </a:lnTo>
                  <a:lnTo>
                    <a:pt x="3670" y="1962"/>
                  </a:lnTo>
                  <a:lnTo>
                    <a:pt x="3673" y="1969"/>
                  </a:lnTo>
                  <a:lnTo>
                    <a:pt x="3679" y="1975"/>
                  </a:lnTo>
                  <a:lnTo>
                    <a:pt x="3687" y="1983"/>
                  </a:lnTo>
                  <a:lnTo>
                    <a:pt x="3694" y="1986"/>
                  </a:lnTo>
                  <a:lnTo>
                    <a:pt x="3702" y="1989"/>
                  </a:lnTo>
                  <a:lnTo>
                    <a:pt x="3709" y="1995"/>
                  </a:lnTo>
                  <a:lnTo>
                    <a:pt x="3716" y="2000"/>
                  </a:lnTo>
                  <a:lnTo>
                    <a:pt x="3723" y="2007"/>
                  </a:lnTo>
                  <a:lnTo>
                    <a:pt x="3729" y="2013"/>
                  </a:lnTo>
                  <a:lnTo>
                    <a:pt x="3734" y="2021"/>
                  </a:lnTo>
                  <a:lnTo>
                    <a:pt x="3739" y="2028"/>
                  </a:lnTo>
                  <a:lnTo>
                    <a:pt x="3743" y="2036"/>
                  </a:lnTo>
                  <a:lnTo>
                    <a:pt x="3746" y="2044"/>
                  </a:lnTo>
                  <a:lnTo>
                    <a:pt x="3748" y="2052"/>
                  </a:lnTo>
                  <a:lnTo>
                    <a:pt x="3751" y="2061"/>
                  </a:lnTo>
                  <a:lnTo>
                    <a:pt x="3751" y="2068"/>
                  </a:lnTo>
                  <a:lnTo>
                    <a:pt x="3750" y="2076"/>
                  </a:lnTo>
                  <a:lnTo>
                    <a:pt x="3746" y="2083"/>
                  </a:lnTo>
                  <a:lnTo>
                    <a:pt x="3743" y="2091"/>
                  </a:lnTo>
                  <a:lnTo>
                    <a:pt x="3725" y="2115"/>
                  </a:lnTo>
                  <a:lnTo>
                    <a:pt x="3710" y="2138"/>
                  </a:lnTo>
                  <a:lnTo>
                    <a:pt x="3706" y="2145"/>
                  </a:lnTo>
                  <a:lnTo>
                    <a:pt x="3704" y="2150"/>
                  </a:lnTo>
                  <a:lnTo>
                    <a:pt x="3702" y="2158"/>
                  </a:lnTo>
                  <a:lnTo>
                    <a:pt x="3701" y="2164"/>
                  </a:lnTo>
                  <a:lnTo>
                    <a:pt x="3700" y="2172"/>
                  </a:lnTo>
                  <a:lnTo>
                    <a:pt x="3700" y="2179"/>
                  </a:lnTo>
                  <a:lnTo>
                    <a:pt x="3701" y="2188"/>
                  </a:lnTo>
                  <a:lnTo>
                    <a:pt x="3703" y="2197"/>
                  </a:lnTo>
                  <a:lnTo>
                    <a:pt x="3707" y="2208"/>
                  </a:lnTo>
                  <a:lnTo>
                    <a:pt x="3713" y="2220"/>
                  </a:lnTo>
                  <a:lnTo>
                    <a:pt x="3718" y="2230"/>
                  </a:lnTo>
                  <a:lnTo>
                    <a:pt x="3725" y="2239"/>
                  </a:lnTo>
                  <a:lnTo>
                    <a:pt x="3732" y="2247"/>
                  </a:lnTo>
                  <a:lnTo>
                    <a:pt x="3740" y="2255"/>
                  </a:lnTo>
                  <a:lnTo>
                    <a:pt x="3748" y="2262"/>
                  </a:lnTo>
                  <a:lnTo>
                    <a:pt x="3757" y="2269"/>
                  </a:lnTo>
                  <a:lnTo>
                    <a:pt x="3796" y="2294"/>
                  </a:lnTo>
                  <a:lnTo>
                    <a:pt x="3836" y="2322"/>
                  </a:lnTo>
                  <a:lnTo>
                    <a:pt x="3845" y="2331"/>
                  </a:lnTo>
                  <a:lnTo>
                    <a:pt x="3849" y="2336"/>
                  </a:lnTo>
                  <a:lnTo>
                    <a:pt x="3849" y="2338"/>
                  </a:lnTo>
                  <a:lnTo>
                    <a:pt x="3849" y="2340"/>
                  </a:lnTo>
                  <a:lnTo>
                    <a:pt x="3848" y="2341"/>
                  </a:lnTo>
                  <a:lnTo>
                    <a:pt x="3847" y="2342"/>
                  </a:lnTo>
                  <a:lnTo>
                    <a:pt x="3841" y="2343"/>
                  </a:lnTo>
                  <a:lnTo>
                    <a:pt x="3834" y="2342"/>
                  </a:lnTo>
                  <a:lnTo>
                    <a:pt x="3824" y="2341"/>
                  </a:lnTo>
                  <a:lnTo>
                    <a:pt x="3814" y="2339"/>
                  </a:lnTo>
                  <a:lnTo>
                    <a:pt x="3792" y="2334"/>
                  </a:lnTo>
                  <a:lnTo>
                    <a:pt x="3769" y="2327"/>
                  </a:lnTo>
                  <a:lnTo>
                    <a:pt x="3752" y="2323"/>
                  </a:lnTo>
                  <a:lnTo>
                    <a:pt x="3743" y="2321"/>
                  </a:lnTo>
                  <a:lnTo>
                    <a:pt x="3727" y="2321"/>
                  </a:lnTo>
                  <a:lnTo>
                    <a:pt x="3712" y="2322"/>
                  </a:lnTo>
                  <a:lnTo>
                    <a:pt x="3698" y="2324"/>
                  </a:lnTo>
                  <a:lnTo>
                    <a:pt x="3685" y="2327"/>
                  </a:lnTo>
                  <a:lnTo>
                    <a:pt x="3672" y="2332"/>
                  </a:lnTo>
                  <a:lnTo>
                    <a:pt x="3660" y="2338"/>
                  </a:lnTo>
                  <a:lnTo>
                    <a:pt x="3647" y="2347"/>
                  </a:lnTo>
                  <a:lnTo>
                    <a:pt x="3635" y="2358"/>
                  </a:lnTo>
                  <a:lnTo>
                    <a:pt x="3632" y="2363"/>
                  </a:lnTo>
                  <a:lnTo>
                    <a:pt x="3629" y="2369"/>
                  </a:lnTo>
                  <a:lnTo>
                    <a:pt x="3625" y="2378"/>
                  </a:lnTo>
                  <a:lnTo>
                    <a:pt x="3622" y="2387"/>
                  </a:lnTo>
                  <a:lnTo>
                    <a:pt x="3619" y="2394"/>
                  </a:lnTo>
                  <a:lnTo>
                    <a:pt x="3616" y="2401"/>
                  </a:lnTo>
                  <a:lnTo>
                    <a:pt x="3613" y="2403"/>
                  </a:lnTo>
                  <a:lnTo>
                    <a:pt x="3611" y="2404"/>
                  </a:lnTo>
                  <a:lnTo>
                    <a:pt x="3609" y="2405"/>
                  </a:lnTo>
                  <a:lnTo>
                    <a:pt x="3606" y="2405"/>
                  </a:lnTo>
                  <a:lnTo>
                    <a:pt x="3588" y="2400"/>
                  </a:lnTo>
                  <a:lnTo>
                    <a:pt x="3568" y="2394"/>
                  </a:lnTo>
                  <a:lnTo>
                    <a:pt x="3550" y="2391"/>
                  </a:lnTo>
                  <a:lnTo>
                    <a:pt x="3531" y="2388"/>
                  </a:lnTo>
                  <a:lnTo>
                    <a:pt x="3513" y="2387"/>
                  </a:lnTo>
                  <a:lnTo>
                    <a:pt x="3496" y="2387"/>
                  </a:lnTo>
                  <a:lnTo>
                    <a:pt x="3479" y="2388"/>
                  </a:lnTo>
                  <a:lnTo>
                    <a:pt x="3464" y="2391"/>
                  </a:lnTo>
                  <a:lnTo>
                    <a:pt x="3458" y="2393"/>
                  </a:lnTo>
                  <a:lnTo>
                    <a:pt x="3450" y="2396"/>
                  </a:lnTo>
                  <a:lnTo>
                    <a:pt x="3444" y="2400"/>
                  </a:lnTo>
                  <a:lnTo>
                    <a:pt x="3438" y="2403"/>
                  </a:lnTo>
                  <a:lnTo>
                    <a:pt x="3432" y="2408"/>
                  </a:lnTo>
                  <a:lnTo>
                    <a:pt x="3427" y="2414"/>
                  </a:lnTo>
                  <a:lnTo>
                    <a:pt x="3422" y="2419"/>
                  </a:lnTo>
                  <a:lnTo>
                    <a:pt x="3417" y="2426"/>
                  </a:lnTo>
                  <a:lnTo>
                    <a:pt x="3414" y="2433"/>
                  </a:lnTo>
                  <a:lnTo>
                    <a:pt x="3409" y="2441"/>
                  </a:lnTo>
                  <a:lnTo>
                    <a:pt x="3406" y="2449"/>
                  </a:lnTo>
                  <a:lnTo>
                    <a:pt x="3404" y="2459"/>
                  </a:lnTo>
                  <a:lnTo>
                    <a:pt x="3402" y="2470"/>
                  </a:lnTo>
                  <a:lnTo>
                    <a:pt x="3401" y="2481"/>
                  </a:lnTo>
                  <a:lnTo>
                    <a:pt x="3400" y="2493"/>
                  </a:lnTo>
                  <a:lnTo>
                    <a:pt x="3400" y="2505"/>
                  </a:lnTo>
                  <a:lnTo>
                    <a:pt x="3406" y="2518"/>
                  </a:lnTo>
                  <a:lnTo>
                    <a:pt x="3411" y="2529"/>
                  </a:lnTo>
                  <a:lnTo>
                    <a:pt x="3417" y="2538"/>
                  </a:lnTo>
                  <a:lnTo>
                    <a:pt x="3422" y="2545"/>
                  </a:lnTo>
                  <a:lnTo>
                    <a:pt x="3428" y="2551"/>
                  </a:lnTo>
                  <a:lnTo>
                    <a:pt x="3432" y="2555"/>
                  </a:lnTo>
                  <a:lnTo>
                    <a:pt x="3437" y="2557"/>
                  </a:lnTo>
                  <a:lnTo>
                    <a:pt x="3443" y="2561"/>
                  </a:lnTo>
                  <a:lnTo>
                    <a:pt x="3470" y="2566"/>
                  </a:lnTo>
                  <a:lnTo>
                    <a:pt x="3511" y="2578"/>
                  </a:lnTo>
                  <a:lnTo>
                    <a:pt x="3525" y="2583"/>
                  </a:lnTo>
                  <a:lnTo>
                    <a:pt x="3537" y="2591"/>
                  </a:lnTo>
                  <a:lnTo>
                    <a:pt x="3548" y="2598"/>
                  </a:lnTo>
                  <a:lnTo>
                    <a:pt x="3557" y="2607"/>
                  </a:lnTo>
                  <a:lnTo>
                    <a:pt x="3578" y="2624"/>
                  </a:lnTo>
                  <a:lnTo>
                    <a:pt x="3599" y="2640"/>
                  </a:lnTo>
                  <a:lnTo>
                    <a:pt x="3615" y="2648"/>
                  </a:lnTo>
                  <a:lnTo>
                    <a:pt x="3633" y="2658"/>
                  </a:lnTo>
                  <a:lnTo>
                    <a:pt x="3637" y="2660"/>
                  </a:lnTo>
                  <a:lnTo>
                    <a:pt x="3640" y="2663"/>
                  </a:lnTo>
                  <a:lnTo>
                    <a:pt x="3643" y="2666"/>
                  </a:lnTo>
                  <a:lnTo>
                    <a:pt x="3645" y="2670"/>
                  </a:lnTo>
                  <a:lnTo>
                    <a:pt x="3646" y="2673"/>
                  </a:lnTo>
                  <a:lnTo>
                    <a:pt x="3646" y="2677"/>
                  </a:lnTo>
                  <a:lnTo>
                    <a:pt x="3644" y="2680"/>
                  </a:lnTo>
                  <a:lnTo>
                    <a:pt x="3640" y="2684"/>
                  </a:lnTo>
                  <a:lnTo>
                    <a:pt x="3634" y="2690"/>
                  </a:lnTo>
                  <a:lnTo>
                    <a:pt x="3630" y="2698"/>
                  </a:lnTo>
                  <a:lnTo>
                    <a:pt x="3624" y="2704"/>
                  </a:lnTo>
                  <a:lnTo>
                    <a:pt x="3621" y="2712"/>
                  </a:lnTo>
                  <a:lnTo>
                    <a:pt x="3613" y="2727"/>
                  </a:lnTo>
                  <a:lnTo>
                    <a:pt x="3607" y="2740"/>
                  </a:lnTo>
                  <a:lnTo>
                    <a:pt x="3603" y="2746"/>
                  </a:lnTo>
                  <a:lnTo>
                    <a:pt x="3598" y="2752"/>
                  </a:lnTo>
                  <a:lnTo>
                    <a:pt x="3594" y="2756"/>
                  </a:lnTo>
                  <a:lnTo>
                    <a:pt x="3588" y="2759"/>
                  </a:lnTo>
                  <a:lnTo>
                    <a:pt x="3581" y="2761"/>
                  </a:lnTo>
                  <a:lnTo>
                    <a:pt x="3573" y="2763"/>
                  </a:lnTo>
                  <a:lnTo>
                    <a:pt x="3565" y="2763"/>
                  </a:lnTo>
                  <a:lnTo>
                    <a:pt x="3554" y="2760"/>
                  </a:lnTo>
                  <a:lnTo>
                    <a:pt x="3538" y="2755"/>
                  </a:lnTo>
                  <a:lnTo>
                    <a:pt x="3523" y="2748"/>
                  </a:lnTo>
                  <a:lnTo>
                    <a:pt x="3510" y="2742"/>
                  </a:lnTo>
                  <a:lnTo>
                    <a:pt x="3497" y="2737"/>
                  </a:lnTo>
                  <a:lnTo>
                    <a:pt x="3484" y="2731"/>
                  </a:lnTo>
                  <a:lnTo>
                    <a:pt x="3470" y="2727"/>
                  </a:lnTo>
                  <a:lnTo>
                    <a:pt x="3452" y="2724"/>
                  </a:lnTo>
                  <a:lnTo>
                    <a:pt x="3433" y="2721"/>
                  </a:lnTo>
                  <a:lnTo>
                    <a:pt x="3425" y="2721"/>
                  </a:lnTo>
                  <a:lnTo>
                    <a:pt x="3418" y="2720"/>
                  </a:lnTo>
                  <a:lnTo>
                    <a:pt x="3411" y="2718"/>
                  </a:lnTo>
                  <a:lnTo>
                    <a:pt x="3405" y="2716"/>
                  </a:lnTo>
                  <a:lnTo>
                    <a:pt x="3393" y="2710"/>
                  </a:lnTo>
                  <a:lnTo>
                    <a:pt x="3383" y="2702"/>
                  </a:lnTo>
                  <a:lnTo>
                    <a:pt x="3373" y="2694"/>
                  </a:lnTo>
                  <a:lnTo>
                    <a:pt x="3363" y="2686"/>
                  </a:lnTo>
                  <a:lnTo>
                    <a:pt x="3352" y="2678"/>
                  </a:lnTo>
                  <a:lnTo>
                    <a:pt x="3340" y="2671"/>
                  </a:lnTo>
                  <a:lnTo>
                    <a:pt x="3337" y="2670"/>
                  </a:lnTo>
                  <a:lnTo>
                    <a:pt x="3333" y="2669"/>
                  </a:lnTo>
                  <a:lnTo>
                    <a:pt x="3328" y="2669"/>
                  </a:lnTo>
                  <a:lnTo>
                    <a:pt x="3323" y="2670"/>
                  </a:lnTo>
                  <a:lnTo>
                    <a:pt x="3311" y="2672"/>
                  </a:lnTo>
                  <a:lnTo>
                    <a:pt x="3300" y="2675"/>
                  </a:lnTo>
                  <a:lnTo>
                    <a:pt x="3300" y="2675"/>
                  </a:lnTo>
                  <a:lnTo>
                    <a:pt x="3284" y="2660"/>
                  </a:lnTo>
                  <a:lnTo>
                    <a:pt x="3268" y="2647"/>
                  </a:lnTo>
                  <a:lnTo>
                    <a:pt x="3250" y="2635"/>
                  </a:lnTo>
                  <a:lnTo>
                    <a:pt x="3232" y="2624"/>
                  </a:lnTo>
                  <a:lnTo>
                    <a:pt x="3213" y="2615"/>
                  </a:lnTo>
                  <a:lnTo>
                    <a:pt x="3193" y="2606"/>
                  </a:lnTo>
                  <a:lnTo>
                    <a:pt x="3174" y="2599"/>
                  </a:lnTo>
                  <a:lnTo>
                    <a:pt x="3153" y="2594"/>
                  </a:lnTo>
                  <a:lnTo>
                    <a:pt x="3133" y="2591"/>
                  </a:lnTo>
                  <a:lnTo>
                    <a:pt x="3112" y="2589"/>
                  </a:lnTo>
                  <a:lnTo>
                    <a:pt x="3091" y="2588"/>
                  </a:lnTo>
                  <a:lnTo>
                    <a:pt x="3070" y="2590"/>
                  </a:lnTo>
                  <a:lnTo>
                    <a:pt x="3051" y="2593"/>
                  </a:lnTo>
                  <a:lnTo>
                    <a:pt x="3030" y="2597"/>
                  </a:lnTo>
                  <a:lnTo>
                    <a:pt x="3011" y="2605"/>
                  </a:lnTo>
                  <a:lnTo>
                    <a:pt x="2992" y="2613"/>
                  </a:lnTo>
                  <a:lnTo>
                    <a:pt x="2971" y="2629"/>
                  </a:lnTo>
                  <a:lnTo>
                    <a:pt x="2950" y="2645"/>
                  </a:lnTo>
                  <a:lnTo>
                    <a:pt x="2944" y="2648"/>
                  </a:lnTo>
                  <a:lnTo>
                    <a:pt x="2938" y="2650"/>
                  </a:lnTo>
                  <a:lnTo>
                    <a:pt x="2933" y="2652"/>
                  </a:lnTo>
                  <a:lnTo>
                    <a:pt x="2926" y="2653"/>
                  </a:lnTo>
                  <a:lnTo>
                    <a:pt x="2921" y="2653"/>
                  </a:lnTo>
                  <a:lnTo>
                    <a:pt x="2915" y="2652"/>
                  </a:lnTo>
                  <a:lnTo>
                    <a:pt x="2907" y="2650"/>
                  </a:lnTo>
                  <a:lnTo>
                    <a:pt x="2900" y="2647"/>
                  </a:lnTo>
                  <a:lnTo>
                    <a:pt x="2888" y="2638"/>
                  </a:lnTo>
                  <a:lnTo>
                    <a:pt x="2873" y="2626"/>
                  </a:lnTo>
                  <a:lnTo>
                    <a:pt x="2856" y="2611"/>
                  </a:lnTo>
                  <a:lnTo>
                    <a:pt x="2840" y="2596"/>
                  </a:lnTo>
                  <a:lnTo>
                    <a:pt x="2823" y="2581"/>
                  </a:lnTo>
                  <a:lnTo>
                    <a:pt x="2808" y="2568"/>
                  </a:lnTo>
                  <a:lnTo>
                    <a:pt x="2800" y="2563"/>
                  </a:lnTo>
                  <a:lnTo>
                    <a:pt x="2794" y="2559"/>
                  </a:lnTo>
                  <a:lnTo>
                    <a:pt x="2787" y="2556"/>
                  </a:lnTo>
                  <a:lnTo>
                    <a:pt x="2783" y="2555"/>
                  </a:lnTo>
                  <a:lnTo>
                    <a:pt x="2764" y="2538"/>
                  </a:lnTo>
                  <a:lnTo>
                    <a:pt x="2745" y="2524"/>
                  </a:lnTo>
                  <a:lnTo>
                    <a:pt x="2736" y="2516"/>
                  </a:lnTo>
                  <a:lnTo>
                    <a:pt x="2728" y="2508"/>
                  </a:lnTo>
                  <a:lnTo>
                    <a:pt x="2719" y="2499"/>
                  </a:lnTo>
                  <a:lnTo>
                    <a:pt x="2711" y="2488"/>
                  </a:lnTo>
                  <a:lnTo>
                    <a:pt x="2700" y="2470"/>
                  </a:lnTo>
                  <a:lnTo>
                    <a:pt x="2688" y="2451"/>
                  </a:lnTo>
                  <a:lnTo>
                    <a:pt x="2682" y="2442"/>
                  </a:lnTo>
                  <a:lnTo>
                    <a:pt x="2675" y="2433"/>
                  </a:lnTo>
                  <a:lnTo>
                    <a:pt x="2667" y="2426"/>
                  </a:lnTo>
                  <a:lnTo>
                    <a:pt x="2658" y="2418"/>
                  </a:lnTo>
                  <a:lnTo>
                    <a:pt x="2652" y="2414"/>
                  </a:lnTo>
                  <a:lnTo>
                    <a:pt x="2646" y="2410"/>
                  </a:lnTo>
                  <a:lnTo>
                    <a:pt x="2639" y="2407"/>
                  </a:lnTo>
                  <a:lnTo>
                    <a:pt x="2633" y="2405"/>
                  </a:lnTo>
                  <a:lnTo>
                    <a:pt x="2620" y="2402"/>
                  </a:lnTo>
                  <a:lnTo>
                    <a:pt x="2606" y="2401"/>
                  </a:lnTo>
                  <a:lnTo>
                    <a:pt x="2592" y="2401"/>
                  </a:lnTo>
                  <a:lnTo>
                    <a:pt x="2579" y="2403"/>
                  </a:lnTo>
                  <a:lnTo>
                    <a:pt x="2564" y="2406"/>
                  </a:lnTo>
                  <a:lnTo>
                    <a:pt x="2550" y="2409"/>
                  </a:lnTo>
                  <a:lnTo>
                    <a:pt x="2522" y="2420"/>
                  </a:lnTo>
                  <a:lnTo>
                    <a:pt x="2495" y="2431"/>
                  </a:lnTo>
                  <a:lnTo>
                    <a:pt x="2481" y="2436"/>
                  </a:lnTo>
                  <a:lnTo>
                    <a:pt x="2468" y="2441"/>
                  </a:lnTo>
                  <a:lnTo>
                    <a:pt x="2455" y="2445"/>
                  </a:lnTo>
                  <a:lnTo>
                    <a:pt x="2444" y="2448"/>
                  </a:lnTo>
                  <a:lnTo>
                    <a:pt x="2423" y="2451"/>
                  </a:lnTo>
                  <a:lnTo>
                    <a:pt x="2402" y="2454"/>
                  </a:lnTo>
                  <a:lnTo>
                    <a:pt x="2381" y="2454"/>
                  </a:lnTo>
                  <a:lnTo>
                    <a:pt x="2359" y="2453"/>
                  </a:lnTo>
                  <a:lnTo>
                    <a:pt x="2338" y="2450"/>
                  </a:lnTo>
                  <a:lnTo>
                    <a:pt x="2316" y="2447"/>
                  </a:lnTo>
                  <a:lnTo>
                    <a:pt x="2296" y="2443"/>
                  </a:lnTo>
                  <a:lnTo>
                    <a:pt x="2276" y="2437"/>
                  </a:lnTo>
                  <a:lnTo>
                    <a:pt x="2265" y="2433"/>
                  </a:lnTo>
                  <a:lnTo>
                    <a:pt x="2256" y="2429"/>
                  </a:lnTo>
                  <a:lnTo>
                    <a:pt x="2246" y="2423"/>
                  </a:lnTo>
                  <a:lnTo>
                    <a:pt x="2236" y="2417"/>
                  </a:lnTo>
                  <a:lnTo>
                    <a:pt x="2220" y="2404"/>
                  </a:lnTo>
                  <a:lnTo>
                    <a:pt x="2204" y="2390"/>
                  </a:lnTo>
                  <a:lnTo>
                    <a:pt x="2187" y="2377"/>
                  </a:lnTo>
                  <a:lnTo>
                    <a:pt x="2171" y="2364"/>
                  </a:lnTo>
                  <a:lnTo>
                    <a:pt x="2162" y="2359"/>
                  </a:lnTo>
                  <a:lnTo>
                    <a:pt x="2152" y="2353"/>
                  </a:lnTo>
                  <a:lnTo>
                    <a:pt x="2142" y="2349"/>
                  </a:lnTo>
                  <a:lnTo>
                    <a:pt x="2130" y="2346"/>
                  </a:lnTo>
                  <a:lnTo>
                    <a:pt x="2106" y="2339"/>
                  </a:lnTo>
                  <a:lnTo>
                    <a:pt x="2085" y="2332"/>
                  </a:lnTo>
                  <a:lnTo>
                    <a:pt x="2076" y="2326"/>
                  </a:lnTo>
                  <a:lnTo>
                    <a:pt x="2068" y="2320"/>
                  </a:lnTo>
                  <a:lnTo>
                    <a:pt x="2059" y="2311"/>
                  </a:lnTo>
                  <a:lnTo>
                    <a:pt x="2050" y="2300"/>
                  </a:lnTo>
                  <a:lnTo>
                    <a:pt x="2036" y="2274"/>
                  </a:lnTo>
                  <a:lnTo>
                    <a:pt x="2027" y="2252"/>
                  </a:lnTo>
                  <a:lnTo>
                    <a:pt x="2020" y="2240"/>
                  </a:lnTo>
                  <a:lnTo>
                    <a:pt x="2012" y="2230"/>
                  </a:lnTo>
                  <a:lnTo>
                    <a:pt x="2008" y="2225"/>
                  </a:lnTo>
                  <a:lnTo>
                    <a:pt x="2003" y="2219"/>
                  </a:lnTo>
                  <a:lnTo>
                    <a:pt x="1997" y="2214"/>
                  </a:lnTo>
                  <a:lnTo>
                    <a:pt x="1991" y="2210"/>
                  </a:lnTo>
                  <a:lnTo>
                    <a:pt x="0" y="1153"/>
                  </a:lnTo>
                  <a:lnTo>
                    <a:pt x="0" y="1153"/>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21" name="Freeform 9">
              <a:extLst>
                <a:ext uri="{FF2B5EF4-FFF2-40B4-BE49-F238E27FC236}">
                  <a16:creationId xmlns:a16="http://schemas.microsoft.com/office/drawing/2014/main" id="{F3B9E1A0-E487-4736-B5D9-823A47C9FD34}"/>
                </a:ext>
              </a:extLst>
            </p:cNvPr>
            <p:cNvSpPr>
              <a:spLocks/>
            </p:cNvSpPr>
            <p:nvPr/>
          </p:nvSpPr>
          <p:spPr bwMode="auto">
            <a:xfrm>
              <a:off x="2910389" y="2832031"/>
              <a:ext cx="1709924" cy="1510971"/>
            </a:xfrm>
            <a:custGeom>
              <a:avLst/>
              <a:gdLst>
                <a:gd name="T0" fmla="*/ 1576 w 3754"/>
                <a:gd name="T1" fmla="*/ 16 h 3784"/>
                <a:gd name="T2" fmla="*/ 1703 w 3754"/>
                <a:gd name="T3" fmla="*/ 138 h 3784"/>
                <a:gd name="T4" fmla="*/ 1889 w 3754"/>
                <a:gd name="T5" fmla="*/ 122 h 3784"/>
                <a:gd name="T6" fmla="*/ 2107 w 3754"/>
                <a:gd name="T7" fmla="*/ 29 h 3784"/>
                <a:gd name="T8" fmla="*/ 2298 w 3754"/>
                <a:gd name="T9" fmla="*/ 39 h 3784"/>
                <a:gd name="T10" fmla="*/ 2494 w 3754"/>
                <a:gd name="T11" fmla="*/ 147 h 3784"/>
                <a:gd name="T12" fmla="*/ 2690 w 3754"/>
                <a:gd name="T13" fmla="*/ 201 h 3784"/>
                <a:gd name="T14" fmla="*/ 2814 w 3754"/>
                <a:gd name="T15" fmla="*/ 77 h 3784"/>
                <a:gd name="T16" fmla="*/ 3048 w 3754"/>
                <a:gd name="T17" fmla="*/ 123 h 3784"/>
                <a:gd name="T18" fmla="*/ 3215 w 3754"/>
                <a:gd name="T19" fmla="*/ 161 h 3784"/>
                <a:gd name="T20" fmla="*/ 3373 w 3754"/>
                <a:gd name="T21" fmla="*/ 185 h 3784"/>
                <a:gd name="T22" fmla="*/ 3578 w 3754"/>
                <a:gd name="T23" fmla="*/ 232 h 3784"/>
                <a:gd name="T24" fmla="*/ 3561 w 3754"/>
                <a:gd name="T25" fmla="*/ 338 h 3784"/>
                <a:gd name="T26" fmla="*/ 3677 w 3754"/>
                <a:gd name="T27" fmla="*/ 511 h 3784"/>
                <a:gd name="T28" fmla="*/ 3566 w 3754"/>
                <a:gd name="T29" fmla="*/ 638 h 3784"/>
                <a:gd name="T30" fmla="*/ 3654 w 3754"/>
                <a:gd name="T31" fmla="*/ 731 h 3784"/>
                <a:gd name="T32" fmla="*/ 3712 w 3754"/>
                <a:gd name="T33" fmla="*/ 825 h 3784"/>
                <a:gd name="T34" fmla="*/ 3754 w 3754"/>
                <a:gd name="T35" fmla="*/ 1028 h 3784"/>
                <a:gd name="T36" fmla="*/ 3592 w 3754"/>
                <a:gd name="T37" fmla="*/ 1121 h 3784"/>
                <a:gd name="T38" fmla="*/ 3704 w 3754"/>
                <a:gd name="T39" fmla="*/ 1266 h 3784"/>
                <a:gd name="T40" fmla="*/ 3588 w 3754"/>
                <a:gd name="T41" fmla="*/ 1415 h 3784"/>
                <a:gd name="T42" fmla="*/ 3599 w 3754"/>
                <a:gd name="T43" fmla="*/ 1562 h 3784"/>
                <a:gd name="T44" fmla="*/ 3536 w 3754"/>
                <a:gd name="T45" fmla="*/ 1626 h 3784"/>
                <a:gd name="T46" fmla="*/ 3441 w 3754"/>
                <a:gd name="T47" fmla="*/ 1715 h 3784"/>
                <a:gd name="T48" fmla="*/ 3233 w 3754"/>
                <a:gd name="T49" fmla="*/ 1767 h 3784"/>
                <a:gd name="T50" fmla="*/ 3148 w 3754"/>
                <a:gd name="T51" fmla="*/ 2068 h 3784"/>
                <a:gd name="T52" fmla="*/ 3252 w 3754"/>
                <a:gd name="T53" fmla="*/ 2212 h 3784"/>
                <a:gd name="T54" fmla="*/ 3451 w 3754"/>
                <a:gd name="T55" fmla="*/ 2274 h 3784"/>
                <a:gd name="T56" fmla="*/ 3403 w 3754"/>
                <a:gd name="T57" fmla="*/ 2367 h 3784"/>
                <a:gd name="T58" fmla="*/ 3160 w 3754"/>
                <a:gd name="T59" fmla="*/ 2506 h 3784"/>
                <a:gd name="T60" fmla="*/ 3158 w 3754"/>
                <a:gd name="T61" fmla="*/ 2668 h 3784"/>
                <a:gd name="T62" fmla="*/ 3283 w 3754"/>
                <a:gd name="T63" fmla="*/ 2800 h 3784"/>
                <a:gd name="T64" fmla="*/ 3371 w 3754"/>
                <a:gd name="T65" fmla="*/ 2939 h 3784"/>
                <a:gd name="T66" fmla="*/ 3543 w 3754"/>
                <a:gd name="T67" fmla="*/ 2933 h 3784"/>
                <a:gd name="T68" fmla="*/ 3526 w 3754"/>
                <a:gd name="T69" fmla="*/ 3202 h 3784"/>
                <a:gd name="T70" fmla="*/ 3307 w 3754"/>
                <a:gd name="T71" fmla="*/ 3121 h 3784"/>
                <a:gd name="T72" fmla="*/ 3081 w 3754"/>
                <a:gd name="T73" fmla="*/ 3209 h 3784"/>
                <a:gd name="T74" fmla="*/ 2950 w 3754"/>
                <a:gd name="T75" fmla="*/ 3171 h 3784"/>
                <a:gd name="T76" fmla="*/ 2680 w 3754"/>
                <a:gd name="T77" fmla="*/ 3313 h 3784"/>
                <a:gd name="T78" fmla="*/ 2479 w 3754"/>
                <a:gd name="T79" fmla="*/ 3168 h 3784"/>
                <a:gd name="T80" fmla="*/ 2340 w 3754"/>
                <a:gd name="T81" fmla="*/ 3148 h 3784"/>
                <a:gd name="T82" fmla="*/ 2270 w 3754"/>
                <a:gd name="T83" fmla="*/ 3319 h 3784"/>
                <a:gd name="T84" fmla="*/ 2009 w 3754"/>
                <a:gd name="T85" fmla="*/ 3388 h 3784"/>
                <a:gd name="T86" fmla="*/ 1922 w 3754"/>
                <a:gd name="T87" fmla="*/ 3527 h 3784"/>
                <a:gd name="T88" fmla="*/ 1706 w 3754"/>
                <a:gd name="T89" fmla="*/ 3604 h 3784"/>
                <a:gd name="T90" fmla="*/ 1318 w 3754"/>
                <a:gd name="T91" fmla="*/ 3485 h 3784"/>
                <a:gd name="T92" fmla="*/ 1167 w 3754"/>
                <a:gd name="T93" fmla="*/ 3342 h 3784"/>
                <a:gd name="T94" fmla="*/ 595 w 3754"/>
                <a:gd name="T95" fmla="*/ 3525 h 3784"/>
                <a:gd name="T96" fmla="*/ 133 w 3754"/>
                <a:gd name="T97" fmla="*/ 3728 h 3784"/>
                <a:gd name="T98" fmla="*/ 32 w 3754"/>
                <a:gd name="T99" fmla="*/ 3540 h 3784"/>
                <a:gd name="T100" fmla="*/ 77 w 3754"/>
                <a:gd name="T101" fmla="*/ 3240 h 3784"/>
                <a:gd name="T102" fmla="*/ 12 w 3754"/>
                <a:gd name="T103" fmla="*/ 2924 h 3784"/>
                <a:gd name="T104" fmla="*/ 165 w 3754"/>
                <a:gd name="T105" fmla="*/ 2696 h 3784"/>
                <a:gd name="T106" fmla="*/ 337 w 3754"/>
                <a:gd name="T107" fmla="*/ 2557 h 3784"/>
                <a:gd name="T108" fmla="*/ 495 w 3754"/>
                <a:gd name="T109" fmla="*/ 2268 h 3784"/>
                <a:gd name="T110" fmla="*/ 470 w 3754"/>
                <a:gd name="T111" fmla="*/ 1823 h 3784"/>
                <a:gd name="T112" fmla="*/ 558 w 3754"/>
                <a:gd name="T113" fmla="*/ 1563 h 3784"/>
                <a:gd name="T114" fmla="*/ 765 w 3754"/>
                <a:gd name="T115" fmla="*/ 1247 h 3784"/>
                <a:gd name="T116" fmla="*/ 922 w 3754"/>
                <a:gd name="T117" fmla="*/ 1027 h 3784"/>
                <a:gd name="T118" fmla="*/ 1063 w 3754"/>
                <a:gd name="T119" fmla="*/ 707 h 3784"/>
                <a:gd name="T120" fmla="*/ 1112 w 3754"/>
                <a:gd name="T121" fmla="*/ 459 h 3784"/>
                <a:gd name="T122" fmla="*/ 1059 w 3754"/>
                <a:gd name="T123" fmla="*/ 286 h 3784"/>
                <a:gd name="T124" fmla="*/ 1224 w 3754"/>
                <a:gd name="T125" fmla="*/ 244 h 3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4" h="3784">
                  <a:moveTo>
                    <a:pt x="1303" y="68"/>
                  </a:moveTo>
                  <a:lnTo>
                    <a:pt x="1402" y="51"/>
                  </a:lnTo>
                  <a:lnTo>
                    <a:pt x="1424" y="38"/>
                  </a:lnTo>
                  <a:lnTo>
                    <a:pt x="1448" y="22"/>
                  </a:lnTo>
                  <a:lnTo>
                    <a:pt x="1453" y="18"/>
                  </a:lnTo>
                  <a:lnTo>
                    <a:pt x="1460" y="15"/>
                  </a:lnTo>
                  <a:lnTo>
                    <a:pt x="1465" y="13"/>
                  </a:lnTo>
                  <a:lnTo>
                    <a:pt x="1472" y="12"/>
                  </a:lnTo>
                  <a:lnTo>
                    <a:pt x="1478" y="11"/>
                  </a:lnTo>
                  <a:lnTo>
                    <a:pt x="1486" y="11"/>
                  </a:lnTo>
                  <a:lnTo>
                    <a:pt x="1492" y="12"/>
                  </a:lnTo>
                  <a:lnTo>
                    <a:pt x="1500" y="14"/>
                  </a:lnTo>
                  <a:lnTo>
                    <a:pt x="1510" y="17"/>
                  </a:lnTo>
                  <a:lnTo>
                    <a:pt x="1521" y="18"/>
                  </a:lnTo>
                  <a:lnTo>
                    <a:pt x="1533" y="18"/>
                  </a:lnTo>
                  <a:lnTo>
                    <a:pt x="1546" y="18"/>
                  </a:lnTo>
                  <a:lnTo>
                    <a:pt x="1576" y="16"/>
                  </a:lnTo>
                  <a:lnTo>
                    <a:pt x="1604" y="14"/>
                  </a:lnTo>
                  <a:lnTo>
                    <a:pt x="1618" y="13"/>
                  </a:lnTo>
                  <a:lnTo>
                    <a:pt x="1631" y="13"/>
                  </a:lnTo>
                  <a:lnTo>
                    <a:pt x="1644" y="14"/>
                  </a:lnTo>
                  <a:lnTo>
                    <a:pt x="1654" y="15"/>
                  </a:lnTo>
                  <a:lnTo>
                    <a:pt x="1659" y="17"/>
                  </a:lnTo>
                  <a:lnTo>
                    <a:pt x="1663" y="19"/>
                  </a:lnTo>
                  <a:lnTo>
                    <a:pt x="1667" y="22"/>
                  </a:lnTo>
                  <a:lnTo>
                    <a:pt x="1671" y="24"/>
                  </a:lnTo>
                  <a:lnTo>
                    <a:pt x="1674" y="27"/>
                  </a:lnTo>
                  <a:lnTo>
                    <a:pt x="1676" y="30"/>
                  </a:lnTo>
                  <a:lnTo>
                    <a:pt x="1678" y="35"/>
                  </a:lnTo>
                  <a:lnTo>
                    <a:pt x="1679" y="40"/>
                  </a:lnTo>
                  <a:lnTo>
                    <a:pt x="1685" y="68"/>
                  </a:lnTo>
                  <a:lnTo>
                    <a:pt x="1692" y="104"/>
                  </a:lnTo>
                  <a:lnTo>
                    <a:pt x="1696" y="122"/>
                  </a:lnTo>
                  <a:lnTo>
                    <a:pt x="1703" y="138"/>
                  </a:lnTo>
                  <a:lnTo>
                    <a:pt x="1706" y="145"/>
                  </a:lnTo>
                  <a:lnTo>
                    <a:pt x="1709" y="151"/>
                  </a:lnTo>
                  <a:lnTo>
                    <a:pt x="1714" y="157"/>
                  </a:lnTo>
                  <a:lnTo>
                    <a:pt x="1718" y="161"/>
                  </a:lnTo>
                  <a:lnTo>
                    <a:pt x="1725" y="162"/>
                  </a:lnTo>
                  <a:lnTo>
                    <a:pt x="1736" y="163"/>
                  </a:lnTo>
                  <a:lnTo>
                    <a:pt x="1752" y="163"/>
                  </a:lnTo>
                  <a:lnTo>
                    <a:pt x="1769" y="162"/>
                  </a:lnTo>
                  <a:lnTo>
                    <a:pt x="1803" y="160"/>
                  </a:lnTo>
                  <a:lnTo>
                    <a:pt x="1826" y="158"/>
                  </a:lnTo>
                  <a:lnTo>
                    <a:pt x="1836" y="157"/>
                  </a:lnTo>
                  <a:lnTo>
                    <a:pt x="1846" y="153"/>
                  </a:lnTo>
                  <a:lnTo>
                    <a:pt x="1854" y="149"/>
                  </a:lnTo>
                  <a:lnTo>
                    <a:pt x="1863" y="144"/>
                  </a:lnTo>
                  <a:lnTo>
                    <a:pt x="1871" y="137"/>
                  </a:lnTo>
                  <a:lnTo>
                    <a:pt x="1880" y="131"/>
                  </a:lnTo>
                  <a:lnTo>
                    <a:pt x="1889" y="122"/>
                  </a:lnTo>
                  <a:lnTo>
                    <a:pt x="1896" y="113"/>
                  </a:lnTo>
                  <a:lnTo>
                    <a:pt x="1910" y="94"/>
                  </a:lnTo>
                  <a:lnTo>
                    <a:pt x="1922" y="75"/>
                  </a:lnTo>
                  <a:lnTo>
                    <a:pt x="1933" y="56"/>
                  </a:lnTo>
                  <a:lnTo>
                    <a:pt x="1941" y="40"/>
                  </a:lnTo>
                  <a:lnTo>
                    <a:pt x="1947" y="28"/>
                  </a:lnTo>
                  <a:lnTo>
                    <a:pt x="1954" y="19"/>
                  </a:lnTo>
                  <a:lnTo>
                    <a:pt x="1960" y="12"/>
                  </a:lnTo>
                  <a:lnTo>
                    <a:pt x="1969" y="6"/>
                  </a:lnTo>
                  <a:lnTo>
                    <a:pt x="1976" y="3"/>
                  </a:lnTo>
                  <a:lnTo>
                    <a:pt x="1986" y="1"/>
                  </a:lnTo>
                  <a:lnTo>
                    <a:pt x="1995" y="0"/>
                  </a:lnTo>
                  <a:lnTo>
                    <a:pt x="2004" y="0"/>
                  </a:lnTo>
                  <a:lnTo>
                    <a:pt x="2043" y="6"/>
                  </a:lnTo>
                  <a:lnTo>
                    <a:pt x="2080" y="13"/>
                  </a:lnTo>
                  <a:lnTo>
                    <a:pt x="2095" y="21"/>
                  </a:lnTo>
                  <a:lnTo>
                    <a:pt x="2107" y="29"/>
                  </a:lnTo>
                  <a:lnTo>
                    <a:pt x="2118" y="38"/>
                  </a:lnTo>
                  <a:lnTo>
                    <a:pt x="2129" y="46"/>
                  </a:lnTo>
                  <a:lnTo>
                    <a:pt x="2139" y="54"/>
                  </a:lnTo>
                  <a:lnTo>
                    <a:pt x="2152" y="62"/>
                  </a:lnTo>
                  <a:lnTo>
                    <a:pt x="2159" y="64"/>
                  </a:lnTo>
                  <a:lnTo>
                    <a:pt x="2166" y="66"/>
                  </a:lnTo>
                  <a:lnTo>
                    <a:pt x="2175" y="68"/>
                  </a:lnTo>
                  <a:lnTo>
                    <a:pt x="2184" y="69"/>
                  </a:lnTo>
                  <a:lnTo>
                    <a:pt x="2200" y="69"/>
                  </a:lnTo>
                  <a:lnTo>
                    <a:pt x="2213" y="68"/>
                  </a:lnTo>
                  <a:lnTo>
                    <a:pt x="2226" y="65"/>
                  </a:lnTo>
                  <a:lnTo>
                    <a:pt x="2237" y="62"/>
                  </a:lnTo>
                  <a:lnTo>
                    <a:pt x="2256" y="52"/>
                  </a:lnTo>
                  <a:lnTo>
                    <a:pt x="2272" y="43"/>
                  </a:lnTo>
                  <a:lnTo>
                    <a:pt x="2281" y="40"/>
                  </a:lnTo>
                  <a:lnTo>
                    <a:pt x="2290" y="39"/>
                  </a:lnTo>
                  <a:lnTo>
                    <a:pt x="2298" y="39"/>
                  </a:lnTo>
                  <a:lnTo>
                    <a:pt x="2308" y="41"/>
                  </a:lnTo>
                  <a:lnTo>
                    <a:pt x="2318" y="45"/>
                  </a:lnTo>
                  <a:lnTo>
                    <a:pt x="2330" y="53"/>
                  </a:lnTo>
                  <a:lnTo>
                    <a:pt x="2341" y="64"/>
                  </a:lnTo>
                  <a:lnTo>
                    <a:pt x="2355" y="79"/>
                  </a:lnTo>
                  <a:lnTo>
                    <a:pt x="2362" y="85"/>
                  </a:lnTo>
                  <a:lnTo>
                    <a:pt x="2370" y="91"/>
                  </a:lnTo>
                  <a:lnTo>
                    <a:pt x="2378" y="95"/>
                  </a:lnTo>
                  <a:lnTo>
                    <a:pt x="2387" y="99"/>
                  </a:lnTo>
                  <a:lnTo>
                    <a:pt x="2405" y="105"/>
                  </a:lnTo>
                  <a:lnTo>
                    <a:pt x="2425" y="110"/>
                  </a:lnTo>
                  <a:lnTo>
                    <a:pt x="2445" y="116"/>
                  </a:lnTo>
                  <a:lnTo>
                    <a:pt x="2463" y="123"/>
                  </a:lnTo>
                  <a:lnTo>
                    <a:pt x="2472" y="127"/>
                  </a:lnTo>
                  <a:lnTo>
                    <a:pt x="2480" y="133"/>
                  </a:lnTo>
                  <a:lnTo>
                    <a:pt x="2487" y="139"/>
                  </a:lnTo>
                  <a:lnTo>
                    <a:pt x="2494" y="147"/>
                  </a:lnTo>
                  <a:lnTo>
                    <a:pt x="2501" y="157"/>
                  </a:lnTo>
                  <a:lnTo>
                    <a:pt x="2510" y="165"/>
                  </a:lnTo>
                  <a:lnTo>
                    <a:pt x="2520" y="174"/>
                  </a:lnTo>
                  <a:lnTo>
                    <a:pt x="2530" y="181"/>
                  </a:lnTo>
                  <a:lnTo>
                    <a:pt x="2541" y="188"/>
                  </a:lnTo>
                  <a:lnTo>
                    <a:pt x="2554" y="194"/>
                  </a:lnTo>
                  <a:lnTo>
                    <a:pt x="2566" y="200"/>
                  </a:lnTo>
                  <a:lnTo>
                    <a:pt x="2579" y="204"/>
                  </a:lnTo>
                  <a:lnTo>
                    <a:pt x="2593" y="208"/>
                  </a:lnTo>
                  <a:lnTo>
                    <a:pt x="2606" y="211"/>
                  </a:lnTo>
                  <a:lnTo>
                    <a:pt x="2620" y="213"/>
                  </a:lnTo>
                  <a:lnTo>
                    <a:pt x="2633" y="214"/>
                  </a:lnTo>
                  <a:lnTo>
                    <a:pt x="2647" y="213"/>
                  </a:lnTo>
                  <a:lnTo>
                    <a:pt x="2660" y="211"/>
                  </a:lnTo>
                  <a:lnTo>
                    <a:pt x="2672" y="208"/>
                  </a:lnTo>
                  <a:lnTo>
                    <a:pt x="2684" y="204"/>
                  </a:lnTo>
                  <a:lnTo>
                    <a:pt x="2690" y="201"/>
                  </a:lnTo>
                  <a:lnTo>
                    <a:pt x="2696" y="197"/>
                  </a:lnTo>
                  <a:lnTo>
                    <a:pt x="2700" y="192"/>
                  </a:lnTo>
                  <a:lnTo>
                    <a:pt x="2704" y="187"/>
                  </a:lnTo>
                  <a:lnTo>
                    <a:pt x="2712" y="176"/>
                  </a:lnTo>
                  <a:lnTo>
                    <a:pt x="2717" y="164"/>
                  </a:lnTo>
                  <a:lnTo>
                    <a:pt x="2722" y="151"/>
                  </a:lnTo>
                  <a:lnTo>
                    <a:pt x="2726" y="137"/>
                  </a:lnTo>
                  <a:lnTo>
                    <a:pt x="2731" y="124"/>
                  </a:lnTo>
                  <a:lnTo>
                    <a:pt x="2737" y="112"/>
                  </a:lnTo>
                  <a:lnTo>
                    <a:pt x="2741" y="107"/>
                  </a:lnTo>
                  <a:lnTo>
                    <a:pt x="2745" y="103"/>
                  </a:lnTo>
                  <a:lnTo>
                    <a:pt x="2750" y="98"/>
                  </a:lnTo>
                  <a:lnTo>
                    <a:pt x="2756" y="95"/>
                  </a:lnTo>
                  <a:lnTo>
                    <a:pt x="2769" y="89"/>
                  </a:lnTo>
                  <a:lnTo>
                    <a:pt x="2783" y="83"/>
                  </a:lnTo>
                  <a:lnTo>
                    <a:pt x="2798" y="80"/>
                  </a:lnTo>
                  <a:lnTo>
                    <a:pt x="2814" y="77"/>
                  </a:lnTo>
                  <a:lnTo>
                    <a:pt x="2828" y="76"/>
                  </a:lnTo>
                  <a:lnTo>
                    <a:pt x="2839" y="76"/>
                  </a:lnTo>
                  <a:lnTo>
                    <a:pt x="2858" y="78"/>
                  </a:lnTo>
                  <a:lnTo>
                    <a:pt x="2874" y="82"/>
                  </a:lnTo>
                  <a:lnTo>
                    <a:pt x="2888" y="87"/>
                  </a:lnTo>
                  <a:lnTo>
                    <a:pt x="2901" y="94"/>
                  </a:lnTo>
                  <a:lnTo>
                    <a:pt x="2928" y="108"/>
                  </a:lnTo>
                  <a:lnTo>
                    <a:pt x="2957" y="123"/>
                  </a:lnTo>
                  <a:lnTo>
                    <a:pt x="2966" y="125"/>
                  </a:lnTo>
                  <a:lnTo>
                    <a:pt x="2973" y="127"/>
                  </a:lnTo>
                  <a:lnTo>
                    <a:pt x="2981" y="129"/>
                  </a:lnTo>
                  <a:lnTo>
                    <a:pt x="2987" y="130"/>
                  </a:lnTo>
                  <a:lnTo>
                    <a:pt x="3001" y="129"/>
                  </a:lnTo>
                  <a:lnTo>
                    <a:pt x="3016" y="127"/>
                  </a:lnTo>
                  <a:lnTo>
                    <a:pt x="3028" y="125"/>
                  </a:lnTo>
                  <a:lnTo>
                    <a:pt x="3041" y="123"/>
                  </a:lnTo>
                  <a:lnTo>
                    <a:pt x="3048" y="123"/>
                  </a:lnTo>
                  <a:lnTo>
                    <a:pt x="3054" y="123"/>
                  </a:lnTo>
                  <a:lnTo>
                    <a:pt x="3061" y="123"/>
                  </a:lnTo>
                  <a:lnTo>
                    <a:pt x="3068" y="125"/>
                  </a:lnTo>
                  <a:lnTo>
                    <a:pt x="3078" y="127"/>
                  </a:lnTo>
                  <a:lnTo>
                    <a:pt x="3087" y="132"/>
                  </a:lnTo>
                  <a:lnTo>
                    <a:pt x="3095" y="136"/>
                  </a:lnTo>
                  <a:lnTo>
                    <a:pt x="3104" y="141"/>
                  </a:lnTo>
                  <a:lnTo>
                    <a:pt x="3121" y="151"/>
                  </a:lnTo>
                  <a:lnTo>
                    <a:pt x="3138" y="161"/>
                  </a:lnTo>
                  <a:lnTo>
                    <a:pt x="3146" y="165"/>
                  </a:lnTo>
                  <a:lnTo>
                    <a:pt x="3155" y="168"/>
                  </a:lnTo>
                  <a:lnTo>
                    <a:pt x="3164" y="171"/>
                  </a:lnTo>
                  <a:lnTo>
                    <a:pt x="3173" y="173"/>
                  </a:lnTo>
                  <a:lnTo>
                    <a:pt x="3183" y="172"/>
                  </a:lnTo>
                  <a:lnTo>
                    <a:pt x="3193" y="170"/>
                  </a:lnTo>
                  <a:lnTo>
                    <a:pt x="3203" y="166"/>
                  </a:lnTo>
                  <a:lnTo>
                    <a:pt x="3215" y="161"/>
                  </a:lnTo>
                  <a:lnTo>
                    <a:pt x="3232" y="151"/>
                  </a:lnTo>
                  <a:lnTo>
                    <a:pt x="3247" y="143"/>
                  </a:lnTo>
                  <a:lnTo>
                    <a:pt x="3262" y="136"/>
                  </a:lnTo>
                  <a:lnTo>
                    <a:pt x="3278" y="130"/>
                  </a:lnTo>
                  <a:lnTo>
                    <a:pt x="3293" y="125"/>
                  </a:lnTo>
                  <a:lnTo>
                    <a:pt x="3309" y="123"/>
                  </a:lnTo>
                  <a:lnTo>
                    <a:pt x="3328" y="121"/>
                  </a:lnTo>
                  <a:lnTo>
                    <a:pt x="3346" y="122"/>
                  </a:lnTo>
                  <a:lnTo>
                    <a:pt x="3350" y="122"/>
                  </a:lnTo>
                  <a:lnTo>
                    <a:pt x="3354" y="123"/>
                  </a:lnTo>
                  <a:lnTo>
                    <a:pt x="3357" y="125"/>
                  </a:lnTo>
                  <a:lnTo>
                    <a:pt x="3359" y="127"/>
                  </a:lnTo>
                  <a:lnTo>
                    <a:pt x="3363" y="133"/>
                  </a:lnTo>
                  <a:lnTo>
                    <a:pt x="3366" y="139"/>
                  </a:lnTo>
                  <a:lnTo>
                    <a:pt x="3370" y="156"/>
                  </a:lnTo>
                  <a:lnTo>
                    <a:pt x="3372" y="175"/>
                  </a:lnTo>
                  <a:lnTo>
                    <a:pt x="3373" y="185"/>
                  </a:lnTo>
                  <a:lnTo>
                    <a:pt x="3375" y="194"/>
                  </a:lnTo>
                  <a:lnTo>
                    <a:pt x="3378" y="204"/>
                  </a:lnTo>
                  <a:lnTo>
                    <a:pt x="3382" y="213"/>
                  </a:lnTo>
                  <a:lnTo>
                    <a:pt x="3387" y="220"/>
                  </a:lnTo>
                  <a:lnTo>
                    <a:pt x="3394" y="227"/>
                  </a:lnTo>
                  <a:lnTo>
                    <a:pt x="3398" y="230"/>
                  </a:lnTo>
                  <a:lnTo>
                    <a:pt x="3402" y="232"/>
                  </a:lnTo>
                  <a:lnTo>
                    <a:pt x="3407" y="234"/>
                  </a:lnTo>
                  <a:lnTo>
                    <a:pt x="3413" y="237"/>
                  </a:lnTo>
                  <a:lnTo>
                    <a:pt x="3423" y="239"/>
                  </a:lnTo>
                  <a:lnTo>
                    <a:pt x="3435" y="240"/>
                  </a:lnTo>
                  <a:lnTo>
                    <a:pt x="3447" y="241"/>
                  </a:lnTo>
                  <a:lnTo>
                    <a:pt x="3461" y="241"/>
                  </a:lnTo>
                  <a:lnTo>
                    <a:pt x="3489" y="240"/>
                  </a:lnTo>
                  <a:lnTo>
                    <a:pt x="3519" y="238"/>
                  </a:lnTo>
                  <a:lnTo>
                    <a:pt x="3549" y="234"/>
                  </a:lnTo>
                  <a:lnTo>
                    <a:pt x="3578" y="232"/>
                  </a:lnTo>
                  <a:lnTo>
                    <a:pt x="3605" y="231"/>
                  </a:lnTo>
                  <a:lnTo>
                    <a:pt x="3628" y="231"/>
                  </a:lnTo>
                  <a:lnTo>
                    <a:pt x="3628" y="231"/>
                  </a:lnTo>
                  <a:lnTo>
                    <a:pt x="3620" y="239"/>
                  </a:lnTo>
                  <a:lnTo>
                    <a:pt x="3610" y="247"/>
                  </a:lnTo>
                  <a:lnTo>
                    <a:pt x="3592" y="258"/>
                  </a:lnTo>
                  <a:lnTo>
                    <a:pt x="3575" y="269"/>
                  </a:lnTo>
                  <a:lnTo>
                    <a:pt x="3569" y="274"/>
                  </a:lnTo>
                  <a:lnTo>
                    <a:pt x="3562" y="282"/>
                  </a:lnTo>
                  <a:lnTo>
                    <a:pt x="3560" y="286"/>
                  </a:lnTo>
                  <a:lnTo>
                    <a:pt x="3558" y="291"/>
                  </a:lnTo>
                  <a:lnTo>
                    <a:pt x="3557" y="296"/>
                  </a:lnTo>
                  <a:lnTo>
                    <a:pt x="3556" y="301"/>
                  </a:lnTo>
                  <a:lnTo>
                    <a:pt x="3556" y="310"/>
                  </a:lnTo>
                  <a:lnTo>
                    <a:pt x="3557" y="319"/>
                  </a:lnTo>
                  <a:lnTo>
                    <a:pt x="3558" y="327"/>
                  </a:lnTo>
                  <a:lnTo>
                    <a:pt x="3561" y="338"/>
                  </a:lnTo>
                  <a:lnTo>
                    <a:pt x="3568" y="359"/>
                  </a:lnTo>
                  <a:lnTo>
                    <a:pt x="3577" y="381"/>
                  </a:lnTo>
                  <a:lnTo>
                    <a:pt x="3589" y="402"/>
                  </a:lnTo>
                  <a:lnTo>
                    <a:pt x="3601" y="420"/>
                  </a:lnTo>
                  <a:lnTo>
                    <a:pt x="3608" y="429"/>
                  </a:lnTo>
                  <a:lnTo>
                    <a:pt x="3614" y="435"/>
                  </a:lnTo>
                  <a:lnTo>
                    <a:pt x="3620" y="442"/>
                  </a:lnTo>
                  <a:lnTo>
                    <a:pt x="3627" y="446"/>
                  </a:lnTo>
                  <a:lnTo>
                    <a:pt x="3653" y="460"/>
                  </a:lnTo>
                  <a:lnTo>
                    <a:pt x="3668" y="468"/>
                  </a:lnTo>
                  <a:lnTo>
                    <a:pt x="3670" y="470"/>
                  </a:lnTo>
                  <a:lnTo>
                    <a:pt x="3672" y="472"/>
                  </a:lnTo>
                  <a:lnTo>
                    <a:pt x="3673" y="475"/>
                  </a:lnTo>
                  <a:lnTo>
                    <a:pt x="3676" y="480"/>
                  </a:lnTo>
                  <a:lnTo>
                    <a:pt x="3678" y="490"/>
                  </a:lnTo>
                  <a:lnTo>
                    <a:pt x="3680" y="507"/>
                  </a:lnTo>
                  <a:lnTo>
                    <a:pt x="3677" y="511"/>
                  </a:lnTo>
                  <a:lnTo>
                    <a:pt x="3673" y="515"/>
                  </a:lnTo>
                  <a:lnTo>
                    <a:pt x="3670" y="521"/>
                  </a:lnTo>
                  <a:lnTo>
                    <a:pt x="3669" y="526"/>
                  </a:lnTo>
                  <a:lnTo>
                    <a:pt x="3682" y="527"/>
                  </a:lnTo>
                  <a:lnTo>
                    <a:pt x="3694" y="528"/>
                  </a:lnTo>
                  <a:lnTo>
                    <a:pt x="3694" y="532"/>
                  </a:lnTo>
                  <a:lnTo>
                    <a:pt x="3692" y="537"/>
                  </a:lnTo>
                  <a:lnTo>
                    <a:pt x="3691" y="540"/>
                  </a:lnTo>
                  <a:lnTo>
                    <a:pt x="3687" y="544"/>
                  </a:lnTo>
                  <a:lnTo>
                    <a:pt x="3681" y="553"/>
                  </a:lnTo>
                  <a:lnTo>
                    <a:pt x="3671" y="562"/>
                  </a:lnTo>
                  <a:lnTo>
                    <a:pt x="3649" y="578"/>
                  </a:lnTo>
                  <a:lnTo>
                    <a:pt x="3623" y="594"/>
                  </a:lnTo>
                  <a:lnTo>
                    <a:pt x="3598" y="609"/>
                  </a:lnTo>
                  <a:lnTo>
                    <a:pt x="3578" y="624"/>
                  </a:lnTo>
                  <a:lnTo>
                    <a:pt x="3571" y="632"/>
                  </a:lnTo>
                  <a:lnTo>
                    <a:pt x="3566" y="638"/>
                  </a:lnTo>
                  <a:lnTo>
                    <a:pt x="3565" y="642"/>
                  </a:lnTo>
                  <a:lnTo>
                    <a:pt x="3565" y="645"/>
                  </a:lnTo>
                  <a:lnTo>
                    <a:pt x="3565" y="648"/>
                  </a:lnTo>
                  <a:lnTo>
                    <a:pt x="3568" y="651"/>
                  </a:lnTo>
                  <a:lnTo>
                    <a:pt x="3572" y="658"/>
                  </a:lnTo>
                  <a:lnTo>
                    <a:pt x="3577" y="663"/>
                  </a:lnTo>
                  <a:lnTo>
                    <a:pt x="3583" y="669"/>
                  </a:lnTo>
                  <a:lnTo>
                    <a:pt x="3589" y="673"/>
                  </a:lnTo>
                  <a:lnTo>
                    <a:pt x="3603" y="683"/>
                  </a:lnTo>
                  <a:lnTo>
                    <a:pt x="3617" y="691"/>
                  </a:lnTo>
                  <a:lnTo>
                    <a:pt x="3624" y="696"/>
                  </a:lnTo>
                  <a:lnTo>
                    <a:pt x="3630" y="700"/>
                  </a:lnTo>
                  <a:lnTo>
                    <a:pt x="3637" y="705"/>
                  </a:lnTo>
                  <a:lnTo>
                    <a:pt x="3642" y="711"/>
                  </a:lnTo>
                  <a:lnTo>
                    <a:pt x="3646" y="717"/>
                  </a:lnTo>
                  <a:lnTo>
                    <a:pt x="3651" y="724"/>
                  </a:lnTo>
                  <a:lnTo>
                    <a:pt x="3654" y="731"/>
                  </a:lnTo>
                  <a:lnTo>
                    <a:pt x="3656" y="740"/>
                  </a:lnTo>
                  <a:lnTo>
                    <a:pt x="3658" y="748"/>
                  </a:lnTo>
                  <a:lnTo>
                    <a:pt x="3659" y="755"/>
                  </a:lnTo>
                  <a:lnTo>
                    <a:pt x="3663" y="759"/>
                  </a:lnTo>
                  <a:lnTo>
                    <a:pt x="3665" y="764"/>
                  </a:lnTo>
                  <a:lnTo>
                    <a:pt x="3668" y="766"/>
                  </a:lnTo>
                  <a:lnTo>
                    <a:pt x="3670" y="768"/>
                  </a:lnTo>
                  <a:lnTo>
                    <a:pt x="3674" y="768"/>
                  </a:lnTo>
                  <a:lnTo>
                    <a:pt x="3678" y="768"/>
                  </a:lnTo>
                  <a:lnTo>
                    <a:pt x="3694" y="762"/>
                  </a:lnTo>
                  <a:lnTo>
                    <a:pt x="3714" y="759"/>
                  </a:lnTo>
                  <a:lnTo>
                    <a:pt x="3717" y="764"/>
                  </a:lnTo>
                  <a:lnTo>
                    <a:pt x="3717" y="770"/>
                  </a:lnTo>
                  <a:lnTo>
                    <a:pt x="3716" y="780"/>
                  </a:lnTo>
                  <a:lnTo>
                    <a:pt x="3714" y="789"/>
                  </a:lnTo>
                  <a:lnTo>
                    <a:pt x="3712" y="809"/>
                  </a:lnTo>
                  <a:lnTo>
                    <a:pt x="3712" y="825"/>
                  </a:lnTo>
                  <a:lnTo>
                    <a:pt x="3718" y="856"/>
                  </a:lnTo>
                  <a:lnTo>
                    <a:pt x="3722" y="885"/>
                  </a:lnTo>
                  <a:lnTo>
                    <a:pt x="3723" y="899"/>
                  </a:lnTo>
                  <a:lnTo>
                    <a:pt x="3724" y="914"/>
                  </a:lnTo>
                  <a:lnTo>
                    <a:pt x="3724" y="929"/>
                  </a:lnTo>
                  <a:lnTo>
                    <a:pt x="3723" y="945"/>
                  </a:lnTo>
                  <a:lnTo>
                    <a:pt x="3724" y="953"/>
                  </a:lnTo>
                  <a:lnTo>
                    <a:pt x="3724" y="959"/>
                  </a:lnTo>
                  <a:lnTo>
                    <a:pt x="3726" y="966"/>
                  </a:lnTo>
                  <a:lnTo>
                    <a:pt x="3727" y="972"/>
                  </a:lnTo>
                  <a:lnTo>
                    <a:pt x="3733" y="984"/>
                  </a:lnTo>
                  <a:lnTo>
                    <a:pt x="3738" y="995"/>
                  </a:lnTo>
                  <a:lnTo>
                    <a:pt x="3745" y="1004"/>
                  </a:lnTo>
                  <a:lnTo>
                    <a:pt x="3750" y="1014"/>
                  </a:lnTo>
                  <a:lnTo>
                    <a:pt x="3752" y="1018"/>
                  </a:lnTo>
                  <a:lnTo>
                    <a:pt x="3753" y="1024"/>
                  </a:lnTo>
                  <a:lnTo>
                    <a:pt x="3754" y="1028"/>
                  </a:lnTo>
                  <a:lnTo>
                    <a:pt x="3754" y="1034"/>
                  </a:lnTo>
                  <a:lnTo>
                    <a:pt x="3748" y="1038"/>
                  </a:lnTo>
                  <a:lnTo>
                    <a:pt x="3735" y="1042"/>
                  </a:lnTo>
                  <a:lnTo>
                    <a:pt x="3719" y="1048"/>
                  </a:lnTo>
                  <a:lnTo>
                    <a:pt x="3702" y="1053"/>
                  </a:lnTo>
                  <a:lnTo>
                    <a:pt x="3666" y="1063"/>
                  </a:lnTo>
                  <a:lnTo>
                    <a:pt x="3641" y="1069"/>
                  </a:lnTo>
                  <a:lnTo>
                    <a:pt x="3632" y="1072"/>
                  </a:lnTo>
                  <a:lnTo>
                    <a:pt x="3625" y="1075"/>
                  </a:lnTo>
                  <a:lnTo>
                    <a:pt x="3618" y="1078"/>
                  </a:lnTo>
                  <a:lnTo>
                    <a:pt x="3612" y="1082"/>
                  </a:lnTo>
                  <a:lnTo>
                    <a:pt x="3608" y="1085"/>
                  </a:lnTo>
                  <a:lnTo>
                    <a:pt x="3603" y="1090"/>
                  </a:lnTo>
                  <a:lnTo>
                    <a:pt x="3600" y="1094"/>
                  </a:lnTo>
                  <a:lnTo>
                    <a:pt x="3598" y="1098"/>
                  </a:lnTo>
                  <a:lnTo>
                    <a:pt x="3593" y="1109"/>
                  </a:lnTo>
                  <a:lnTo>
                    <a:pt x="3592" y="1121"/>
                  </a:lnTo>
                  <a:lnTo>
                    <a:pt x="3591" y="1135"/>
                  </a:lnTo>
                  <a:lnTo>
                    <a:pt x="3591" y="1152"/>
                  </a:lnTo>
                  <a:lnTo>
                    <a:pt x="3601" y="1182"/>
                  </a:lnTo>
                  <a:lnTo>
                    <a:pt x="3611" y="1204"/>
                  </a:lnTo>
                  <a:lnTo>
                    <a:pt x="3614" y="1209"/>
                  </a:lnTo>
                  <a:lnTo>
                    <a:pt x="3617" y="1214"/>
                  </a:lnTo>
                  <a:lnTo>
                    <a:pt x="3622" y="1217"/>
                  </a:lnTo>
                  <a:lnTo>
                    <a:pt x="3626" y="1221"/>
                  </a:lnTo>
                  <a:lnTo>
                    <a:pt x="3632" y="1226"/>
                  </a:lnTo>
                  <a:lnTo>
                    <a:pt x="3639" y="1230"/>
                  </a:lnTo>
                  <a:lnTo>
                    <a:pt x="3646" y="1233"/>
                  </a:lnTo>
                  <a:lnTo>
                    <a:pt x="3656" y="1238"/>
                  </a:lnTo>
                  <a:lnTo>
                    <a:pt x="3702" y="1255"/>
                  </a:lnTo>
                  <a:lnTo>
                    <a:pt x="3704" y="1257"/>
                  </a:lnTo>
                  <a:lnTo>
                    <a:pt x="3704" y="1259"/>
                  </a:lnTo>
                  <a:lnTo>
                    <a:pt x="3704" y="1263"/>
                  </a:lnTo>
                  <a:lnTo>
                    <a:pt x="3704" y="1266"/>
                  </a:lnTo>
                  <a:lnTo>
                    <a:pt x="3700" y="1275"/>
                  </a:lnTo>
                  <a:lnTo>
                    <a:pt x="3695" y="1286"/>
                  </a:lnTo>
                  <a:lnTo>
                    <a:pt x="3683" y="1308"/>
                  </a:lnTo>
                  <a:lnTo>
                    <a:pt x="3674" y="1323"/>
                  </a:lnTo>
                  <a:lnTo>
                    <a:pt x="3670" y="1329"/>
                  </a:lnTo>
                  <a:lnTo>
                    <a:pt x="3665" y="1336"/>
                  </a:lnTo>
                  <a:lnTo>
                    <a:pt x="3658" y="1341"/>
                  </a:lnTo>
                  <a:lnTo>
                    <a:pt x="3651" y="1346"/>
                  </a:lnTo>
                  <a:lnTo>
                    <a:pt x="3636" y="1354"/>
                  </a:lnTo>
                  <a:lnTo>
                    <a:pt x="3619" y="1361"/>
                  </a:lnTo>
                  <a:lnTo>
                    <a:pt x="3604" y="1368"/>
                  </a:lnTo>
                  <a:lnTo>
                    <a:pt x="3592" y="1376"/>
                  </a:lnTo>
                  <a:lnTo>
                    <a:pt x="3588" y="1380"/>
                  </a:lnTo>
                  <a:lnTo>
                    <a:pt x="3585" y="1386"/>
                  </a:lnTo>
                  <a:lnTo>
                    <a:pt x="3584" y="1391"/>
                  </a:lnTo>
                  <a:lnTo>
                    <a:pt x="3584" y="1398"/>
                  </a:lnTo>
                  <a:lnTo>
                    <a:pt x="3588" y="1415"/>
                  </a:lnTo>
                  <a:lnTo>
                    <a:pt x="3596" y="1443"/>
                  </a:lnTo>
                  <a:lnTo>
                    <a:pt x="3599" y="1456"/>
                  </a:lnTo>
                  <a:lnTo>
                    <a:pt x="3601" y="1469"/>
                  </a:lnTo>
                  <a:lnTo>
                    <a:pt x="3603" y="1477"/>
                  </a:lnTo>
                  <a:lnTo>
                    <a:pt x="3603" y="1483"/>
                  </a:lnTo>
                  <a:lnTo>
                    <a:pt x="3595" y="1496"/>
                  </a:lnTo>
                  <a:lnTo>
                    <a:pt x="3586" y="1507"/>
                  </a:lnTo>
                  <a:lnTo>
                    <a:pt x="3583" y="1512"/>
                  </a:lnTo>
                  <a:lnTo>
                    <a:pt x="3579" y="1518"/>
                  </a:lnTo>
                  <a:lnTo>
                    <a:pt x="3578" y="1526"/>
                  </a:lnTo>
                  <a:lnTo>
                    <a:pt x="3578" y="1537"/>
                  </a:lnTo>
                  <a:lnTo>
                    <a:pt x="3578" y="1540"/>
                  </a:lnTo>
                  <a:lnTo>
                    <a:pt x="3581" y="1544"/>
                  </a:lnTo>
                  <a:lnTo>
                    <a:pt x="3583" y="1548"/>
                  </a:lnTo>
                  <a:lnTo>
                    <a:pt x="3586" y="1551"/>
                  </a:lnTo>
                  <a:lnTo>
                    <a:pt x="3592" y="1556"/>
                  </a:lnTo>
                  <a:lnTo>
                    <a:pt x="3599" y="1562"/>
                  </a:lnTo>
                  <a:lnTo>
                    <a:pt x="3602" y="1565"/>
                  </a:lnTo>
                  <a:lnTo>
                    <a:pt x="3605" y="1568"/>
                  </a:lnTo>
                  <a:lnTo>
                    <a:pt x="3608" y="1572"/>
                  </a:lnTo>
                  <a:lnTo>
                    <a:pt x="3610" y="1577"/>
                  </a:lnTo>
                  <a:lnTo>
                    <a:pt x="3610" y="1582"/>
                  </a:lnTo>
                  <a:lnTo>
                    <a:pt x="3610" y="1588"/>
                  </a:lnTo>
                  <a:lnTo>
                    <a:pt x="3608" y="1595"/>
                  </a:lnTo>
                  <a:lnTo>
                    <a:pt x="3605" y="1603"/>
                  </a:lnTo>
                  <a:lnTo>
                    <a:pt x="3601" y="1609"/>
                  </a:lnTo>
                  <a:lnTo>
                    <a:pt x="3597" y="1614"/>
                  </a:lnTo>
                  <a:lnTo>
                    <a:pt x="3591" y="1618"/>
                  </a:lnTo>
                  <a:lnTo>
                    <a:pt x="3585" y="1621"/>
                  </a:lnTo>
                  <a:lnTo>
                    <a:pt x="3577" y="1623"/>
                  </a:lnTo>
                  <a:lnTo>
                    <a:pt x="3570" y="1624"/>
                  </a:lnTo>
                  <a:lnTo>
                    <a:pt x="3562" y="1625"/>
                  </a:lnTo>
                  <a:lnTo>
                    <a:pt x="3554" y="1626"/>
                  </a:lnTo>
                  <a:lnTo>
                    <a:pt x="3536" y="1626"/>
                  </a:lnTo>
                  <a:lnTo>
                    <a:pt x="3519" y="1625"/>
                  </a:lnTo>
                  <a:lnTo>
                    <a:pt x="3504" y="1625"/>
                  </a:lnTo>
                  <a:lnTo>
                    <a:pt x="3491" y="1628"/>
                  </a:lnTo>
                  <a:lnTo>
                    <a:pt x="3487" y="1632"/>
                  </a:lnTo>
                  <a:lnTo>
                    <a:pt x="3484" y="1636"/>
                  </a:lnTo>
                  <a:lnTo>
                    <a:pt x="3482" y="1642"/>
                  </a:lnTo>
                  <a:lnTo>
                    <a:pt x="3480" y="1646"/>
                  </a:lnTo>
                  <a:lnTo>
                    <a:pt x="3479" y="1656"/>
                  </a:lnTo>
                  <a:lnTo>
                    <a:pt x="3479" y="1664"/>
                  </a:lnTo>
                  <a:lnTo>
                    <a:pt x="3479" y="1674"/>
                  </a:lnTo>
                  <a:lnTo>
                    <a:pt x="3478" y="1684"/>
                  </a:lnTo>
                  <a:lnTo>
                    <a:pt x="3477" y="1688"/>
                  </a:lnTo>
                  <a:lnTo>
                    <a:pt x="3475" y="1692"/>
                  </a:lnTo>
                  <a:lnTo>
                    <a:pt x="3472" y="1697"/>
                  </a:lnTo>
                  <a:lnTo>
                    <a:pt x="3469" y="1701"/>
                  </a:lnTo>
                  <a:lnTo>
                    <a:pt x="3460" y="1706"/>
                  </a:lnTo>
                  <a:lnTo>
                    <a:pt x="3441" y="1715"/>
                  </a:lnTo>
                  <a:lnTo>
                    <a:pt x="3422" y="1724"/>
                  </a:lnTo>
                  <a:lnTo>
                    <a:pt x="3411" y="1727"/>
                  </a:lnTo>
                  <a:lnTo>
                    <a:pt x="3402" y="1728"/>
                  </a:lnTo>
                  <a:lnTo>
                    <a:pt x="3394" y="1727"/>
                  </a:lnTo>
                  <a:lnTo>
                    <a:pt x="3385" y="1725"/>
                  </a:lnTo>
                  <a:lnTo>
                    <a:pt x="3376" y="1722"/>
                  </a:lnTo>
                  <a:lnTo>
                    <a:pt x="3368" y="1718"/>
                  </a:lnTo>
                  <a:lnTo>
                    <a:pt x="3359" y="1716"/>
                  </a:lnTo>
                  <a:lnTo>
                    <a:pt x="3350" y="1714"/>
                  </a:lnTo>
                  <a:lnTo>
                    <a:pt x="3342" y="1714"/>
                  </a:lnTo>
                  <a:lnTo>
                    <a:pt x="3323" y="1716"/>
                  </a:lnTo>
                  <a:lnTo>
                    <a:pt x="3305" y="1722"/>
                  </a:lnTo>
                  <a:lnTo>
                    <a:pt x="3288" y="1727"/>
                  </a:lnTo>
                  <a:lnTo>
                    <a:pt x="3273" y="1734"/>
                  </a:lnTo>
                  <a:lnTo>
                    <a:pt x="3258" y="1744"/>
                  </a:lnTo>
                  <a:lnTo>
                    <a:pt x="3245" y="1755"/>
                  </a:lnTo>
                  <a:lnTo>
                    <a:pt x="3233" y="1767"/>
                  </a:lnTo>
                  <a:lnTo>
                    <a:pt x="3221" y="1779"/>
                  </a:lnTo>
                  <a:lnTo>
                    <a:pt x="3211" y="1793"/>
                  </a:lnTo>
                  <a:lnTo>
                    <a:pt x="3201" y="1808"/>
                  </a:lnTo>
                  <a:lnTo>
                    <a:pt x="3193" y="1823"/>
                  </a:lnTo>
                  <a:lnTo>
                    <a:pt x="3185" y="1839"/>
                  </a:lnTo>
                  <a:lnTo>
                    <a:pt x="3179" y="1857"/>
                  </a:lnTo>
                  <a:lnTo>
                    <a:pt x="3172" y="1874"/>
                  </a:lnTo>
                  <a:lnTo>
                    <a:pt x="3168" y="1891"/>
                  </a:lnTo>
                  <a:lnTo>
                    <a:pt x="3164" y="1908"/>
                  </a:lnTo>
                  <a:lnTo>
                    <a:pt x="3159" y="1928"/>
                  </a:lnTo>
                  <a:lnTo>
                    <a:pt x="3155" y="1948"/>
                  </a:lnTo>
                  <a:lnTo>
                    <a:pt x="3152" y="1968"/>
                  </a:lnTo>
                  <a:lnTo>
                    <a:pt x="3149" y="1988"/>
                  </a:lnTo>
                  <a:lnTo>
                    <a:pt x="3147" y="2009"/>
                  </a:lnTo>
                  <a:lnTo>
                    <a:pt x="3146" y="2029"/>
                  </a:lnTo>
                  <a:lnTo>
                    <a:pt x="3147" y="2049"/>
                  </a:lnTo>
                  <a:lnTo>
                    <a:pt x="3148" y="2068"/>
                  </a:lnTo>
                  <a:lnTo>
                    <a:pt x="3152" y="2088"/>
                  </a:lnTo>
                  <a:lnTo>
                    <a:pt x="3157" y="2106"/>
                  </a:lnTo>
                  <a:lnTo>
                    <a:pt x="3159" y="2115"/>
                  </a:lnTo>
                  <a:lnTo>
                    <a:pt x="3164" y="2124"/>
                  </a:lnTo>
                  <a:lnTo>
                    <a:pt x="3168" y="2133"/>
                  </a:lnTo>
                  <a:lnTo>
                    <a:pt x="3172" y="2141"/>
                  </a:lnTo>
                  <a:lnTo>
                    <a:pt x="3178" y="2149"/>
                  </a:lnTo>
                  <a:lnTo>
                    <a:pt x="3183" y="2157"/>
                  </a:lnTo>
                  <a:lnTo>
                    <a:pt x="3189" y="2164"/>
                  </a:lnTo>
                  <a:lnTo>
                    <a:pt x="3196" y="2172"/>
                  </a:lnTo>
                  <a:lnTo>
                    <a:pt x="3203" y="2179"/>
                  </a:lnTo>
                  <a:lnTo>
                    <a:pt x="3212" y="2186"/>
                  </a:lnTo>
                  <a:lnTo>
                    <a:pt x="3221" y="2192"/>
                  </a:lnTo>
                  <a:lnTo>
                    <a:pt x="3230" y="2199"/>
                  </a:lnTo>
                  <a:lnTo>
                    <a:pt x="3238" y="2202"/>
                  </a:lnTo>
                  <a:lnTo>
                    <a:pt x="3246" y="2208"/>
                  </a:lnTo>
                  <a:lnTo>
                    <a:pt x="3252" y="2212"/>
                  </a:lnTo>
                  <a:lnTo>
                    <a:pt x="3259" y="2217"/>
                  </a:lnTo>
                  <a:lnTo>
                    <a:pt x="3272" y="2229"/>
                  </a:lnTo>
                  <a:lnTo>
                    <a:pt x="3285" y="2240"/>
                  </a:lnTo>
                  <a:lnTo>
                    <a:pt x="3296" y="2252"/>
                  </a:lnTo>
                  <a:lnTo>
                    <a:pt x="3310" y="2260"/>
                  </a:lnTo>
                  <a:lnTo>
                    <a:pt x="3318" y="2265"/>
                  </a:lnTo>
                  <a:lnTo>
                    <a:pt x="3326" y="2268"/>
                  </a:lnTo>
                  <a:lnTo>
                    <a:pt x="3334" y="2270"/>
                  </a:lnTo>
                  <a:lnTo>
                    <a:pt x="3344" y="2272"/>
                  </a:lnTo>
                  <a:lnTo>
                    <a:pt x="3357" y="2272"/>
                  </a:lnTo>
                  <a:lnTo>
                    <a:pt x="3375" y="2270"/>
                  </a:lnTo>
                  <a:lnTo>
                    <a:pt x="3397" y="2267"/>
                  </a:lnTo>
                  <a:lnTo>
                    <a:pt x="3418" y="2266"/>
                  </a:lnTo>
                  <a:lnTo>
                    <a:pt x="3428" y="2267"/>
                  </a:lnTo>
                  <a:lnTo>
                    <a:pt x="3438" y="2268"/>
                  </a:lnTo>
                  <a:lnTo>
                    <a:pt x="3445" y="2270"/>
                  </a:lnTo>
                  <a:lnTo>
                    <a:pt x="3451" y="2274"/>
                  </a:lnTo>
                  <a:lnTo>
                    <a:pt x="3454" y="2277"/>
                  </a:lnTo>
                  <a:lnTo>
                    <a:pt x="3455" y="2280"/>
                  </a:lnTo>
                  <a:lnTo>
                    <a:pt x="3456" y="2283"/>
                  </a:lnTo>
                  <a:lnTo>
                    <a:pt x="3457" y="2286"/>
                  </a:lnTo>
                  <a:lnTo>
                    <a:pt x="3457" y="2291"/>
                  </a:lnTo>
                  <a:lnTo>
                    <a:pt x="3456" y="2295"/>
                  </a:lnTo>
                  <a:lnTo>
                    <a:pt x="3455" y="2300"/>
                  </a:lnTo>
                  <a:lnTo>
                    <a:pt x="3453" y="2307"/>
                  </a:lnTo>
                  <a:lnTo>
                    <a:pt x="3448" y="2318"/>
                  </a:lnTo>
                  <a:lnTo>
                    <a:pt x="3442" y="2327"/>
                  </a:lnTo>
                  <a:lnTo>
                    <a:pt x="3437" y="2336"/>
                  </a:lnTo>
                  <a:lnTo>
                    <a:pt x="3433" y="2344"/>
                  </a:lnTo>
                  <a:lnTo>
                    <a:pt x="3427" y="2350"/>
                  </a:lnTo>
                  <a:lnTo>
                    <a:pt x="3422" y="2355"/>
                  </a:lnTo>
                  <a:lnTo>
                    <a:pt x="3415" y="2360"/>
                  </a:lnTo>
                  <a:lnTo>
                    <a:pt x="3410" y="2364"/>
                  </a:lnTo>
                  <a:lnTo>
                    <a:pt x="3403" y="2367"/>
                  </a:lnTo>
                  <a:lnTo>
                    <a:pt x="3396" y="2370"/>
                  </a:lnTo>
                  <a:lnTo>
                    <a:pt x="3388" y="2372"/>
                  </a:lnTo>
                  <a:lnTo>
                    <a:pt x="3380" y="2374"/>
                  </a:lnTo>
                  <a:lnTo>
                    <a:pt x="3361" y="2377"/>
                  </a:lnTo>
                  <a:lnTo>
                    <a:pt x="3339" y="2380"/>
                  </a:lnTo>
                  <a:lnTo>
                    <a:pt x="3324" y="2382"/>
                  </a:lnTo>
                  <a:lnTo>
                    <a:pt x="3310" y="2388"/>
                  </a:lnTo>
                  <a:lnTo>
                    <a:pt x="3294" y="2394"/>
                  </a:lnTo>
                  <a:lnTo>
                    <a:pt x="3278" y="2403"/>
                  </a:lnTo>
                  <a:lnTo>
                    <a:pt x="3262" y="2413"/>
                  </a:lnTo>
                  <a:lnTo>
                    <a:pt x="3246" y="2424"/>
                  </a:lnTo>
                  <a:lnTo>
                    <a:pt x="3229" y="2435"/>
                  </a:lnTo>
                  <a:lnTo>
                    <a:pt x="3213" y="2448"/>
                  </a:lnTo>
                  <a:lnTo>
                    <a:pt x="3198" y="2462"/>
                  </a:lnTo>
                  <a:lnTo>
                    <a:pt x="3184" y="2476"/>
                  </a:lnTo>
                  <a:lnTo>
                    <a:pt x="3172" y="2490"/>
                  </a:lnTo>
                  <a:lnTo>
                    <a:pt x="3160" y="2506"/>
                  </a:lnTo>
                  <a:lnTo>
                    <a:pt x="3151" y="2521"/>
                  </a:lnTo>
                  <a:lnTo>
                    <a:pt x="3144" y="2535"/>
                  </a:lnTo>
                  <a:lnTo>
                    <a:pt x="3141" y="2542"/>
                  </a:lnTo>
                  <a:lnTo>
                    <a:pt x="3139" y="2549"/>
                  </a:lnTo>
                  <a:lnTo>
                    <a:pt x="3137" y="2556"/>
                  </a:lnTo>
                  <a:lnTo>
                    <a:pt x="3135" y="2563"/>
                  </a:lnTo>
                  <a:lnTo>
                    <a:pt x="3134" y="2577"/>
                  </a:lnTo>
                  <a:lnTo>
                    <a:pt x="3134" y="2592"/>
                  </a:lnTo>
                  <a:lnTo>
                    <a:pt x="3134" y="2607"/>
                  </a:lnTo>
                  <a:lnTo>
                    <a:pt x="3135" y="2623"/>
                  </a:lnTo>
                  <a:lnTo>
                    <a:pt x="3138" y="2631"/>
                  </a:lnTo>
                  <a:lnTo>
                    <a:pt x="3139" y="2637"/>
                  </a:lnTo>
                  <a:lnTo>
                    <a:pt x="3142" y="2645"/>
                  </a:lnTo>
                  <a:lnTo>
                    <a:pt x="3145" y="2651"/>
                  </a:lnTo>
                  <a:lnTo>
                    <a:pt x="3148" y="2657"/>
                  </a:lnTo>
                  <a:lnTo>
                    <a:pt x="3153" y="2662"/>
                  </a:lnTo>
                  <a:lnTo>
                    <a:pt x="3158" y="2668"/>
                  </a:lnTo>
                  <a:lnTo>
                    <a:pt x="3165" y="2671"/>
                  </a:lnTo>
                  <a:lnTo>
                    <a:pt x="3195" y="2684"/>
                  </a:lnTo>
                  <a:lnTo>
                    <a:pt x="3219" y="2692"/>
                  </a:lnTo>
                  <a:lnTo>
                    <a:pt x="3224" y="2696"/>
                  </a:lnTo>
                  <a:lnTo>
                    <a:pt x="3228" y="2699"/>
                  </a:lnTo>
                  <a:lnTo>
                    <a:pt x="3232" y="2702"/>
                  </a:lnTo>
                  <a:lnTo>
                    <a:pt x="3235" y="2708"/>
                  </a:lnTo>
                  <a:lnTo>
                    <a:pt x="3238" y="2714"/>
                  </a:lnTo>
                  <a:lnTo>
                    <a:pt x="3239" y="2721"/>
                  </a:lnTo>
                  <a:lnTo>
                    <a:pt x="3241" y="2729"/>
                  </a:lnTo>
                  <a:lnTo>
                    <a:pt x="3241" y="2740"/>
                  </a:lnTo>
                  <a:lnTo>
                    <a:pt x="3250" y="2756"/>
                  </a:lnTo>
                  <a:lnTo>
                    <a:pt x="3258" y="2769"/>
                  </a:lnTo>
                  <a:lnTo>
                    <a:pt x="3264" y="2780"/>
                  </a:lnTo>
                  <a:lnTo>
                    <a:pt x="3270" y="2789"/>
                  </a:lnTo>
                  <a:lnTo>
                    <a:pt x="3277" y="2795"/>
                  </a:lnTo>
                  <a:lnTo>
                    <a:pt x="3283" y="2800"/>
                  </a:lnTo>
                  <a:lnTo>
                    <a:pt x="3290" y="2805"/>
                  </a:lnTo>
                  <a:lnTo>
                    <a:pt x="3297" y="2807"/>
                  </a:lnTo>
                  <a:lnTo>
                    <a:pt x="3331" y="2811"/>
                  </a:lnTo>
                  <a:lnTo>
                    <a:pt x="3385" y="2818"/>
                  </a:lnTo>
                  <a:lnTo>
                    <a:pt x="3387" y="2823"/>
                  </a:lnTo>
                  <a:lnTo>
                    <a:pt x="3387" y="2830"/>
                  </a:lnTo>
                  <a:lnTo>
                    <a:pt x="3386" y="2837"/>
                  </a:lnTo>
                  <a:lnTo>
                    <a:pt x="3384" y="2846"/>
                  </a:lnTo>
                  <a:lnTo>
                    <a:pt x="3377" y="2865"/>
                  </a:lnTo>
                  <a:lnTo>
                    <a:pt x="3371" y="2887"/>
                  </a:lnTo>
                  <a:lnTo>
                    <a:pt x="3369" y="2897"/>
                  </a:lnTo>
                  <a:lnTo>
                    <a:pt x="3367" y="2907"/>
                  </a:lnTo>
                  <a:lnTo>
                    <a:pt x="3366" y="2917"/>
                  </a:lnTo>
                  <a:lnTo>
                    <a:pt x="3367" y="2927"/>
                  </a:lnTo>
                  <a:lnTo>
                    <a:pt x="3368" y="2931"/>
                  </a:lnTo>
                  <a:lnTo>
                    <a:pt x="3369" y="2935"/>
                  </a:lnTo>
                  <a:lnTo>
                    <a:pt x="3371" y="2939"/>
                  </a:lnTo>
                  <a:lnTo>
                    <a:pt x="3374" y="2943"/>
                  </a:lnTo>
                  <a:lnTo>
                    <a:pt x="3377" y="2946"/>
                  </a:lnTo>
                  <a:lnTo>
                    <a:pt x="3381" y="2949"/>
                  </a:lnTo>
                  <a:lnTo>
                    <a:pt x="3385" y="2952"/>
                  </a:lnTo>
                  <a:lnTo>
                    <a:pt x="3390" y="2955"/>
                  </a:lnTo>
                  <a:lnTo>
                    <a:pt x="3397" y="2956"/>
                  </a:lnTo>
                  <a:lnTo>
                    <a:pt x="3404" y="2956"/>
                  </a:lnTo>
                  <a:lnTo>
                    <a:pt x="3414" y="2955"/>
                  </a:lnTo>
                  <a:lnTo>
                    <a:pt x="3424" y="2954"/>
                  </a:lnTo>
                  <a:lnTo>
                    <a:pt x="3447" y="2948"/>
                  </a:lnTo>
                  <a:lnTo>
                    <a:pt x="3470" y="2941"/>
                  </a:lnTo>
                  <a:lnTo>
                    <a:pt x="3494" y="2934"/>
                  </a:lnTo>
                  <a:lnTo>
                    <a:pt x="3515" y="2930"/>
                  </a:lnTo>
                  <a:lnTo>
                    <a:pt x="3523" y="2929"/>
                  </a:lnTo>
                  <a:lnTo>
                    <a:pt x="3532" y="2929"/>
                  </a:lnTo>
                  <a:lnTo>
                    <a:pt x="3538" y="2931"/>
                  </a:lnTo>
                  <a:lnTo>
                    <a:pt x="3543" y="2933"/>
                  </a:lnTo>
                  <a:lnTo>
                    <a:pt x="3543" y="2972"/>
                  </a:lnTo>
                  <a:lnTo>
                    <a:pt x="3545" y="3009"/>
                  </a:lnTo>
                  <a:lnTo>
                    <a:pt x="3547" y="3047"/>
                  </a:lnTo>
                  <a:lnTo>
                    <a:pt x="3552" y="3083"/>
                  </a:lnTo>
                  <a:lnTo>
                    <a:pt x="3556" y="3097"/>
                  </a:lnTo>
                  <a:lnTo>
                    <a:pt x="3560" y="3113"/>
                  </a:lnTo>
                  <a:lnTo>
                    <a:pt x="3565" y="3127"/>
                  </a:lnTo>
                  <a:lnTo>
                    <a:pt x="3572" y="3141"/>
                  </a:lnTo>
                  <a:lnTo>
                    <a:pt x="3577" y="3156"/>
                  </a:lnTo>
                  <a:lnTo>
                    <a:pt x="3583" y="3170"/>
                  </a:lnTo>
                  <a:lnTo>
                    <a:pt x="3586" y="3183"/>
                  </a:lnTo>
                  <a:lnTo>
                    <a:pt x="3587" y="3197"/>
                  </a:lnTo>
                  <a:lnTo>
                    <a:pt x="3584" y="3198"/>
                  </a:lnTo>
                  <a:lnTo>
                    <a:pt x="3576" y="3199"/>
                  </a:lnTo>
                  <a:lnTo>
                    <a:pt x="3566" y="3200"/>
                  </a:lnTo>
                  <a:lnTo>
                    <a:pt x="3555" y="3201"/>
                  </a:lnTo>
                  <a:lnTo>
                    <a:pt x="3526" y="3202"/>
                  </a:lnTo>
                  <a:lnTo>
                    <a:pt x="3498" y="3203"/>
                  </a:lnTo>
                  <a:lnTo>
                    <a:pt x="3503" y="3203"/>
                  </a:lnTo>
                  <a:lnTo>
                    <a:pt x="3494" y="3197"/>
                  </a:lnTo>
                  <a:lnTo>
                    <a:pt x="3484" y="3190"/>
                  </a:lnTo>
                  <a:lnTo>
                    <a:pt x="3475" y="3185"/>
                  </a:lnTo>
                  <a:lnTo>
                    <a:pt x="3464" y="3181"/>
                  </a:lnTo>
                  <a:lnTo>
                    <a:pt x="3441" y="3174"/>
                  </a:lnTo>
                  <a:lnTo>
                    <a:pt x="3418" y="3169"/>
                  </a:lnTo>
                  <a:lnTo>
                    <a:pt x="3396" y="3164"/>
                  </a:lnTo>
                  <a:lnTo>
                    <a:pt x="3373" y="3159"/>
                  </a:lnTo>
                  <a:lnTo>
                    <a:pt x="3362" y="3156"/>
                  </a:lnTo>
                  <a:lnTo>
                    <a:pt x="3353" y="3151"/>
                  </a:lnTo>
                  <a:lnTo>
                    <a:pt x="3343" y="3147"/>
                  </a:lnTo>
                  <a:lnTo>
                    <a:pt x="3334" y="3142"/>
                  </a:lnTo>
                  <a:lnTo>
                    <a:pt x="3322" y="3133"/>
                  </a:lnTo>
                  <a:lnTo>
                    <a:pt x="3313" y="3124"/>
                  </a:lnTo>
                  <a:lnTo>
                    <a:pt x="3307" y="3121"/>
                  </a:lnTo>
                  <a:lnTo>
                    <a:pt x="3301" y="3119"/>
                  </a:lnTo>
                  <a:lnTo>
                    <a:pt x="3293" y="3117"/>
                  </a:lnTo>
                  <a:lnTo>
                    <a:pt x="3285" y="3117"/>
                  </a:lnTo>
                  <a:lnTo>
                    <a:pt x="3269" y="3117"/>
                  </a:lnTo>
                  <a:lnTo>
                    <a:pt x="3255" y="3119"/>
                  </a:lnTo>
                  <a:lnTo>
                    <a:pt x="3241" y="3122"/>
                  </a:lnTo>
                  <a:lnTo>
                    <a:pt x="3227" y="3126"/>
                  </a:lnTo>
                  <a:lnTo>
                    <a:pt x="3201" y="3134"/>
                  </a:lnTo>
                  <a:lnTo>
                    <a:pt x="3173" y="3143"/>
                  </a:lnTo>
                  <a:lnTo>
                    <a:pt x="3160" y="3150"/>
                  </a:lnTo>
                  <a:lnTo>
                    <a:pt x="3147" y="3160"/>
                  </a:lnTo>
                  <a:lnTo>
                    <a:pt x="3134" y="3171"/>
                  </a:lnTo>
                  <a:lnTo>
                    <a:pt x="3121" y="3182"/>
                  </a:lnTo>
                  <a:lnTo>
                    <a:pt x="3108" y="3192"/>
                  </a:lnTo>
                  <a:lnTo>
                    <a:pt x="3095" y="3201"/>
                  </a:lnTo>
                  <a:lnTo>
                    <a:pt x="3089" y="3205"/>
                  </a:lnTo>
                  <a:lnTo>
                    <a:pt x="3081" y="3209"/>
                  </a:lnTo>
                  <a:lnTo>
                    <a:pt x="3075" y="3211"/>
                  </a:lnTo>
                  <a:lnTo>
                    <a:pt x="3067" y="3213"/>
                  </a:lnTo>
                  <a:lnTo>
                    <a:pt x="3060" y="3214"/>
                  </a:lnTo>
                  <a:lnTo>
                    <a:pt x="3052" y="3214"/>
                  </a:lnTo>
                  <a:lnTo>
                    <a:pt x="3046" y="3214"/>
                  </a:lnTo>
                  <a:lnTo>
                    <a:pt x="3040" y="3213"/>
                  </a:lnTo>
                  <a:lnTo>
                    <a:pt x="3034" y="3211"/>
                  </a:lnTo>
                  <a:lnTo>
                    <a:pt x="3030" y="3209"/>
                  </a:lnTo>
                  <a:lnTo>
                    <a:pt x="3024" y="3205"/>
                  </a:lnTo>
                  <a:lnTo>
                    <a:pt x="3020" y="3202"/>
                  </a:lnTo>
                  <a:lnTo>
                    <a:pt x="3001" y="3186"/>
                  </a:lnTo>
                  <a:lnTo>
                    <a:pt x="2981" y="3170"/>
                  </a:lnTo>
                  <a:lnTo>
                    <a:pt x="2978" y="3169"/>
                  </a:lnTo>
                  <a:lnTo>
                    <a:pt x="2973" y="3168"/>
                  </a:lnTo>
                  <a:lnTo>
                    <a:pt x="2968" y="3168"/>
                  </a:lnTo>
                  <a:lnTo>
                    <a:pt x="2963" y="3168"/>
                  </a:lnTo>
                  <a:lnTo>
                    <a:pt x="2950" y="3171"/>
                  </a:lnTo>
                  <a:lnTo>
                    <a:pt x="2936" y="3177"/>
                  </a:lnTo>
                  <a:lnTo>
                    <a:pt x="2919" y="3185"/>
                  </a:lnTo>
                  <a:lnTo>
                    <a:pt x="2903" y="3195"/>
                  </a:lnTo>
                  <a:lnTo>
                    <a:pt x="2886" y="3205"/>
                  </a:lnTo>
                  <a:lnTo>
                    <a:pt x="2869" y="3217"/>
                  </a:lnTo>
                  <a:lnTo>
                    <a:pt x="2834" y="3242"/>
                  </a:lnTo>
                  <a:lnTo>
                    <a:pt x="2802" y="3267"/>
                  </a:lnTo>
                  <a:lnTo>
                    <a:pt x="2775" y="3288"/>
                  </a:lnTo>
                  <a:lnTo>
                    <a:pt x="2755" y="3302"/>
                  </a:lnTo>
                  <a:lnTo>
                    <a:pt x="2745" y="3308"/>
                  </a:lnTo>
                  <a:lnTo>
                    <a:pt x="2736" y="3312"/>
                  </a:lnTo>
                  <a:lnTo>
                    <a:pt x="2727" y="3315"/>
                  </a:lnTo>
                  <a:lnTo>
                    <a:pt x="2717" y="3317"/>
                  </a:lnTo>
                  <a:lnTo>
                    <a:pt x="2708" y="3318"/>
                  </a:lnTo>
                  <a:lnTo>
                    <a:pt x="2698" y="3317"/>
                  </a:lnTo>
                  <a:lnTo>
                    <a:pt x="2688" y="3316"/>
                  </a:lnTo>
                  <a:lnTo>
                    <a:pt x="2680" y="3313"/>
                  </a:lnTo>
                  <a:lnTo>
                    <a:pt x="2660" y="3307"/>
                  </a:lnTo>
                  <a:lnTo>
                    <a:pt x="2642" y="3299"/>
                  </a:lnTo>
                  <a:lnTo>
                    <a:pt x="2623" y="3292"/>
                  </a:lnTo>
                  <a:lnTo>
                    <a:pt x="2604" y="3283"/>
                  </a:lnTo>
                  <a:lnTo>
                    <a:pt x="2577" y="3273"/>
                  </a:lnTo>
                  <a:lnTo>
                    <a:pt x="2553" y="3264"/>
                  </a:lnTo>
                  <a:lnTo>
                    <a:pt x="2543" y="3258"/>
                  </a:lnTo>
                  <a:lnTo>
                    <a:pt x="2533" y="3253"/>
                  </a:lnTo>
                  <a:lnTo>
                    <a:pt x="2524" y="3246"/>
                  </a:lnTo>
                  <a:lnTo>
                    <a:pt x="2516" y="3241"/>
                  </a:lnTo>
                  <a:lnTo>
                    <a:pt x="2509" y="3234"/>
                  </a:lnTo>
                  <a:lnTo>
                    <a:pt x="2501" y="3226"/>
                  </a:lnTo>
                  <a:lnTo>
                    <a:pt x="2496" y="3216"/>
                  </a:lnTo>
                  <a:lnTo>
                    <a:pt x="2491" y="3207"/>
                  </a:lnTo>
                  <a:lnTo>
                    <a:pt x="2486" y="3195"/>
                  </a:lnTo>
                  <a:lnTo>
                    <a:pt x="2482" y="3182"/>
                  </a:lnTo>
                  <a:lnTo>
                    <a:pt x="2479" y="3168"/>
                  </a:lnTo>
                  <a:lnTo>
                    <a:pt x="2476" y="3151"/>
                  </a:lnTo>
                  <a:lnTo>
                    <a:pt x="2475" y="3147"/>
                  </a:lnTo>
                  <a:lnTo>
                    <a:pt x="2474" y="3144"/>
                  </a:lnTo>
                  <a:lnTo>
                    <a:pt x="2472" y="3141"/>
                  </a:lnTo>
                  <a:lnTo>
                    <a:pt x="2469" y="3137"/>
                  </a:lnTo>
                  <a:lnTo>
                    <a:pt x="2461" y="3132"/>
                  </a:lnTo>
                  <a:lnTo>
                    <a:pt x="2452" y="3128"/>
                  </a:lnTo>
                  <a:lnTo>
                    <a:pt x="2440" y="3124"/>
                  </a:lnTo>
                  <a:lnTo>
                    <a:pt x="2428" y="3122"/>
                  </a:lnTo>
                  <a:lnTo>
                    <a:pt x="2415" y="3121"/>
                  </a:lnTo>
                  <a:lnTo>
                    <a:pt x="2401" y="3122"/>
                  </a:lnTo>
                  <a:lnTo>
                    <a:pt x="2387" y="3124"/>
                  </a:lnTo>
                  <a:lnTo>
                    <a:pt x="2374" y="3128"/>
                  </a:lnTo>
                  <a:lnTo>
                    <a:pt x="2361" y="3133"/>
                  </a:lnTo>
                  <a:lnTo>
                    <a:pt x="2350" y="3140"/>
                  </a:lnTo>
                  <a:lnTo>
                    <a:pt x="2345" y="3144"/>
                  </a:lnTo>
                  <a:lnTo>
                    <a:pt x="2340" y="3148"/>
                  </a:lnTo>
                  <a:lnTo>
                    <a:pt x="2336" y="3153"/>
                  </a:lnTo>
                  <a:lnTo>
                    <a:pt x="2332" y="3158"/>
                  </a:lnTo>
                  <a:lnTo>
                    <a:pt x="2328" y="3164"/>
                  </a:lnTo>
                  <a:lnTo>
                    <a:pt x="2326" y="3170"/>
                  </a:lnTo>
                  <a:lnTo>
                    <a:pt x="2325" y="3177"/>
                  </a:lnTo>
                  <a:lnTo>
                    <a:pt x="2324" y="3184"/>
                  </a:lnTo>
                  <a:lnTo>
                    <a:pt x="2325" y="3219"/>
                  </a:lnTo>
                  <a:lnTo>
                    <a:pt x="2325" y="3251"/>
                  </a:lnTo>
                  <a:lnTo>
                    <a:pt x="2324" y="3258"/>
                  </a:lnTo>
                  <a:lnTo>
                    <a:pt x="2322" y="3265"/>
                  </a:lnTo>
                  <a:lnTo>
                    <a:pt x="2319" y="3272"/>
                  </a:lnTo>
                  <a:lnTo>
                    <a:pt x="2315" y="3279"/>
                  </a:lnTo>
                  <a:lnTo>
                    <a:pt x="2311" y="3285"/>
                  </a:lnTo>
                  <a:lnTo>
                    <a:pt x="2305" y="3292"/>
                  </a:lnTo>
                  <a:lnTo>
                    <a:pt x="2298" y="3298"/>
                  </a:lnTo>
                  <a:lnTo>
                    <a:pt x="2290" y="3305"/>
                  </a:lnTo>
                  <a:lnTo>
                    <a:pt x="2270" y="3319"/>
                  </a:lnTo>
                  <a:lnTo>
                    <a:pt x="2254" y="3333"/>
                  </a:lnTo>
                  <a:lnTo>
                    <a:pt x="2240" y="3347"/>
                  </a:lnTo>
                  <a:lnTo>
                    <a:pt x="2226" y="3359"/>
                  </a:lnTo>
                  <a:lnTo>
                    <a:pt x="2218" y="3364"/>
                  </a:lnTo>
                  <a:lnTo>
                    <a:pt x="2210" y="3369"/>
                  </a:lnTo>
                  <a:lnTo>
                    <a:pt x="2201" y="3373"/>
                  </a:lnTo>
                  <a:lnTo>
                    <a:pt x="2192" y="3376"/>
                  </a:lnTo>
                  <a:lnTo>
                    <a:pt x="2182" y="3378"/>
                  </a:lnTo>
                  <a:lnTo>
                    <a:pt x="2170" y="3379"/>
                  </a:lnTo>
                  <a:lnTo>
                    <a:pt x="2156" y="3380"/>
                  </a:lnTo>
                  <a:lnTo>
                    <a:pt x="2142" y="3379"/>
                  </a:lnTo>
                  <a:lnTo>
                    <a:pt x="2116" y="3378"/>
                  </a:lnTo>
                  <a:lnTo>
                    <a:pt x="2091" y="3377"/>
                  </a:lnTo>
                  <a:lnTo>
                    <a:pt x="2068" y="3378"/>
                  </a:lnTo>
                  <a:lnTo>
                    <a:pt x="2048" y="3379"/>
                  </a:lnTo>
                  <a:lnTo>
                    <a:pt x="2027" y="3383"/>
                  </a:lnTo>
                  <a:lnTo>
                    <a:pt x="2009" y="3388"/>
                  </a:lnTo>
                  <a:lnTo>
                    <a:pt x="2001" y="3391"/>
                  </a:lnTo>
                  <a:lnTo>
                    <a:pt x="1992" y="3394"/>
                  </a:lnTo>
                  <a:lnTo>
                    <a:pt x="1985" y="3398"/>
                  </a:lnTo>
                  <a:lnTo>
                    <a:pt x="1977" y="3403"/>
                  </a:lnTo>
                  <a:lnTo>
                    <a:pt x="1971" y="3407"/>
                  </a:lnTo>
                  <a:lnTo>
                    <a:pt x="1964" y="3413"/>
                  </a:lnTo>
                  <a:lnTo>
                    <a:pt x="1958" y="3419"/>
                  </a:lnTo>
                  <a:lnTo>
                    <a:pt x="1953" y="3426"/>
                  </a:lnTo>
                  <a:lnTo>
                    <a:pt x="1947" y="3433"/>
                  </a:lnTo>
                  <a:lnTo>
                    <a:pt x="1943" y="3441"/>
                  </a:lnTo>
                  <a:lnTo>
                    <a:pt x="1938" y="3448"/>
                  </a:lnTo>
                  <a:lnTo>
                    <a:pt x="1935" y="3458"/>
                  </a:lnTo>
                  <a:lnTo>
                    <a:pt x="1932" y="3468"/>
                  </a:lnTo>
                  <a:lnTo>
                    <a:pt x="1929" y="3478"/>
                  </a:lnTo>
                  <a:lnTo>
                    <a:pt x="1927" y="3489"/>
                  </a:lnTo>
                  <a:lnTo>
                    <a:pt x="1924" y="3501"/>
                  </a:lnTo>
                  <a:lnTo>
                    <a:pt x="1922" y="3527"/>
                  </a:lnTo>
                  <a:lnTo>
                    <a:pt x="1922" y="3555"/>
                  </a:lnTo>
                  <a:lnTo>
                    <a:pt x="1922" y="3560"/>
                  </a:lnTo>
                  <a:lnTo>
                    <a:pt x="1921" y="3563"/>
                  </a:lnTo>
                  <a:lnTo>
                    <a:pt x="1919" y="3566"/>
                  </a:lnTo>
                  <a:lnTo>
                    <a:pt x="1917" y="3568"/>
                  </a:lnTo>
                  <a:lnTo>
                    <a:pt x="1909" y="3574"/>
                  </a:lnTo>
                  <a:lnTo>
                    <a:pt x="1901" y="3578"/>
                  </a:lnTo>
                  <a:lnTo>
                    <a:pt x="1890" y="3581"/>
                  </a:lnTo>
                  <a:lnTo>
                    <a:pt x="1877" y="3583"/>
                  </a:lnTo>
                  <a:lnTo>
                    <a:pt x="1864" y="3586"/>
                  </a:lnTo>
                  <a:lnTo>
                    <a:pt x="1849" y="3587"/>
                  </a:lnTo>
                  <a:lnTo>
                    <a:pt x="1820" y="3589"/>
                  </a:lnTo>
                  <a:lnTo>
                    <a:pt x="1790" y="3590"/>
                  </a:lnTo>
                  <a:lnTo>
                    <a:pt x="1766" y="3592"/>
                  </a:lnTo>
                  <a:lnTo>
                    <a:pt x="1746" y="3595"/>
                  </a:lnTo>
                  <a:lnTo>
                    <a:pt x="1727" y="3600"/>
                  </a:lnTo>
                  <a:lnTo>
                    <a:pt x="1706" y="3604"/>
                  </a:lnTo>
                  <a:lnTo>
                    <a:pt x="1687" y="3605"/>
                  </a:lnTo>
                  <a:lnTo>
                    <a:pt x="1667" y="3606"/>
                  </a:lnTo>
                  <a:lnTo>
                    <a:pt x="1648" y="3605"/>
                  </a:lnTo>
                  <a:lnTo>
                    <a:pt x="1630" y="3603"/>
                  </a:lnTo>
                  <a:lnTo>
                    <a:pt x="1610" y="3601"/>
                  </a:lnTo>
                  <a:lnTo>
                    <a:pt x="1591" y="3596"/>
                  </a:lnTo>
                  <a:lnTo>
                    <a:pt x="1572" y="3591"/>
                  </a:lnTo>
                  <a:lnTo>
                    <a:pt x="1553" y="3586"/>
                  </a:lnTo>
                  <a:lnTo>
                    <a:pt x="1534" y="3579"/>
                  </a:lnTo>
                  <a:lnTo>
                    <a:pt x="1516" y="3573"/>
                  </a:lnTo>
                  <a:lnTo>
                    <a:pt x="1478" y="3558"/>
                  </a:lnTo>
                  <a:lnTo>
                    <a:pt x="1442" y="3541"/>
                  </a:lnTo>
                  <a:lnTo>
                    <a:pt x="1411" y="3529"/>
                  </a:lnTo>
                  <a:lnTo>
                    <a:pt x="1383" y="3518"/>
                  </a:lnTo>
                  <a:lnTo>
                    <a:pt x="1356" y="3506"/>
                  </a:lnTo>
                  <a:lnTo>
                    <a:pt x="1330" y="3492"/>
                  </a:lnTo>
                  <a:lnTo>
                    <a:pt x="1318" y="3485"/>
                  </a:lnTo>
                  <a:lnTo>
                    <a:pt x="1307" y="3477"/>
                  </a:lnTo>
                  <a:lnTo>
                    <a:pt x="1296" y="3468"/>
                  </a:lnTo>
                  <a:lnTo>
                    <a:pt x="1285" y="3457"/>
                  </a:lnTo>
                  <a:lnTo>
                    <a:pt x="1274" y="3446"/>
                  </a:lnTo>
                  <a:lnTo>
                    <a:pt x="1264" y="3434"/>
                  </a:lnTo>
                  <a:lnTo>
                    <a:pt x="1256" y="3421"/>
                  </a:lnTo>
                  <a:lnTo>
                    <a:pt x="1247" y="3406"/>
                  </a:lnTo>
                  <a:lnTo>
                    <a:pt x="1238" y="3391"/>
                  </a:lnTo>
                  <a:lnTo>
                    <a:pt x="1230" y="3377"/>
                  </a:lnTo>
                  <a:lnTo>
                    <a:pt x="1222" y="3366"/>
                  </a:lnTo>
                  <a:lnTo>
                    <a:pt x="1215" y="3359"/>
                  </a:lnTo>
                  <a:lnTo>
                    <a:pt x="1208" y="3351"/>
                  </a:lnTo>
                  <a:lnTo>
                    <a:pt x="1201" y="3347"/>
                  </a:lnTo>
                  <a:lnTo>
                    <a:pt x="1193" y="3344"/>
                  </a:lnTo>
                  <a:lnTo>
                    <a:pt x="1186" y="3342"/>
                  </a:lnTo>
                  <a:lnTo>
                    <a:pt x="1177" y="3342"/>
                  </a:lnTo>
                  <a:lnTo>
                    <a:pt x="1167" y="3342"/>
                  </a:lnTo>
                  <a:lnTo>
                    <a:pt x="1156" y="3343"/>
                  </a:lnTo>
                  <a:lnTo>
                    <a:pt x="1144" y="3345"/>
                  </a:lnTo>
                  <a:lnTo>
                    <a:pt x="1117" y="3350"/>
                  </a:lnTo>
                  <a:lnTo>
                    <a:pt x="1082" y="3356"/>
                  </a:lnTo>
                  <a:lnTo>
                    <a:pt x="1047" y="3362"/>
                  </a:lnTo>
                  <a:lnTo>
                    <a:pt x="1013" y="3370"/>
                  </a:lnTo>
                  <a:lnTo>
                    <a:pt x="979" y="3379"/>
                  </a:lnTo>
                  <a:lnTo>
                    <a:pt x="947" y="3390"/>
                  </a:lnTo>
                  <a:lnTo>
                    <a:pt x="914" y="3402"/>
                  </a:lnTo>
                  <a:lnTo>
                    <a:pt x="883" y="3415"/>
                  </a:lnTo>
                  <a:lnTo>
                    <a:pt x="851" y="3428"/>
                  </a:lnTo>
                  <a:lnTo>
                    <a:pt x="819" y="3442"/>
                  </a:lnTo>
                  <a:lnTo>
                    <a:pt x="757" y="3470"/>
                  </a:lnTo>
                  <a:lnTo>
                    <a:pt x="693" y="3495"/>
                  </a:lnTo>
                  <a:lnTo>
                    <a:pt x="660" y="3507"/>
                  </a:lnTo>
                  <a:lnTo>
                    <a:pt x="628" y="3516"/>
                  </a:lnTo>
                  <a:lnTo>
                    <a:pt x="595" y="3525"/>
                  </a:lnTo>
                  <a:lnTo>
                    <a:pt x="560" y="3532"/>
                  </a:lnTo>
                  <a:lnTo>
                    <a:pt x="519" y="3541"/>
                  </a:lnTo>
                  <a:lnTo>
                    <a:pt x="479" y="3551"/>
                  </a:lnTo>
                  <a:lnTo>
                    <a:pt x="439" y="3560"/>
                  </a:lnTo>
                  <a:lnTo>
                    <a:pt x="400" y="3569"/>
                  </a:lnTo>
                  <a:lnTo>
                    <a:pt x="381" y="3575"/>
                  </a:lnTo>
                  <a:lnTo>
                    <a:pt x="361" y="3581"/>
                  </a:lnTo>
                  <a:lnTo>
                    <a:pt x="343" y="3588"/>
                  </a:lnTo>
                  <a:lnTo>
                    <a:pt x="323" y="3595"/>
                  </a:lnTo>
                  <a:lnTo>
                    <a:pt x="305" y="3604"/>
                  </a:lnTo>
                  <a:lnTo>
                    <a:pt x="287" y="3614"/>
                  </a:lnTo>
                  <a:lnTo>
                    <a:pt x="268" y="3624"/>
                  </a:lnTo>
                  <a:lnTo>
                    <a:pt x="251" y="3636"/>
                  </a:lnTo>
                  <a:lnTo>
                    <a:pt x="222" y="3658"/>
                  </a:lnTo>
                  <a:lnTo>
                    <a:pt x="194" y="3682"/>
                  </a:lnTo>
                  <a:lnTo>
                    <a:pt x="164" y="3705"/>
                  </a:lnTo>
                  <a:lnTo>
                    <a:pt x="133" y="3728"/>
                  </a:lnTo>
                  <a:lnTo>
                    <a:pt x="117" y="3739"/>
                  </a:lnTo>
                  <a:lnTo>
                    <a:pt x="101" y="3749"/>
                  </a:lnTo>
                  <a:lnTo>
                    <a:pt x="85" y="3758"/>
                  </a:lnTo>
                  <a:lnTo>
                    <a:pt x="69" y="3766"/>
                  </a:lnTo>
                  <a:lnTo>
                    <a:pt x="52" y="3772"/>
                  </a:lnTo>
                  <a:lnTo>
                    <a:pt x="35" y="3778"/>
                  </a:lnTo>
                  <a:lnTo>
                    <a:pt x="18" y="3782"/>
                  </a:lnTo>
                  <a:lnTo>
                    <a:pt x="0" y="3784"/>
                  </a:lnTo>
                  <a:lnTo>
                    <a:pt x="0" y="3784"/>
                  </a:lnTo>
                  <a:lnTo>
                    <a:pt x="9" y="3691"/>
                  </a:lnTo>
                  <a:lnTo>
                    <a:pt x="9" y="3656"/>
                  </a:lnTo>
                  <a:lnTo>
                    <a:pt x="9" y="3622"/>
                  </a:lnTo>
                  <a:lnTo>
                    <a:pt x="11" y="3606"/>
                  </a:lnTo>
                  <a:lnTo>
                    <a:pt x="13" y="3589"/>
                  </a:lnTo>
                  <a:lnTo>
                    <a:pt x="18" y="3573"/>
                  </a:lnTo>
                  <a:lnTo>
                    <a:pt x="24" y="3555"/>
                  </a:lnTo>
                  <a:lnTo>
                    <a:pt x="32" y="3540"/>
                  </a:lnTo>
                  <a:lnTo>
                    <a:pt x="41" y="3526"/>
                  </a:lnTo>
                  <a:lnTo>
                    <a:pt x="52" y="3512"/>
                  </a:lnTo>
                  <a:lnTo>
                    <a:pt x="63" y="3500"/>
                  </a:lnTo>
                  <a:lnTo>
                    <a:pt x="87" y="3475"/>
                  </a:lnTo>
                  <a:lnTo>
                    <a:pt x="110" y="3451"/>
                  </a:lnTo>
                  <a:lnTo>
                    <a:pt x="118" y="3439"/>
                  </a:lnTo>
                  <a:lnTo>
                    <a:pt x="125" y="3428"/>
                  </a:lnTo>
                  <a:lnTo>
                    <a:pt x="129" y="3418"/>
                  </a:lnTo>
                  <a:lnTo>
                    <a:pt x="132" y="3408"/>
                  </a:lnTo>
                  <a:lnTo>
                    <a:pt x="135" y="3387"/>
                  </a:lnTo>
                  <a:lnTo>
                    <a:pt x="137" y="3360"/>
                  </a:lnTo>
                  <a:lnTo>
                    <a:pt x="131" y="3344"/>
                  </a:lnTo>
                  <a:lnTo>
                    <a:pt x="125" y="3327"/>
                  </a:lnTo>
                  <a:lnTo>
                    <a:pt x="118" y="3312"/>
                  </a:lnTo>
                  <a:lnTo>
                    <a:pt x="111" y="3297"/>
                  </a:lnTo>
                  <a:lnTo>
                    <a:pt x="94" y="3269"/>
                  </a:lnTo>
                  <a:lnTo>
                    <a:pt x="77" y="3240"/>
                  </a:lnTo>
                  <a:lnTo>
                    <a:pt x="60" y="3212"/>
                  </a:lnTo>
                  <a:lnTo>
                    <a:pt x="44" y="3184"/>
                  </a:lnTo>
                  <a:lnTo>
                    <a:pt x="36" y="3169"/>
                  </a:lnTo>
                  <a:lnTo>
                    <a:pt x="29" y="3154"/>
                  </a:lnTo>
                  <a:lnTo>
                    <a:pt x="22" y="3138"/>
                  </a:lnTo>
                  <a:lnTo>
                    <a:pt x="17" y="3122"/>
                  </a:lnTo>
                  <a:lnTo>
                    <a:pt x="12" y="3105"/>
                  </a:lnTo>
                  <a:lnTo>
                    <a:pt x="8" y="3088"/>
                  </a:lnTo>
                  <a:lnTo>
                    <a:pt x="5" y="3070"/>
                  </a:lnTo>
                  <a:lnTo>
                    <a:pt x="3" y="3052"/>
                  </a:lnTo>
                  <a:lnTo>
                    <a:pt x="2" y="3034"/>
                  </a:lnTo>
                  <a:lnTo>
                    <a:pt x="2" y="3015"/>
                  </a:lnTo>
                  <a:lnTo>
                    <a:pt x="3" y="2997"/>
                  </a:lnTo>
                  <a:lnTo>
                    <a:pt x="4" y="2979"/>
                  </a:lnTo>
                  <a:lnTo>
                    <a:pt x="6" y="2960"/>
                  </a:lnTo>
                  <a:lnTo>
                    <a:pt x="9" y="2942"/>
                  </a:lnTo>
                  <a:lnTo>
                    <a:pt x="12" y="2924"/>
                  </a:lnTo>
                  <a:lnTo>
                    <a:pt x="17" y="2906"/>
                  </a:lnTo>
                  <a:lnTo>
                    <a:pt x="22" y="2888"/>
                  </a:lnTo>
                  <a:lnTo>
                    <a:pt x="27" y="2872"/>
                  </a:lnTo>
                  <a:lnTo>
                    <a:pt x="34" y="2854"/>
                  </a:lnTo>
                  <a:lnTo>
                    <a:pt x="40" y="2838"/>
                  </a:lnTo>
                  <a:lnTo>
                    <a:pt x="46" y="2827"/>
                  </a:lnTo>
                  <a:lnTo>
                    <a:pt x="52" y="2818"/>
                  </a:lnTo>
                  <a:lnTo>
                    <a:pt x="60" y="2808"/>
                  </a:lnTo>
                  <a:lnTo>
                    <a:pt x="69" y="2798"/>
                  </a:lnTo>
                  <a:lnTo>
                    <a:pt x="86" y="2781"/>
                  </a:lnTo>
                  <a:lnTo>
                    <a:pt x="104" y="2765"/>
                  </a:lnTo>
                  <a:lnTo>
                    <a:pt x="123" y="2749"/>
                  </a:lnTo>
                  <a:lnTo>
                    <a:pt x="140" y="2732"/>
                  </a:lnTo>
                  <a:lnTo>
                    <a:pt x="147" y="2724"/>
                  </a:lnTo>
                  <a:lnTo>
                    <a:pt x="154" y="2715"/>
                  </a:lnTo>
                  <a:lnTo>
                    <a:pt x="160" y="2705"/>
                  </a:lnTo>
                  <a:lnTo>
                    <a:pt x="165" y="2696"/>
                  </a:lnTo>
                  <a:lnTo>
                    <a:pt x="173" y="2683"/>
                  </a:lnTo>
                  <a:lnTo>
                    <a:pt x="185" y="2669"/>
                  </a:lnTo>
                  <a:lnTo>
                    <a:pt x="198" y="2656"/>
                  </a:lnTo>
                  <a:lnTo>
                    <a:pt x="213" y="2644"/>
                  </a:lnTo>
                  <a:lnTo>
                    <a:pt x="229" y="2634"/>
                  </a:lnTo>
                  <a:lnTo>
                    <a:pt x="245" y="2624"/>
                  </a:lnTo>
                  <a:lnTo>
                    <a:pt x="261" y="2618"/>
                  </a:lnTo>
                  <a:lnTo>
                    <a:pt x="277" y="2613"/>
                  </a:lnTo>
                  <a:lnTo>
                    <a:pt x="286" y="2609"/>
                  </a:lnTo>
                  <a:lnTo>
                    <a:pt x="294" y="2606"/>
                  </a:lnTo>
                  <a:lnTo>
                    <a:pt x="302" y="2602"/>
                  </a:lnTo>
                  <a:lnTo>
                    <a:pt x="308" y="2597"/>
                  </a:lnTo>
                  <a:lnTo>
                    <a:pt x="315" y="2592"/>
                  </a:lnTo>
                  <a:lnTo>
                    <a:pt x="320" y="2586"/>
                  </a:lnTo>
                  <a:lnTo>
                    <a:pt x="325" y="2579"/>
                  </a:lnTo>
                  <a:lnTo>
                    <a:pt x="330" y="2573"/>
                  </a:lnTo>
                  <a:lnTo>
                    <a:pt x="337" y="2557"/>
                  </a:lnTo>
                  <a:lnTo>
                    <a:pt x="344" y="2541"/>
                  </a:lnTo>
                  <a:lnTo>
                    <a:pt x="350" y="2525"/>
                  </a:lnTo>
                  <a:lnTo>
                    <a:pt x="358" y="2509"/>
                  </a:lnTo>
                  <a:lnTo>
                    <a:pt x="364" y="2494"/>
                  </a:lnTo>
                  <a:lnTo>
                    <a:pt x="373" y="2479"/>
                  </a:lnTo>
                  <a:lnTo>
                    <a:pt x="383" y="2463"/>
                  </a:lnTo>
                  <a:lnTo>
                    <a:pt x="394" y="2449"/>
                  </a:lnTo>
                  <a:lnTo>
                    <a:pt x="416" y="2420"/>
                  </a:lnTo>
                  <a:lnTo>
                    <a:pt x="439" y="2392"/>
                  </a:lnTo>
                  <a:lnTo>
                    <a:pt x="450" y="2378"/>
                  </a:lnTo>
                  <a:lnTo>
                    <a:pt x="460" y="2364"/>
                  </a:lnTo>
                  <a:lnTo>
                    <a:pt x="469" y="2349"/>
                  </a:lnTo>
                  <a:lnTo>
                    <a:pt x="478" y="2334"/>
                  </a:lnTo>
                  <a:lnTo>
                    <a:pt x="484" y="2319"/>
                  </a:lnTo>
                  <a:lnTo>
                    <a:pt x="490" y="2303"/>
                  </a:lnTo>
                  <a:lnTo>
                    <a:pt x="493" y="2286"/>
                  </a:lnTo>
                  <a:lnTo>
                    <a:pt x="495" y="2268"/>
                  </a:lnTo>
                  <a:lnTo>
                    <a:pt x="494" y="2242"/>
                  </a:lnTo>
                  <a:lnTo>
                    <a:pt x="493" y="2217"/>
                  </a:lnTo>
                  <a:lnTo>
                    <a:pt x="491" y="2191"/>
                  </a:lnTo>
                  <a:lnTo>
                    <a:pt x="489" y="2165"/>
                  </a:lnTo>
                  <a:lnTo>
                    <a:pt x="485" y="2139"/>
                  </a:lnTo>
                  <a:lnTo>
                    <a:pt x="482" y="2114"/>
                  </a:lnTo>
                  <a:lnTo>
                    <a:pt x="480" y="2088"/>
                  </a:lnTo>
                  <a:lnTo>
                    <a:pt x="479" y="2062"/>
                  </a:lnTo>
                  <a:lnTo>
                    <a:pt x="478" y="2030"/>
                  </a:lnTo>
                  <a:lnTo>
                    <a:pt x="476" y="1999"/>
                  </a:lnTo>
                  <a:lnTo>
                    <a:pt x="473" y="1967"/>
                  </a:lnTo>
                  <a:lnTo>
                    <a:pt x="470" y="1934"/>
                  </a:lnTo>
                  <a:lnTo>
                    <a:pt x="468" y="1902"/>
                  </a:lnTo>
                  <a:lnTo>
                    <a:pt x="467" y="1871"/>
                  </a:lnTo>
                  <a:lnTo>
                    <a:pt x="467" y="1854"/>
                  </a:lnTo>
                  <a:lnTo>
                    <a:pt x="468" y="1838"/>
                  </a:lnTo>
                  <a:lnTo>
                    <a:pt x="470" y="1823"/>
                  </a:lnTo>
                  <a:lnTo>
                    <a:pt x="473" y="1808"/>
                  </a:lnTo>
                  <a:lnTo>
                    <a:pt x="476" y="1794"/>
                  </a:lnTo>
                  <a:lnTo>
                    <a:pt x="481" y="1780"/>
                  </a:lnTo>
                  <a:lnTo>
                    <a:pt x="488" y="1768"/>
                  </a:lnTo>
                  <a:lnTo>
                    <a:pt x="494" y="1756"/>
                  </a:lnTo>
                  <a:lnTo>
                    <a:pt x="509" y="1733"/>
                  </a:lnTo>
                  <a:lnTo>
                    <a:pt x="525" y="1712"/>
                  </a:lnTo>
                  <a:lnTo>
                    <a:pt x="533" y="1701"/>
                  </a:lnTo>
                  <a:lnTo>
                    <a:pt x="540" y="1690"/>
                  </a:lnTo>
                  <a:lnTo>
                    <a:pt x="546" y="1678"/>
                  </a:lnTo>
                  <a:lnTo>
                    <a:pt x="550" y="1666"/>
                  </a:lnTo>
                  <a:lnTo>
                    <a:pt x="554" y="1653"/>
                  </a:lnTo>
                  <a:lnTo>
                    <a:pt x="556" y="1641"/>
                  </a:lnTo>
                  <a:lnTo>
                    <a:pt x="555" y="1625"/>
                  </a:lnTo>
                  <a:lnTo>
                    <a:pt x="552" y="1610"/>
                  </a:lnTo>
                  <a:lnTo>
                    <a:pt x="555" y="1587"/>
                  </a:lnTo>
                  <a:lnTo>
                    <a:pt x="558" y="1563"/>
                  </a:lnTo>
                  <a:lnTo>
                    <a:pt x="562" y="1540"/>
                  </a:lnTo>
                  <a:lnTo>
                    <a:pt x="568" y="1518"/>
                  </a:lnTo>
                  <a:lnTo>
                    <a:pt x="575" y="1497"/>
                  </a:lnTo>
                  <a:lnTo>
                    <a:pt x="583" y="1476"/>
                  </a:lnTo>
                  <a:lnTo>
                    <a:pt x="591" y="1456"/>
                  </a:lnTo>
                  <a:lnTo>
                    <a:pt x="601" y="1436"/>
                  </a:lnTo>
                  <a:lnTo>
                    <a:pt x="612" y="1417"/>
                  </a:lnTo>
                  <a:lnTo>
                    <a:pt x="623" y="1398"/>
                  </a:lnTo>
                  <a:lnTo>
                    <a:pt x="636" y="1379"/>
                  </a:lnTo>
                  <a:lnTo>
                    <a:pt x="649" y="1361"/>
                  </a:lnTo>
                  <a:lnTo>
                    <a:pt x="664" y="1344"/>
                  </a:lnTo>
                  <a:lnTo>
                    <a:pt x="679" y="1326"/>
                  </a:lnTo>
                  <a:lnTo>
                    <a:pt x="694" y="1309"/>
                  </a:lnTo>
                  <a:lnTo>
                    <a:pt x="711" y="1293"/>
                  </a:lnTo>
                  <a:lnTo>
                    <a:pt x="727" y="1277"/>
                  </a:lnTo>
                  <a:lnTo>
                    <a:pt x="746" y="1261"/>
                  </a:lnTo>
                  <a:lnTo>
                    <a:pt x="765" y="1247"/>
                  </a:lnTo>
                  <a:lnTo>
                    <a:pt x="785" y="1232"/>
                  </a:lnTo>
                  <a:lnTo>
                    <a:pt x="804" y="1218"/>
                  </a:lnTo>
                  <a:lnTo>
                    <a:pt x="823" y="1203"/>
                  </a:lnTo>
                  <a:lnTo>
                    <a:pt x="841" y="1187"/>
                  </a:lnTo>
                  <a:lnTo>
                    <a:pt x="858" y="1172"/>
                  </a:lnTo>
                  <a:lnTo>
                    <a:pt x="874" y="1155"/>
                  </a:lnTo>
                  <a:lnTo>
                    <a:pt x="888" y="1137"/>
                  </a:lnTo>
                  <a:lnTo>
                    <a:pt x="895" y="1128"/>
                  </a:lnTo>
                  <a:lnTo>
                    <a:pt x="900" y="1118"/>
                  </a:lnTo>
                  <a:lnTo>
                    <a:pt x="906" y="1108"/>
                  </a:lnTo>
                  <a:lnTo>
                    <a:pt x="910" y="1097"/>
                  </a:lnTo>
                  <a:lnTo>
                    <a:pt x="914" y="1086"/>
                  </a:lnTo>
                  <a:lnTo>
                    <a:pt x="918" y="1076"/>
                  </a:lnTo>
                  <a:lnTo>
                    <a:pt x="920" y="1064"/>
                  </a:lnTo>
                  <a:lnTo>
                    <a:pt x="921" y="1052"/>
                  </a:lnTo>
                  <a:lnTo>
                    <a:pt x="922" y="1040"/>
                  </a:lnTo>
                  <a:lnTo>
                    <a:pt x="922" y="1027"/>
                  </a:lnTo>
                  <a:lnTo>
                    <a:pt x="920" y="1013"/>
                  </a:lnTo>
                  <a:lnTo>
                    <a:pt x="918" y="999"/>
                  </a:lnTo>
                  <a:lnTo>
                    <a:pt x="964" y="900"/>
                  </a:lnTo>
                  <a:lnTo>
                    <a:pt x="971" y="888"/>
                  </a:lnTo>
                  <a:lnTo>
                    <a:pt x="979" y="876"/>
                  </a:lnTo>
                  <a:lnTo>
                    <a:pt x="988" y="865"/>
                  </a:lnTo>
                  <a:lnTo>
                    <a:pt x="996" y="854"/>
                  </a:lnTo>
                  <a:lnTo>
                    <a:pt x="1006" y="843"/>
                  </a:lnTo>
                  <a:lnTo>
                    <a:pt x="1016" y="833"/>
                  </a:lnTo>
                  <a:lnTo>
                    <a:pt x="1025" y="822"/>
                  </a:lnTo>
                  <a:lnTo>
                    <a:pt x="1033" y="811"/>
                  </a:lnTo>
                  <a:lnTo>
                    <a:pt x="1041" y="798"/>
                  </a:lnTo>
                  <a:lnTo>
                    <a:pt x="1046" y="785"/>
                  </a:lnTo>
                  <a:lnTo>
                    <a:pt x="1052" y="772"/>
                  </a:lnTo>
                  <a:lnTo>
                    <a:pt x="1055" y="759"/>
                  </a:lnTo>
                  <a:lnTo>
                    <a:pt x="1060" y="733"/>
                  </a:lnTo>
                  <a:lnTo>
                    <a:pt x="1063" y="707"/>
                  </a:lnTo>
                  <a:lnTo>
                    <a:pt x="1067" y="680"/>
                  </a:lnTo>
                  <a:lnTo>
                    <a:pt x="1070" y="653"/>
                  </a:lnTo>
                  <a:lnTo>
                    <a:pt x="1072" y="640"/>
                  </a:lnTo>
                  <a:lnTo>
                    <a:pt x="1076" y="626"/>
                  </a:lnTo>
                  <a:lnTo>
                    <a:pt x="1081" y="612"/>
                  </a:lnTo>
                  <a:lnTo>
                    <a:pt x="1086" y="599"/>
                  </a:lnTo>
                  <a:lnTo>
                    <a:pt x="1103" y="567"/>
                  </a:lnTo>
                  <a:lnTo>
                    <a:pt x="1121" y="541"/>
                  </a:lnTo>
                  <a:lnTo>
                    <a:pt x="1124" y="536"/>
                  </a:lnTo>
                  <a:lnTo>
                    <a:pt x="1126" y="528"/>
                  </a:lnTo>
                  <a:lnTo>
                    <a:pt x="1128" y="522"/>
                  </a:lnTo>
                  <a:lnTo>
                    <a:pt x="1129" y="514"/>
                  </a:lnTo>
                  <a:lnTo>
                    <a:pt x="1129" y="505"/>
                  </a:lnTo>
                  <a:lnTo>
                    <a:pt x="1128" y="497"/>
                  </a:lnTo>
                  <a:lnTo>
                    <a:pt x="1125" y="487"/>
                  </a:lnTo>
                  <a:lnTo>
                    <a:pt x="1122" y="476"/>
                  </a:lnTo>
                  <a:lnTo>
                    <a:pt x="1112" y="459"/>
                  </a:lnTo>
                  <a:lnTo>
                    <a:pt x="1099" y="443"/>
                  </a:lnTo>
                  <a:lnTo>
                    <a:pt x="1086" y="428"/>
                  </a:lnTo>
                  <a:lnTo>
                    <a:pt x="1072" y="411"/>
                  </a:lnTo>
                  <a:lnTo>
                    <a:pt x="1059" y="395"/>
                  </a:lnTo>
                  <a:lnTo>
                    <a:pt x="1048" y="378"/>
                  </a:lnTo>
                  <a:lnTo>
                    <a:pt x="1044" y="368"/>
                  </a:lnTo>
                  <a:lnTo>
                    <a:pt x="1041" y="360"/>
                  </a:lnTo>
                  <a:lnTo>
                    <a:pt x="1038" y="350"/>
                  </a:lnTo>
                  <a:lnTo>
                    <a:pt x="1036" y="340"/>
                  </a:lnTo>
                  <a:lnTo>
                    <a:pt x="1035" y="326"/>
                  </a:lnTo>
                  <a:lnTo>
                    <a:pt x="1036" y="315"/>
                  </a:lnTo>
                  <a:lnTo>
                    <a:pt x="1039" y="310"/>
                  </a:lnTo>
                  <a:lnTo>
                    <a:pt x="1040" y="306"/>
                  </a:lnTo>
                  <a:lnTo>
                    <a:pt x="1043" y="301"/>
                  </a:lnTo>
                  <a:lnTo>
                    <a:pt x="1045" y="298"/>
                  </a:lnTo>
                  <a:lnTo>
                    <a:pt x="1052" y="292"/>
                  </a:lnTo>
                  <a:lnTo>
                    <a:pt x="1059" y="286"/>
                  </a:lnTo>
                  <a:lnTo>
                    <a:pt x="1068" y="283"/>
                  </a:lnTo>
                  <a:lnTo>
                    <a:pt x="1077" y="281"/>
                  </a:lnTo>
                  <a:lnTo>
                    <a:pt x="1087" y="279"/>
                  </a:lnTo>
                  <a:lnTo>
                    <a:pt x="1098" y="279"/>
                  </a:lnTo>
                  <a:lnTo>
                    <a:pt x="1109" y="278"/>
                  </a:lnTo>
                  <a:lnTo>
                    <a:pt x="1120" y="278"/>
                  </a:lnTo>
                  <a:lnTo>
                    <a:pt x="1141" y="279"/>
                  </a:lnTo>
                  <a:lnTo>
                    <a:pt x="1162" y="280"/>
                  </a:lnTo>
                  <a:lnTo>
                    <a:pt x="1169" y="279"/>
                  </a:lnTo>
                  <a:lnTo>
                    <a:pt x="1177" y="278"/>
                  </a:lnTo>
                  <a:lnTo>
                    <a:pt x="1184" y="275"/>
                  </a:lnTo>
                  <a:lnTo>
                    <a:pt x="1191" y="273"/>
                  </a:lnTo>
                  <a:lnTo>
                    <a:pt x="1197" y="269"/>
                  </a:lnTo>
                  <a:lnTo>
                    <a:pt x="1204" y="266"/>
                  </a:lnTo>
                  <a:lnTo>
                    <a:pt x="1209" y="260"/>
                  </a:lnTo>
                  <a:lnTo>
                    <a:pt x="1215" y="256"/>
                  </a:lnTo>
                  <a:lnTo>
                    <a:pt x="1224" y="244"/>
                  </a:lnTo>
                  <a:lnTo>
                    <a:pt x="1234" y="232"/>
                  </a:lnTo>
                  <a:lnTo>
                    <a:pt x="1243" y="219"/>
                  </a:lnTo>
                  <a:lnTo>
                    <a:pt x="1251" y="207"/>
                  </a:lnTo>
                  <a:lnTo>
                    <a:pt x="1262" y="191"/>
                  </a:lnTo>
                  <a:lnTo>
                    <a:pt x="1271" y="174"/>
                  </a:lnTo>
                  <a:lnTo>
                    <a:pt x="1278" y="158"/>
                  </a:lnTo>
                  <a:lnTo>
                    <a:pt x="1285" y="140"/>
                  </a:lnTo>
                  <a:lnTo>
                    <a:pt x="1295" y="105"/>
                  </a:lnTo>
                  <a:lnTo>
                    <a:pt x="1303" y="68"/>
                  </a:lnTo>
                  <a:lnTo>
                    <a:pt x="1303" y="68"/>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3F3F3F"/>
                </a:solidFill>
                <a:effectLst/>
                <a:uLnTx/>
                <a:uFillTx/>
                <a:latin typeface="Arial"/>
                <a:cs typeface="Arial"/>
                <a:sym typeface="Arial"/>
              </a:endParaRPr>
            </a:p>
          </p:txBody>
        </p:sp>
        <p:sp>
          <p:nvSpPr>
            <p:cNvPr id="22" name="Freeform 7">
              <a:extLst>
                <a:ext uri="{FF2B5EF4-FFF2-40B4-BE49-F238E27FC236}">
                  <a16:creationId xmlns:a16="http://schemas.microsoft.com/office/drawing/2014/main" id="{EF80FBD2-590B-4E12-BE7C-36C8E76155C4}"/>
                </a:ext>
              </a:extLst>
            </p:cNvPr>
            <p:cNvSpPr>
              <a:spLocks/>
            </p:cNvSpPr>
            <p:nvPr/>
          </p:nvSpPr>
          <p:spPr bwMode="auto">
            <a:xfrm>
              <a:off x="3488982" y="1295774"/>
              <a:ext cx="1166685" cy="1651526"/>
            </a:xfrm>
            <a:custGeom>
              <a:avLst/>
              <a:gdLst>
                <a:gd name="T0" fmla="*/ 347 w 2561"/>
                <a:gd name="T1" fmla="*/ 3910 h 4137"/>
                <a:gd name="T2" fmla="*/ 452 w 2561"/>
                <a:gd name="T3" fmla="*/ 4047 h 4137"/>
                <a:gd name="T4" fmla="*/ 665 w 2561"/>
                <a:gd name="T5" fmla="*/ 3971 h 4137"/>
                <a:gd name="T6" fmla="*/ 895 w 2561"/>
                <a:gd name="T7" fmla="*/ 3958 h 4137"/>
                <a:gd name="T8" fmla="*/ 1098 w 2561"/>
                <a:gd name="T9" fmla="*/ 3975 h 4137"/>
                <a:gd name="T10" fmla="*/ 1297 w 2561"/>
                <a:gd name="T11" fmla="*/ 4090 h 4137"/>
                <a:gd name="T12" fmla="*/ 1469 w 2561"/>
                <a:gd name="T13" fmla="*/ 4033 h 4137"/>
                <a:gd name="T14" fmla="*/ 1700 w 2561"/>
                <a:gd name="T15" fmla="*/ 4019 h 4137"/>
                <a:gd name="T16" fmla="*/ 1881 w 2561"/>
                <a:gd name="T17" fmla="*/ 4057 h 4137"/>
                <a:gd name="T18" fmla="*/ 2097 w 2561"/>
                <a:gd name="T19" fmla="*/ 4019 h 4137"/>
                <a:gd name="T20" fmla="*/ 2178 w 2561"/>
                <a:gd name="T21" fmla="*/ 4136 h 4137"/>
                <a:gd name="T22" fmla="*/ 2379 w 2561"/>
                <a:gd name="T23" fmla="*/ 4030 h 4137"/>
                <a:gd name="T24" fmla="*/ 2513 w 2561"/>
                <a:gd name="T25" fmla="*/ 3909 h 4137"/>
                <a:gd name="T26" fmla="*/ 2501 w 2561"/>
                <a:gd name="T27" fmla="*/ 3782 h 4137"/>
                <a:gd name="T28" fmla="*/ 2482 w 2561"/>
                <a:gd name="T29" fmla="*/ 3713 h 4137"/>
                <a:gd name="T30" fmla="*/ 2423 w 2561"/>
                <a:gd name="T31" fmla="*/ 3570 h 4137"/>
                <a:gd name="T32" fmla="*/ 2333 w 2561"/>
                <a:gd name="T33" fmla="*/ 3487 h 4137"/>
                <a:gd name="T34" fmla="*/ 2420 w 2561"/>
                <a:gd name="T35" fmla="*/ 3400 h 4137"/>
                <a:gd name="T36" fmla="*/ 2455 w 2561"/>
                <a:gd name="T37" fmla="*/ 3298 h 4137"/>
                <a:gd name="T38" fmla="*/ 2462 w 2561"/>
                <a:gd name="T39" fmla="*/ 3204 h 4137"/>
                <a:gd name="T40" fmla="*/ 2309 w 2561"/>
                <a:gd name="T41" fmla="*/ 3107 h 4137"/>
                <a:gd name="T42" fmla="*/ 2206 w 2561"/>
                <a:gd name="T43" fmla="*/ 3031 h 4137"/>
                <a:gd name="T44" fmla="*/ 2112 w 2561"/>
                <a:gd name="T45" fmla="*/ 2733 h 4137"/>
                <a:gd name="T46" fmla="*/ 2030 w 2561"/>
                <a:gd name="T47" fmla="*/ 2369 h 4137"/>
                <a:gd name="T48" fmla="*/ 2106 w 2561"/>
                <a:gd name="T49" fmla="*/ 2217 h 4137"/>
                <a:gd name="T50" fmla="*/ 2083 w 2561"/>
                <a:gd name="T51" fmla="*/ 2092 h 4137"/>
                <a:gd name="T52" fmla="*/ 2010 w 2561"/>
                <a:gd name="T53" fmla="*/ 1994 h 4137"/>
                <a:gd name="T54" fmla="*/ 1918 w 2561"/>
                <a:gd name="T55" fmla="*/ 1903 h 4137"/>
                <a:gd name="T56" fmla="*/ 1945 w 2561"/>
                <a:gd name="T57" fmla="*/ 1759 h 4137"/>
                <a:gd name="T58" fmla="*/ 1984 w 2561"/>
                <a:gd name="T59" fmla="*/ 1572 h 4137"/>
                <a:gd name="T60" fmla="*/ 1855 w 2561"/>
                <a:gd name="T61" fmla="*/ 1509 h 4137"/>
                <a:gd name="T62" fmla="*/ 1752 w 2561"/>
                <a:gd name="T63" fmla="*/ 1545 h 4137"/>
                <a:gd name="T64" fmla="*/ 1711 w 2561"/>
                <a:gd name="T65" fmla="*/ 1418 h 4137"/>
                <a:gd name="T66" fmla="*/ 1789 w 2561"/>
                <a:gd name="T67" fmla="*/ 1273 h 4137"/>
                <a:gd name="T68" fmla="*/ 1701 w 2561"/>
                <a:gd name="T69" fmla="*/ 1163 h 4137"/>
                <a:gd name="T70" fmla="*/ 1702 w 2561"/>
                <a:gd name="T71" fmla="*/ 1100 h 4137"/>
                <a:gd name="T72" fmla="*/ 1855 w 2561"/>
                <a:gd name="T73" fmla="*/ 1145 h 4137"/>
                <a:gd name="T74" fmla="*/ 1962 w 2561"/>
                <a:gd name="T75" fmla="*/ 1083 h 4137"/>
                <a:gd name="T76" fmla="*/ 1982 w 2561"/>
                <a:gd name="T77" fmla="*/ 970 h 4137"/>
                <a:gd name="T78" fmla="*/ 2034 w 2561"/>
                <a:gd name="T79" fmla="*/ 732 h 4137"/>
                <a:gd name="T80" fmla="*/ 2164 w 2561"/>
                <a:gd name="T81" fmla="*/ 665 h 4137"/>
                <a:gd name="T82" fmla="*/ 2052 w 2561"/>
                <a:gd name="T83" fmla="*/ 572 h 4137"/>
                <a:gd name="T84" fmla="*/ 1944 w 2561"/>
                <a:gd name="T85" fmla="*/ 497 h 4137"/>
                <a:gd name="T86" fmla="*/ 1810 w 2561"/>
                <a:gd name="T87" fmla="*/ 233 h 4137"/>
                <a:gd name="T88" fmla="*/ 1712 w 2561"/>
                <a:gd name="T89" fmla="*/ 156 h 4137"/>
                <a:gd name="T90" fmla="*/ 1525 w 2561"/>
                <a:gd name="T91" fmla="*/ 51 h 4137"/>
                <a:gd name="T92" fmla="*/ 1379 w 2561"/>
                <a:gd name="T93" fmla="*/ 47 h 4137"/>
                <a:gd name="T94" fmla="*/ 1262 w 2561"/>
                <a:gd name="T95" fmla="*/ 75 h 4137"/>
                <a:gd name="T96" fmla="*/ 1118 w 2561"/>
                <a:gd name="T97" fmla="*/ 239 h 4137"/>
                <a:gd name="T98" fmla="*/ 1011 w 2561"/>
                <a:gd name="T99" fmla="*/ 227 h 4137"/>
                <a:gd name="T100" fmla="*/ 772 w 2561"/>
                <a:gd name="T101" fmla="*/ 234 h 4137"/>
                <a:gd name="T102" fmla="*/ 656 w 2561"/>
                <a:gd name="T103" fmla="*/ 295 h 4137"/>
                <a:gd name="T104" fmla="*/ 512 w 2561"/>
                <a:gd name="T105" fmla="*/ 279 h 4137"/>
                <a:gd name="T106" fmla="*/ 201 w 2561"/>
                <a:gd name="T107" fmla="*/ 552 h 4137"/>
                <a:gd name="T108" fmla="*/ 54 w 2561"/>
                <a:gd name="T109" fmla="*/ 662 h 4137"/>
                <a:gd name="T110" fmla="*/ 59 w 2561"/>
                <a:gd name="T111" fmla="*/ 847 h 4137"/>
                <a:gd name="T112" fmla="*/ 110 w 2561"/>
                <a:gd name="T113" fmla="*/ 1061 h 4137"/>
                <a:gd name="T114" fmla="*/ 147 w 2561"/>
                <a:gd name="T115" fmla="*/ 1444 h 4137"/>
                <a:gd name="T116" fmla="*/ 99 w 2561"/>
                <a:gd name="T117" fmla="*/ 1701 h 4137"/>
                <a:gd name="T118" fmla="*/ 0 w 2561"/>
                <a:gd name="T119" fmla="*/ 2041 h 4137"/>
                <a:gd name="T120" fmla="*/ 51 w 2561"/>
                <a:gd name="T121" fmla="*/ 2191 h 4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1" h="4137">
                  <a:moveTo>
                    <a:pt x="46" y="3964"/>
                  </a:moveTo>
                  <a:lnTo>
                    <a:pt x="145" y="3947"/>
                  </a:lnTo>
                  <a:lnTo>
                    <a:pt x="167" y="3934"/>
                  </a:lnTo>
                  <a:lnTo>
                    <a:pt x="191" y="3918"/>
                  </a:lnTo>
                  <a:lnTo>
                    <a:pt x="196" y="3914"/>
                  </a:lnTo>
                  <a:lnTo>
                    <a:pt x="203" y="3911"/>
                  </a:lnTo>
                  <a:lnTo>
                    <a:pt x="208" y="3909"/>
                  </a:lnTo>
                  <a:lnTo>
                    <a:pt x="215" y="3908"/>
                  </a:lnTo>
                  <a:lnTo>
                    <a:pt x="221" y="3907"/>
                  </a:lnTo>
                  <a:lnTo>
                    <a:pt x="229" y="3907"/>
                  </a:lnTo>
                  <a:lnTo>
                    <a:pt x="235" y="3908"/>
                  </a:lnTo>
                  <a:lnTo>
                    <a:pt x="243" y="3910"/>
                  </a:lnTo>
                  <a:lnTo>
                    <a:pt x="253" y="3913"/>
                  </a:lnTo>
                  <a:lnTo>
                    <a:pt x="264" y="3914"/>
                  </a:lnTo>
                  <a:lnTo>
                    <a:pt x="276" y="3914"/>
                  </a:lnTo>
                  <a:lnTo>
                    <a:pt x="289" y="3914"/>
                  </a:lnTo>
                  <a:lnTo>
                    <a:pt x="319" y="3912"/>
                  </a:lnTo>
                  <a:lnTo>
                    <a:pt x="347" y="3910"/>
                  </a:lnTo>
                  <a:lnTo>
                    <a:pt x="361" y="3909"/>
                  </a:lnTo>
                  <a:lnTo>
                    <a:pt x="374" y="3909"/>
                  </a:lnTo>
                  <a:lnTo>
                    <a:pt x="387" y="3910"/>
                  </a:lnTo>
                  <a:lnTo>
                    <a:pt x="397" y="3911"/>
                  </a:lnTo>
                  <a:lnTo>
                    <a:pt x="402" y="3913"/>
                  </a:lnTo>
                  <a:lnTo>
                    <a:pt x="406" y="3915"/>
                  </a:lnTo>
                  <a:lnTo>
                    <a:pt x="410" y="3918"/>
                  </a:lnTo>
                  <a:lnTo>
                    <a:pt x="414" y="3920"/>
                  </a:lnTo>
                  <a:lnTo>
                    <a:pt x="417" y="3923"/>
                  </a:lnTo>
                  <a:lnTo>
                    <a:pt x="419" y="3926"/>
                  </a:lnTo>
                  <a:lnTo>
                    <a:pt x="421" y="3931"/>
                  </a:lnTo>
                  <a:lnTo>
                    <a:pt x="422" y="3936"/>
                  </a:lnTo>
                  <a:lnTo>
                    <a:pt x="428" y="3964"/>
                  </a:lnTo>
                  <a:lnTo>
                    <a:pt x="435" y="4000"/>
                  </a:lnTo>
                  <a:lnTo>
                    <a:pt x="439" y="4018"/>
                  </a:lnTo>
                  <a:lnTo>
                    <a:pt x="446" y="4034"/>
                  </a:lnTo>
                  <a:lnTo>
                    <a:pt x="449" y="4041"/>
                  </a:lnTo>
                  <a:lnTo>
                    <a:pt x="452" y="4047"/>
                  </a:lnTo>
                  <a:lnTo>
                    <a:pt x="457" y="4053"/>
                  </a:lnTo>
                  <a:lnTo>
                    <a:pt x="461" y="4057"/>
                  </a:lnTo>
                  <a:lnTo>
                    <a:pt x="468" y="4058"/>
                  </a:lnTo>
                  <a:lnTo>
                    <a:pt x="479" y="4059"/>
                  </a:lnTo>
                  <a:lnTo>
                    <a:pt x="495" y="4059"/>
                  </a:lnTo>
                  <a:lnTo>
                    <a:pt x="512" y="4058"/>
                  </a:lnTo>
                  <a:lnTo>
                    <a:pt x="546" y="4056"/>
                  </a:lnTo>
                  <a:lnTo>
                    <a:pt x="569" y="4054"/>
                  </a:lnTo>
                  <a:lnTo>
                    <a:pt x="579" y="4053"/>
                  </a:lnTo>
                  <a:lnTo>
                    <a:pt x="589" y="4049"/>
                  </a:lnTo>
                  <a:lnTo>
                    <a:pt x="597" y="4045"/>
                  </a:lnTo>
                  <a:lnTo>
                    <a:pt x="606" y="4040"/>
                  </a:lnTo>
                  <a:lnTo>
                    <a:pt x="614" y="4033"/>
                  </a:lnTo>
                  <a:lnTo>
                    <a:pt x="623" y="4027"/>
                  </a:lnTo>
                  <a:lnTo>
                    <a:pt x="632" y="4018"/>
                  </a:lnTo>
                  <a:lnTo>
                    <a:pt x="639" y="4009"/>
                  </a:lnTo>
                  <a:lnTo>
                    <a:pt x="653" y="3990"/>
                  </a:lnTo>
                  <a:lnTo>
                    <a:pt x="665" y="3971"/>
                  </a:lnTo>
                  <a:lnTo>
                    <a:pt x="676" y="3952"/>
                  </a:lnTo>
                  <a:lnTo>
                    <a:pt x="684" y="3936"/>
                  </a:lnTo>
                  <a:lnTo>
                    <a:pt x="690" y="3924"/>
                  </a:lnTo>
                  <a:lnTo>
                    <a:pt x="697" y="3915"/>
                  </a:lnTo>
                  <a:lnTo>
                    <a:pt x="703" y="3908"/>
                  </a:lnTo>
                  <a:lnTo>
                    <a:pt x="712" y="3902"/>
                  </a:lnTo>
                  <a:lnTo>
                    <a:pt x="719" y="3899"/>
                  </a:lnTo>
                  <a:lnTo>
                    <a:pt x="729" y="3897"/>
                  </a:lnTo>
                  <a:lnTo>
                    <a:pt x="738" y="3896"/>
                  </a:lnTo>
                  <a:lnTo>
                    <a:pt x="747" y="3896"/>
                  </a:lnTo>
                  <a:lnTo>
                    <a:pt x="786" y="3902"/>
                  </a:lnTo>
                  <a:lnTo>
                    <a:pt x="823" y="3909"/>
                  </a:lnTo>
                  <a:lnTo>
                    <a:pt x="838" y="3917"/>
                  </a:lnTo>
                  <a:lnTo>
                    <a:pt x="850" y="3925"/>
                  </a:lnTo>
                  <a:lnTo>
                    <a:pt x="861" y="3934"/>
                  </a:lnTo>
                  <a:lnTo>
                    <a:pt x="872" y="3942"/>
                  </a:lnTo>
                  <a:lnTo>
                    <a:pt x="882" y="3950"/>
                  </a:lnTo>
                  <a:lnTo>
                    <a:pt x="895" y="3958"/>
                  </a:lnTo>
                  <a:lnTo>
                    <a:pt x="902" y="3960"/>
                  </a:lnTo>
                  <a:lnTo>
                    <a:pt x="909" y="3962"/>
                  </a:lnTo>
                  <a:lnTo>
                    <a:pt x="918" y="3964"/>
                  </a:lnTo>
                  <a:lnTo>
                    <a:pt x="927" y="3965"/>
                  </a:lnTo>
                  <a:lnTo>
                    <a:pt x="943" y="3965"/>
                  </a:lnTo>
                  <a:lnTo>
                    <a:pt x="956" y="3964"/>
                  </a:lnTo>
                  <a:lnTo>
                    <a:pt x="969" y="3961"/>
                  </a:lnTo>
                  <a:lnTo>
                    <a:pt x="980" y="3958"/>
                  </a:lnTo>
                  <a:lnTo>
                    <a:pt x="999" y="3948"/>
                  </a:lnTo>
                  <a:lnTo>
                    <a:pt x="1015" y="3939"/>
                  </a:lnTo>
                  <a:lnTo>
                    <a:pt x="1024" y="3936"/>
                  </a:lnTo>
                  <a:lnTo>
                    <a:pt x="1033" y="3935"/>
                  </a:lnTo>
                  <a:lnTo>
                    <a:pt x="1041" y="3935"/>
                  </a:lnTo>
                  <a:lnTo>
                    <a:pt x="1051" y="3937"/>
                  </a:lnTo>
                  <a:lnTo>
                    <a:pt x="1061" y="3941"/>
                  </a:lnTo>
                  <a:lnTo>
                    <a:pt x="1073" y="3949"/>
                  </a:lnTo>
                  <a:lnTo>
                    <a:pt x="1084" y="3960"/>
                  </a:lnTo>
                  <a:lnTo>
                    <a:pt x="1098" y="3975"/>
                  </a:lnTo>
                  <a:lnTo>
                    <a:pt x="1105" y="3981"/>
                  </a:lnTo>
                  <a:lnTo>
                    <a:pt x="1113" y="3987"/>
                  </a:lnTo>
                  <a:lnTo>
                    <a:pt x="1121" y="3991"/>
                  </a:lnTo>
                  <a:lnTo>
                    <a:pt x="1130" y="3995"/>
                  </a:lnTo>
                  <a:lnTo>
                    <a:pt x="1148" y="4001"/>
                  </a:lnTo>
                  <a:lnTo>
                    <a:pt x="1168" y="4006"/>
                  </a:lnTo>
                  <a:lnTo>
                    <a:pt x="1188" y="4012"/>
                  </a:lnTo>
                  <a:lnTo>
                    <a:pt x="1206" y="4019"/>
                  </a:lnTo>
                  <a:lnTo>
                    <a:pt x="1215" y="4023"/>
                  </a:lnTo>
                  <a:lnTo>
                    <a:pt x="1223" y="4029"/>
                  </a:lnTo>
                  <a:lnTo>
                    <a:pt x="1230" y="4035"/>
                  </a:lnTo>
                  <a:lnTo>
                    <a:pt x="1237" y="4043"/>
                  </a:lnTo>
                  <a:lnTo>
                    <a:pt x="1244" y="4053"/>
                  </a:lnTo>
                  <a:lnTo>
                    <a:pt x="1253" y="4061"/>
                  </a:lnTo>
                  <a:lnTo>
                    <a:pt x="1263" y="4070"/>
                  </a:lnTo>
                  <a:lnTo>
                    <a:pt x="1273" y="4077"/>
                  </a:lnTo>
                  <a:lnTo>
                    <a:pt x="1284" y="4084"/>
                  </a:lnTo>
                  <a:lnTo>
                    <a:pt x="1297" y="4090"/>
                  </a:lnTo>
                  <a:lnTo>
                    <a:pt x="1309" y="4096"/>
                  </a:lnTo>
                  <a:lnTo>
                    <a:pt x="1322" y="4100"/>
                  </a:lnTo>
                  <a:lnTo>
                    <a:pt x="1336" y="4104"/>
                  </a:lnTo>
                  <a:lnTo>
                    <a:pt x="1349" y="4107"/>
                  </a:lnTo>
                  <a:lnTo>
                    <a:pt x="1363" y="4109"/>
                  </a:lnTo>
                  <a:lnTo>
                    <a:pt x="1376" y="4110"/>
                  </a:lnTo>
                  <a:lnTo>
                    <a:pt x="1390" y="4109"/>
                  </a:lnTo>
                  <a:lnTo>
                    <a:pt x="1403" y="4107"/>
                  </a:lnTo>
                  <a:lnTo>
                    <a:pt x="1415" y="4104"/>
                  </a:lnTo>
                  <a:lnTo>
                    <a:pt x="1427" y="4100"/>
                  </a:lnTo>
                  <a:lnTo>
                    <a:pt x="1433" y="4097"/>
                  </a:lnTo>
                  <a:lnTo>
                    <a:pt x="1439" y="4093"/>
                  </a:lnTo>
                  <a:lnTo>
                    <a:pt x="1443" y="4088"/>
                  </a:lnTo>
                  <a:lnTo>
                    <a:pt x="1447" y="4083"/>
                  </a:lnTo>
                  <a:lnTo>
                    <a:pt x="1455" y="4072"/>
                  </a:lnTo>
                  <a:lnTo>
                    <a:pt x="1460" y="4060"/>
                  </a:lnTo>
                  <a:lnTo>
                    <a:pt x="1465" y="4047"/>
                  </a:lnTo>
                  <a:lnTo>
                    <a:pt x="1469" y="4033"/>
                  </a:lnTo>
                  <a:lnTo>
                    <a:pt x="1474" y="4020"/>
                  </a:lnTo>
                  <a:lnTo>
                    <a:pt x="1480" y="4008"/>
                  </a:lnTo>
                  <a:lnTo>
                    <a:pt x="1484" y="4003"/>
                  </a:lnTo>
                  <a:lnTo>
                    <a:pt x="1488" y="3999"/>
                  </a:lnTo>
                  <a:lnTo>
                    <a:pt x="1493" y="3994"/>
                  </a:lnTo>
                  <a:lnTo>
                    <a:pt x="1499" y="3991"/>
                  </a:lnTo>
                  <a:lnTo>
                    <a:pt x="1512" y="3985"/>
                  </a:lnTo>
                  <a:lnTo>
                    <a:pt x="1526" y="3979"/>
                  </a:lnTo>
                  <a:lnTo>
                    <a:pt x="1541" y="3976"/>
                  </a:lnTo>
                  <a:lnTo>
                    <a:pt x="1557" y="3973"/>
                  </a:lnTo>
                  <a:lnTo>
                    <a:pt x="1571" y="3972"/>
                  </a:lnTo>
                  <a:lnTo>
                    <a:pt x="1582" y="3972"/>
                  </a:lnTo>
                  <a:lnTo>
                    <a:pt x="1601" y="3974"/>
                  </a:lnTo>
                  <a:lnTo>
                    <a:pt x="1617" y="3978"/>
                  </a:lnTo>
                  <a:lnTo>
                    <a:pt x="1631" y="3983"/>
                  </a:lnTo>
                  <a:lnTo>
                    <a:pt x="1644" y="3990"/>
                  </a:lnTo>
                  <a:lnTo>
                    <a:pt x="1671" y="4004"/>
                  </a:lnTo>
                  <a:lnTo>
                    <a:pt x="1700" y="4019"/>
                  </a:lnTo>
                  <a:lnTo>
                    <a:pt x="1709" y="4021"/>
                  </a:lnTo>
                  <a:lnTo>
                    <a:pt x="1716" y="4023"/>
                  </a:lnTo>
                  <a:lnTo>
                    <a:pt x="1724" y="4025"/>
                  </a:lnTo>
                  <a:lnTo>
                    <a:pt x="1730" y="4026"/>
                  </a:lnTo>
                  <a:lnTo>
                    <a:pt x="1744" y="4025"/>
                  </a:lnTo>
                  <a:lnTo>
                    <a:pt x="1759" y="4023"/>
                  </a:lnTo>
                  <a:lnTo>
                    <a:pt x="1771" y="4021"/>
                  </a:lnTo>
                  <a:lnTo>
                    <a:pt x="1784" y="4019"/>
                  </a:lnTo>
                  <a:lnTo>
                    <a:pt x="1791" y="4019"/>
                  </a:lnTo>
                  <a:lnTo>
                    <a:pt x="1797" y="4019"/>
                  </a:lnTo>
                  <a:lnTo>
                    <a:pt x="1804" y="4019"/>
                  </a:lnTo>
                  <a:lnTo>
                    <a:pt x="1811" y="4021"/>
                  </a:lnTo>
                  <a:lnTo>
                    <a:pt x="1821" y="4023"/>
                  </a:lnTo>
                  <a:lnTo>
                    <a:pt x="1830" y="4028"/>
                  </a:lnTo>
                  <a:lnTo>
                    <a:pt x="1838" y="4032"/>
                  </a:lnTo>
                  <a:lnTo>
                    <a:pt x="1847" y="4037"/>
                  </a:lnTo>
                  <a:lnTo>
                    <a:pt x="1864" y="4047"/>
                  </a:lnTo>
                  <a:lnTo>
                    <a:pt x="1881" y="4057"/>
                  </a:lnTo>
                  <a:lnTo>
                    <a:pt x="1889" y="4061"/>
                  </a:lnTo>
                  <a:lnTo>
                    <a:pt x="1898" y="4064"/>
                  </a:lnTo>
                  <a:lnTo>
                    <a:pt x="1907" y="4067"/>
                  </a:lnTo>
                  <a:lnTo>
                    <a:pt x="1916" y="4069"/>
                  </a:lnTo>
                  <a:lnTo>
                    <a:pt x="1926" y="4068"/>
                  </a:lnTo>
                  <a:lnTo>
                    <a:pt x="1936" y="4066"/>
                  </a:lnTo>
                  <a:lnTo>
                    <a:pt x="1946" y="4062"/>
                  </a:lnTo>
                  <a:lnTo>
                    <a:pt x="1958" y="4057"/>
                  </a:lnTo>
                  <a:lnTo>
                    <a:pt x="1975" y="4047"/>
                  </a:lnTo>
                  <a:lnTo>
                    <a:pt x="1990" y="4039"/>
                  </a:lnTo>
                  <a:lnTo>
                    <a:pt x="2005" y="4032"/>
                  </a:lnTo>
                  <a:lnTo>
                    <a:pt x="2021" y="4026"/>
                  </a:lnTo>
                  <a:lnTo>
                    <a:pt x="2036" y="4021"/>
                  </a:lnTo>
                  <a:lnTo>
                    <a:pt x="2052" y="4019"/>
                  </a:lnTo>
                  <a:lnTo>
                    <a:pt x="2071" y="4017"/>
                  </a:lnTo>
                  <a:lnTo>
                    <a:pt x="2089" y="4018"/>
                  </a:lnTo>
                  <a:lnTo>
                    <a:pt x="2093" y="4018"/>
                  </a:lnTo>
                  <a:lnTo>
                    <a:pt x="2097" y="4019"/>
                  </a:lnTo>
                  <a:lnTo>
                    <a:pt x="2100" y="4021"/>
                  </a:lnTo>
                  <a:lnTo>
                    <a:pt x="2102" y="4023"/>
                  </a:lnTo>
                  <a:lnTo>
                    <a:pt x="2106" y="4029"/>
                  </a:lnTo>
                  <a:lnTo>
                    <a:pt x="2109" y="4035"/>
                  </a:lnTo>
                  <a:lnTo>
                    <a:pt x="2113" y="4052"/>
                  </a:lnTo>
                  <a:lnTo>
                    <a:pt x="2115" y="4071"/>
                  </a:lnTo>
                  <a:lnTo>
                    <a:pt x="2116" y="4081"/>
                  </a:lnTo>
                  <a:lnTo>
                    <a:pt x="2118" y="4090"/>
                  </a:lnTo>
                  <a:lnTo>
                    <a:pt x="2121" y="4100"/>
                  </a:lnTo>
                  <a:lnTo>
                    <a:pt x="2125" y="4109"/>
                  </a:lnTo>
                  <a:lnTo>
                    <a:pt x="2130" y="4116"/>
                  </a:lnTo>
                  <a:lnTo>
                    <a:pt x="2137" y="4123"/>
                  </a:lnTo>
                  <a:lnTo>
                    <a:pt x="2141" y="4126"/>
                  </a:lnTo>
                  <a:lnTo>
                    <a:pt x="2145" y="4128"/>
                  </a:lnTo>
                  <a:lnTo>
                    <a:pt x="2150" y="4130"/>
                  </a:lnTo>
                  <a:lnTo>
                    <a:pt x="2156" y="4133"/>
                  </a:lnTo>
                  <a:lnTo>
                    <a:pt x="2166" y="4135"/>
                  </a:lnTo>
                  <a:lnTo>
                    <a:pt x="2178" y="4136"/>
                  </a:lnTo>
                  <a:lnTo>
                    <a:pt x="2190" y="4137"/>
                  </a:lnTo>
                  <a:lnTo>
                    <a:pt x="2204" y="4137"/>
                  </a:lnTo>
                  <a:lnTo>
                    <a:pt x="2232" y="4136"/>
                  </a:lnTo>
                  <a:lnTo>
                    <a:pt x="2262" y="4134"/>
                  </a:lnTo>
                  <a:lnTo>
                    <a:pt x="2292" y="4130"/>
                  </a:lnTo>
                  <a:lnTo>
                    <a:pt x="2321" y="4128"/>
                  </a:lnTo>
                  <a:lnTo>
                    <a:pt x="2348" y="4127"/>
                  </a:lnTo>
                  <a:lnTo>
                    <a:pt x="2371" y="4127"/>
                  </a:lnTo>
                  <a:lnTo>
                    <a:pt x="2371" y="4127"/>
                  </a:lnTo>
                  <a:lnTo>
                    <a:pt x="2376" y="4121"/>
                  </a:lnTo>
                  <a:lnTo>
                    <a:pt x="2381" y="4113"/>
                  </a:lnTo>
                  <a:lnTo>
                    <a:pt x="2383" y="4107"/>
                  </a:lnTo>
                  <a:lnTo>
                    <a:pt x="2384" y="4099"/>
                  </a:lnTo>
                  <a:lnTo>
                    <a:pt x="2382" y="4081"/>
                  </a:lnTo>
                  <a:lnTo>
                    <a:pt x="2376" y="4054"/>
                  </a:lnTo>
                  <a:lnTo>
                    <a:pt x="2376" y="4046"/>
                  </a:lnTo>
                  <a:lnTo>
                    <a:pt x="2376" y="4037"/>
                  </a:lnTo>
                  <a:lnTo>
                    <a:pt x="2379" y="4030"/>
                  </a:lnTo>
                  <a:lnTo>
                    <a:pt x="2381" y="4021"/>
                  </a:lnTo>
                  <a:lnTo>
                    <a:pt x="2385" y="4014"/>
                  </a:lnTo>
                  <a:lnTo>
                    <a:pt x="2388" y="4006"/>
                  </a:lnTo>
                  <a:lnTo>
                    <a:pt x="2394" y="3998"/>
                  </a:lnTo>
                  <a:lnTo>
                    <a:pt x="2399" y="3990"/>
                  </a:lnTo>
                  <a:lnTo>
                    <a:pt x="2423" y="3960"/>
                  </a:lnTo>
                  <a:lnTo>
                    <a:pt x="2446" y="3933"/>
                  </a:lnTo>
                  <a:lnTo>
                    <a:pt x="2448" y="3929"/>
                  </a:lnTo>
                  <a:lnTo>
                    <a:pt x="2452" y="3926"/>
                  </a:lnTo>
                  <a:lnTo>
                    <a:pt x="2456" y="3924"/>
                  </a:lnTo>
                  <a:lnTo>
                    <a:pt x="2462" y="3923"/>
                  </a:lnTo>
                  <a:lnTo>
                    <a:pt x="2473" y="3920"/>
                  </a:lnTo>
                  <a:lnTo>
                    <a:pt x="2484" y="3918"/>
                  </a:lnTo>
                  <a:lnTo>
                    <a:pt x="2495" y="3917"/>
                  </a:lnTo>
                  <a:lnTo>
                    <a:pt x="2504" y="3914"/>
                  </a:lnTo>
                  <a:lnTo>
                    <a:pt x="2508" y="3912"/>
                  </a:lnTo>
                  <a:lnTo>
                    <a:pt x="2510" y="3911"/>
                  </a:lnTo>
                  <a:lnTo>
                    <a:pt x="2513" y="3909"/>
                  </a:lnTo>
                  <a:lnTo>
                    <a:pt x="2513" y="3906"/>
                  </a:lnTo>
                  <a:lnTo>
                    <a:pt x="2510" y="3842"/>
                  </a:lnTo>
                  <a:lnTo>
                    <a:pt x="2491" y="3842"/>
                  </a:lnTo>
                  <a:lnTo>
                    <a:pt x="2472" y="3843"/>
                  </a:lnTo>
                  <a:lnTo>
                    <a:pt x="2454" y="3844"/>
                  </a:lnTo>
                  <a:lnTo>
                    <a:pt x="2440" y="3842"/>
                  </a:lnTo>
                  <a:lnTo>
                    <a:pt x="2435" y="3840"/>
                  </a:lnTo>
                  <a:lnTo>
                    <a:pt x="2432" y="3838"/>
                  </a:lnTo>
                  <a:lnTo>
                    <a:pt x="2430" y="3836"/>
                  </a:lnTo>
                  <a:lnTo>
                    <a:pt x="2430" y="3833"/>
                  </a:lnTo>
                  <a:lnTo>
                    <a:pt x="2430" y="3831"/>
                  </a:lnTo>
                  <a:lnTo>
                    <a:pt x="2432" y="3828"/>
                  </a:lnTo>
                  <a:lnTo>
                    <a:pt x="2435" y="3821"/>
                  </a:lnTo>
                  <a:lnTo>
                    <a:pt x="2440" y="3814"/>
                  </a:lnTo>
                  <a:lnTo>
                    <a:pt x="2450" y="3804"/>
                  </a:lnTo>
                  <a:lnTo>
                    <a:pt x="2462" y="3792"/>
                  </a:lnTo>
                  <a:lnTo>
                    <a:pt x="2481" y="3786"/>
                  </a:lnTo>
                  <a:lnTo>
                    <a:pt x="2501" y="3782"/>
                  </a:lnTo>
                  <a:lnTo>
                    <a:pt x="2521" y="3778"/>
                  </a:lnTo>
                  <a:lnTo>
                    <a:pt x="2541" y="3774"/>
                  </a:lnTo>
                  <a:lnTo>
                    <a:pt x="2545" y="3773"/>
                  </a:lnTo>
                  <a:lnTo>
                    <a:pt x="2549" y="3771"/>
                  </a:lnTo>
                  <a:lnTo>
                    <a:pt x="2554" y="3767"/>
                  </a:lnTo>
                  <a:lnTo>
                    <a:pt x="2557" y="3764"/>
                  </a:lnTo>
                  <a:lnTo>
                    <a:pt x="2560" y="3760"/>
                  </a:lnTo>
                  <a:lnTo>
                    <a:pt x="2561" y="3757"/>
                  </a:lnTo>
                  <a:lnTo>
                    <a:pt x="2561" y="3755"/>
                  </a:lnTo>
                  <a:lnTo>
                    <a:pt x="2561" y="3752"/>
                  </a:lnTo>
                  <a:lnTo>
                    <a:pt x="2560" y="3750"/>
                  </a:lnTo>
                  <a:lnTo>
                    <a:pt x="2558" y="3749"/>
                  </a:lnTo>
                  <a:lnTo>
                    <a:pt x="2546" y="3742"/>
                  </a:lnTo>
                  <a:lnTo>
                    <a:pt x="2531" y="3735"/>
                  </a:lnTo>
                  <a:lnTo>
                    <a:pt x="2514" y="3729"/>
                  </a:lnTo>
                  <a:lnTo>
                    <a:pt x="2497" y="3721"/>
                  </a:lnTo>
                  <a:lnTo>
                    <a:pt x="2490" y="3718"/>
                  </a:lnTo>
                  <a:lnTo>
                    <a:pt x="2482" y="3713"/>
                  </a:lnTo>
                  <a:lnTo>
                    <a:pt x="2476" y="3709"/>
                  </a:lnTo>
                  <a:lnTo>
                    <a:pt x="2470" y="3704"/>
                  </a:lnTo>
                  <a:lnTo>
                    <a:pt x="2465" y="3698"/>
                  </a:lnTo>
                  <a:lnTo>
                    <a:pt x="2462" y="3693"/>
                  </a:lnTo>
                  <a:lnTo>
                    <a:pt x="2460" y="3686"/>
                  </a:lnTo>
                  <a:lnTo>
                    <a:pt x="2459" y="3679"/>
                  </a:lnTo>
                  <a:lnTo>
                    <a:pt x="2460" y="3658"/>
                  </a:lnTo>
                  <a:lnTo>
                    <a:pt x="2461" y="3631"/>
                  </a:lnTo>
                  <a:lnTo>
                    <a:pt x="2461" y="3618"/>
                  </a:lnTo>
                  <a:lnTo>
                    <a:pt x="2460" y="3607"/>
                  </a:lnTo>
                  <a:lnTo>
                    <a:pt x="2460" y="3601"/>
                  </a:lnTo>
                  <a:lnTo>
                    <a:pt x="2459" y="3596"/>
                  </a:lnTo>
                  <a:lnTo>
                    <a:pt x="2456" y="3591"/>
                  </a:lnTo>
                  <a:lnTo>
                    <a:pt x="2455" y="3588"/>
                  </a:lnTo>
                  <a:lnTo>
                    <a:pt x="2449" y="3582"/>
                  </a:lnTo>
                  <a:lnTo>
                    <a:pt x="2441" y="3576"/>
                  </a:lnTo>
                  <a:lnTo>
                    <a:pt x="2433" y="3573"/>
                  </a:lnTo>
                  <a:lnTo>
                    <a:pt x="2423" y="3570"/>
                  </a:lnTo>
                  <a:lnTo>
                    <a:pt x="2401" y="3567"/>
                  </a:lnTo>
                  <a:lnTo>
                    <a:pt x="2381" y="3563"/>
                  </a:lnTo>
                  <a:lnTo>
                    <a:pt x="2370" y="3561"/>
                  </a:lnTo>
                  <a:lnTo>
                    <a:pt x="2360" y="3559"/>
                  </a:lnTo>
                  <a:lnTo>
                    <a:pt x="2352" y="3555"/>
                  </a:lnTo>
                  <a:lnTo>
                    <a:pt x="2344" y="3549"/>
                  </a:lnTo>
                  <a:lnTo>
                    <a:pt x="2341" y="3547"/>
                  </a:lnTo>
                  <a:lnTo>
                    <a:pt x="2338" y="3543"/>
                  </a:lnTo>
                  <a:lnTo>
                    <a:pt x="2335" y="3540"/>
                  </a:lnTo>
                  <a:lnTo>
                    <a:pt x="2333" y="3535"/>
                  </a:lnTo>
                  <a:lnTo>
                    <a:pt x="2331" y="3530"/>
                  </a:lnTo>
                  <a:lnTo>
                    <a:pt x="2330" y="3524"/>
                  </a:lnTo>
                  <a:lnTo>
                    <a:pt x="2329" y="3518"/>
                  </a:lnTo>
                  <a:lnTo>
                    <a:pt x="2329" y="3512"/>
                  </a:lnTo>
                  <a:lnTo>
                    <a:pt x="2329" y="3504"/>
                  </a:lnTo>
                  <a:lnTo>
                    <a:pt x="2330" y="3497"/>
                  </a:lnTo>
                  <a:lnTo>
                    <a:pt x="2331" y="3492"/>
                  </a:lnTo>
                  <a:lnTo>
                    <a:pt x="2333" y="3487"/>
                  </a:lnTo>
                  <a:lnTo>
                    <a:pt x="2335" y="3481"/>
                  </a:lnTo>
                  <a:lnTo>
                    <a:pt x="2339" y="3477"/>
                  </a:lnTo>
                  <a:lnTo>
                    <a:pt x="2342" y="3474"/>
                  </a:lnTo>
                  <a:lnTo>
                    <a:pt x="2346" y="3469"/>
                  </a:lnTo>
                  <a:lnTo>
                    <a:pt x="2354" y="3464"/>
                  </a:lnTo>
                  <a:lnTo>
                    <a:pt x="2363" y="3459"/>
                  </a:lnTo>
                  <a:lnTo>
                    <a:pt x="2373" y="3455"/>
                  </a:lnTo>
                  <a:lnTo>
                    <a:pt x="2383" y="3452"/>
                  </a:lnTo>
                  <a:lnTo>
                    <a:pt x="2402" y="3446"/>
                  </a:lnTo>
                  <a:lnTo>
                    <a:pt x="2417" y="3439"/>
                  </a:lnTo>
                  <a:lnTo>
                    <a:pt x="2423" y="3435"/>
                  </a:lnTo>
                  <a:lnTo>
                    <a:pt x="2427" y="3428"/>
                  </a:lnTo>
                  <a:lnTo>
                    <a:pt x="2428" y="3425"/>
                  </a:lnTo>
                  <a:lnTo>
                    <a:pt x="2429" y="3422"/>
                  </a:lnTo>
                  <a:lnTo>
                    <a:pt x="2428" y="3418"/>
                  </a:lnTo>
                  <a:lnTo>
                    <a:pt x="2428" y="3413"/>
                  </a:lnTo>
                  <a:lnTo>
                    <a:pt x="2425" y="3407"/>
                  </a:lnTo>
                  <a:lnTo>
                    <a:pt x="2420" y="3400"/>
                  </a:lnTo>
                  <a:lnTo>
                    <a:pt x="2413" y="3394"/>
                  </a:lnTo>
                  <a:lnTo>
                    <a:pt x="2407" y="3387"/>
                  </a:lnTo>
                  <a:lnTo>
                    <a:pt x="2405" y="3384"/>
                  </a:lnTo>
                  <a:lnTo>
                    <a:pt x="2402" y="3381"/>
                  </a:lnTo>
                  <a:lnTo>
                    <a:pt x="2401" y="3377"/>
                  </a:lnTo>
                  <a:lnTo>
                    <a:pt x="2401" y="3373"/>
                  </a:lnTo>
                  <a:lnTo>
                    <a:pt x="2402" y="3370"/>
                  </a:lnTo>
                  <a:lnTo>
                    <a:pt x="2405" y="3366"/>
                  </a:lnTo>
                  <a:lnTo>
                    <a:pt x="2409" y="3361"/>
                  </a:lnTo>
                  <a:lnTo>
                    <a:pt x="2414" y="3358"/>
                  </a:lnTo>
                  <a:lnTo>
                    <a:pt x="2423" y="3352"/>
                  </a:lnTo>
                  <a:lnTo>
                    <a:pt x="2432" y="3344"/>
                  </a:lnTo>
                  <a:lnTo>
                    <a:pt x="2439" y="3337"/>
                  </a:lnTo>
                  <a:lnTo>
                    <a:pt x="2447" y="3328"/>
                  </a:lnTo>
                  <a:lnTo>
                    <a:pt x="2451" y="3318"/>
                  </a:lnTo>
                  <a:lnTo>
                    <a:pt x="2454" y="3308"/>
                  </a:lnTo>
                  <a:lnTo>
                    <a:pt x="2455" y="3303"/>
                  </a:lnTo>
                  <a:lnTo>
                    <a:pt x="2455" y="3298"/>
                  </a:lnTo>
                  <a:lnTo>
                    <a:pt x="2455" y="3292"/>
                  </a:lnTo>
                  <a:lnTo>
                    <a:pt x="2454" y="3287"/>
                  </a:lnTo>
                  <a:lnTo>
                    <a:pt x="2452" y="3279"/>
                  </a:lnTo>
                  <a:lnTo>
                    <a:pt x="2449" y="3273"/>
                  </a:lnTo>
                  <a:lnTo>
                    <a:pt x="2446" y="3267"/>
                  </a:lnTo>
                  <a:lnTo>
                    <a:pt x="2441" y="3262"/>
                  </a:lnTo>
                  <a:lnTo>
                    <a:pt x="2435" y="3253"/>
                  </a:lnTo>
                  <a:lnTo>
                    <a:pt x="2430" y="3246"/>
                  </a:lnTo>
                  <a:lnTo>
                    <a:pt x="2429" y="3244"/>
                  </a:lnTo>
                  <a:lnTo>
                    <a:pt x="2429" y="3242"/>
                  </a:lnTo>
                  <a:lnTo>
                    <a:pt x="2430" y="3239"/>
                  </a:lnTo>
                  <a:lnTo>
                    <a:pt x="2434" y="3238"/>
                  </a:lnTo>
                  <a:lnTo>
                    <a:pt x="2445" y="3236"/>
                  </a:lnTo>
                  <a:lnTo>
                    <a:pt x="2465" y="3235"/>
                  </a:lnTo>
                  <a:lnTo>
                    <a:pt x="2466" y="3226"/>
                  </a:lnTo>
                  <a:lnTo>
                    <a:pt x="2466" y="3220"/>
                  </a:lnTo>
                  <a:lnTo>
                    <a:pt x="2464" y="3213"/>
                  </a:lnTo>
                  <a:lnTo>
                    <a:pt x="2462" y="3204"/>
                  </a:lnTo>
                  <a:lnTo>
                    <a:pt x="2454" y="3193"/>
                  </a:lnTo>
                  <a:lnTo>
                    <a:pt x="2448" y="3185"/>
                  </a:lnTo>
                  <a:lnTo>
                    <a:pt x="2440" y="3179"/>
                  </a:lnTo>
                  <a:lnTo>
                    <a:pt x="2433" y="3175"/>
                  </a:lnTo>
                  <a:lnTo>
                    <a:pt x="2425" y="3171"/>
                  </a:lnTo>
                  <a:lnTo>
                    <a:pt x="2415" y="3170"/>
                  </a:lnTo>
                  <a:lnTo>
                    <a:pt x="2405" y="3170"/>
                  </a:lnTo>
                  <a:lnTo>
                    <a:pt x="2390" y="3171"/>
                  </a:lnTo>
                  <a:lnTo>
                    <a:pt x="2385" y="3171"/>
                  </a:lnTo>
                  <a:lnTo>
                    <a:pt x="2379" y="3171"/>
                  </a:lnTo>
                  <a:lnTo>
                    <a:pt x="2373" y="3170"/>
                  </a:lnTo>
                  <a:lnTo>
                    <a:pt x="2368" y="3168"/>
                  </a:lnTo>
                  <a:lnTo>
                    <a:pt x="2359" y="3163"/>
                  </a:lnTo>
                  <a:lnTo>
                    <a:pt x="2351" y="3156"/>
                  </a:lnTo>
                  <a:lnTo>
                    <a:pt x="2335" y="3139"/>
                  </a:lnTo>
                  <a:lnTo>
                    <a:pt x="2322" y="3121"/>
                  </a:lnTo>
                  <a:lnTo>
                    <a:pt x="2317" y="3113"/>
                  </a:lnTo>
                  <a:lnTo>
                    <a:pt x="2309" y="3107"/>
                  </a:lnTo>
                  <a:lnTo>
                    <a:pt x="2302" y="3102"/>
                  </a:lnTo>
                  <a:lnTo>
                    <a:pt x="2294" y="3098"/>
                  </a:lnTo>
                  <a:lnTo>
                    <a:pt x="2287" y="3096"/>
                  </a:lnTo>
                  <a:lnTo>
                    <a:pt x="2278" y="3094"/>
                  </a:lnTo>
                  <a:lnTo>
                    <a:pt x="2268" y="3091"/>
                  </a:lnTo>
                  <a:lnTo>
                    <a:pt x="2260" y="3090"/>
                  </a:lnTo>
                  <a:lnTo>
                    <a:pt x="2255" y="3092"/>
                  </a:lnTo>
                  <a:lnTo>
                    <a:pt x="2251" y="3094"/>
                  </a:lnTo>
                  <a:lnTo>
                    <a:pt x="2248" y="3094"/>
                  </a:lnTo>
                  <a:lnTo>
                    <a:pt x="2244" y="3092"/>
                  </a:lnTo>
                  <a:lnTo>
                    <a:pt x="2240" y="3091"/>
                  </a:lnTo>
                  <a:lnTo>
                    <a:pt x="2236" y="3088"/>
                  </a:lnTo>
                  <a:lnTo>
                    <a:pt x="2233" y="3085"/>
                  </a:lnTo>
                  <a:lnTo>
                    <a:pt x="2230" y="3081"/>
                  </a:lnTo>
                  <a:lnTo>
                    <a:pt x="2223" y="3071"/>
                  </a:lnTo>
                  <a:lnTo>
                    <a:pt x="2217" y="3059"/>
                  </a:lnTo>
                  <a:lnTo>
                    <a:pt x="2211" y="3046"/>
                  </a:lnTo>
                  <a:lnTo>
                    <a:pt x="2206" y="3031"/>
                  </a:lnTo>
                  <a:lnTo>
                    <a:pt x="2196" y="3000"/>
                  </a:lnTo>
                  <a:lnTo>
                    <a:pt x="2188" y="2969"/>
                  </a:lnTo>
                  <a:lnTo>
                    <a:pt x="2181" y="2945"/>
                  </a:lnTo>
                  <a:lnTo>
                    <a:pt x="2176" y="2927"/>
                  </a:lnTo>
                  <a:lnTo>
                    <a:pt x="2168" y="2912"/>
                  </a:lnTo>
                  <a:lnTo>
                    <a:pt x="2159" y="2896"/>
                  </a:lnTo>
                  <a:lnTo>
                    <a:pt x="2155" y="2888"/>
                  </a:lnTo>
                  <a:lnTo>
                    <a:pt x="2151" y="2881"/>
                  </a:lnTo>
                  <a:lnTo>
                    <a:pt x="2147" y="2873"/>
                  </a:lnTo>
                  <a:lnTo>
                    <a:pt x="2145" y="2866"/>
                  </a:lnTo>
                  <a:lnTo>
                    <a:pt x="2141" y="2841"/>
                  </a:lnTo>
                  <a:lnTo>
                    <a:pt x="2140" y="2816"/>
                  </a:lnTo>
                  <a:lnTo>
                    <a:pt x="2139" y="2803"/>
                  </a:lnTo>
                  <a:lnTo>
                    <a:pt x="2137" y="2791"/>
                  </a:lnTo>
                  <a:lnTo>
                    <a:pt x="2132" y="2779"/>
                  </a:lnTo>
                  <a:lnTo>
                    <a:pt x="2127" y="2767"/>
                  </a:lnTo>
                  <a:lnTo>
                    <a:pt x="2119" y="2751"/>
                  </a:lnTo>
                  <a:lnTo>
                    <a:pt x="2112" y="2733"/>
                  </a:lnTo>
                  <a:lnTo>
                    <a:pt x="2105" y="2713"/>
                  </a:lnTo>
                  <a:lnTo>
                    <a:pt x="2100" y="2694"/>
                  </a:lnTo>
                  <a:lnTo>
                    <a:pt x="2091" y="2655"/>
                  </a:lnTo>
                  <a:lnTo>
                    <a:pt x="2083" y="2617"/>
                  </a:lnTo>
                  <a:lnTo>
                    <a:pt x="2073" y="2598"/>
                  </a:lnTo>
                  <a:lnTo>
                    <a:pt x="2063" y="2577"/>
                  </a:lnTo>
                  <a:lnTo>
                    <a:pt x="2056" y="2557"/>
                  </a:lnTo>
                  <a:lnTo>
                    <a:pt x="2048" y="2534"/>
                  </a:lnTo>
                  <a:lnTo>
                    <a:pt x="2042" y="2513"/>
                  </a:lnTo>
                  <a:lnTo>
                    <a:pt x="2036" y="2490"/>
                  </a:lnTo>
                  <a:lnTo>
                    <a:pt x="2032" y="2467"/>
                  </a:lnTo>
                  <a:lnTo>
                    <a:pt x="2029" y="2446"/>
                  </a:lnTo>
                  <a:lnTo>
                    <a:pt x="2026" y="2424"/>
                  </a:lnTo>
                  <a:lnTo>
                    <a:pt x="2025" y="2405"/>
                  </a:lnTo>
                  <a:lnTo>
                    <a:pt x="2025" y="2395"/>
                  </a:lnTo>
                  <a:lnTo>
                    <a:pt x="2026" y="2386"/>
                  </a:lnTo>
                  <a:lnTo>
                    <a:pt x="2028" y="2378"/>
                  </a:lnTo>
                  <a:lnTo>
                    <a:pt x="2030" y="2369"/>
                  </a:lnTo>
                  <a:lnTo>
                    <a:pt x="2032" y="2361"/>
                  </a:lnTo>
                  <a:lnTo>
                    <a:pt x="2035" y="2354"/>
                  </a:lnTo>
                  <a:lnTo>
                    <a:pt x="2039" y="2346"/>
                  </a:lnTo>
                  <a:lnTo>
                    <a:pt x="2044" y="2339"/>
                  </a:lnTo>
                  <a:lnTo>
                    <a:pt x="2050" y="2332"/>
                  </a:lnTo>
                  <a:lnTo>
                    <a:pt x="2057" y="2325"/>
                  </a:lnTo>
                  <a:lnTo>
                    <a:pt x="2065" y="2318"/>
                  </a:lnTo>
                  <a:lnTo>
                    <a:pt x="2075" y="2312"/>
                  </a:lnTo>
                  <a:lnTo>
                    <a:pt x="2079" y="2307"/>
                  </a:lnTo>
                  <a:lnTo>
                    <a:pt x="2084" y="2303"/>
                  </a:lnTo>
                  <a:lnTo>
                    <a:pt x="2087" y="2299"/>
                  </a:lnTo>
                  <a:lnTo>
                    <a:pt x="2090" y="2293"/>
                  </a:lnTo>
                  <a:lnTo>
                    <a:pt x="2094" y="2280"/>
                  </a:lnTo>
                  <a:lnTo>
                    <a:pt x="2097" y="2267"/>
                  </a:lnTo>
                  <a:lnTo>
                    <a:pt x="2099" y="2254"/>
                  </a:lnTo>
                  <a:lnTo>
                    <a:pt x="2101" y="2240"/>
                  </a:lnTo>
                  <a:lnTo>
                    <a:pt x="2103" y="2227"/>
                  </a:lnTo>
                  <a:lnTo>
                    <a:pt x="2106" y="2217"/>
                  </a:lnTo>
                  <a:lnTo>
                    <a:pt x="2113" y="2204"/>
                  </a:lnTo>
                  <a:lnTo>
                    <a:pt x="2119" y="2191"/>
                  </a:lnTo>
                  <a:lnTo>
                    <a:pt x="2123" y="2183"/>
                  </a:lnTo>
                  <a:lnTo>
                    <a:pt x="2125" y="2177"/>
                  </a:lnTo>
                  <a:lnTo>
                    <a:pt x="2126" y="2170"/>
                  </a:lnTo>
                  <a:lnTo>
                    <a:pt x="2127" y="2164"/>
                  </a:lnTo>
                  <a:lnTo>
                    <a:pt x="2126" y="2159"/>
                  </a:lnTo>
                  <a:lnTo>
                    <a:pt x="2123" y="2156"/>
                  </a:lnTo>
                  <a:lnTo>
                    <a:pt x="2117" y="2152"/>
                  </a:lnTo>
                  <a:lnTo>
                    <a:pt x="2112" y="2149"/>
                  </a:lnTo>
                  <a:lnTo>
                    <a:pt x="2105" y="2144"/>
                  </a:lnTo>
                  <a:lnTo>
                    <a:pt x="2100" y="2140"/>
                  </a:lnTo>
                  <a:lnTo>
                    <a:pt x="2094" y="2136"/>
                  </a:lnTo>
                  <a:lnTo>
                    <a:pt x="2092" y="2130"/>
                  </a:lnTo>
                  <a:lnTo>
                    <a:pt x="2088" y="2120"/>
                  </a:lnTo>
                  <a:lnTo>
                    <a:pt x="2086" y="2112"/>
                  </a:lnTo>
                  <a:lnTo>
                    <a:pt x="2084" y="2102"/>
                  </a:lnTo>
                  <a:lnTo>
                    <a:pt x="2083" y="2092"/>
                  </a:lnTo>
                  <a:lnTo>
                    <a:pt x="2080" y="2073"/>
                  </a:lnTo>
                  <a:lnTo>
                    <a:pt x="2079" y="2052"/>
                  </a:lnTo>
                  <a:lnTo>
                    <a:pt x="2082" y="2008"/>
                  </a:lnTo>
                  <a:lnTo>
                    <a:pt x="2082" y="2005"/>
                  </a:lnTo>
                  <a:lnTo>
                    <a:pt x="2080" y="2003"/>
                  </a:lnTo>
                  <a:lnTo>
                    <a:pt x="2079" y="2002"/>
                  </a:lnTo>
                  <a:lnTo>
                    <a:pt x="2077" y="2001"/>
                  </a:lnTo>
                  <a:lnTo>
                    <a:pt x="2072" y="1998"/>
                  </a:lnTo>
                  <a:lnTo>
                    <a:pt x="2066" y="1997"/>
                  </a:lnTo>
                  <a:lnTo>
                    <a:pt x="2060" y="1997"/>
                  </a:lnTo>
                  <a:lnTo>
                    <a:pt x="2052" y="1996"/>
                  </a:lnTo>
                  <a:lnTo>
                    <a:pt x="2047" y="1995"/>
                  </a:lnTo>
                  <a:lnTo>
                    <a:pt x="2042" y="1993"/>
                  </a:lnTo>
                  <a:lnTo>
                    <a:pt x="2035" y="1990"/>
                  </a:lnTo>
                  <a:lnTo>
                    <a:pt x="2030" y="1988"/>
                  </a:lnTo>
                  <a:lnTo>
                    <a:pt x="2024" y="1988"/>
                  </a:lnTo>
                  <a:lnTo>
                    <a:pt x="2019" y="1989"/>
                  </a:lnTo>
                  <a:lnTo>
                    <a:pt x="2010" y="1994"/>
                  </a:lnTo>
                  <a:lnTo>
                    <a:pt x="2002" y="2002"/>
                  </a:lnTo>
                  <a:lnTo>
                    <a:pt x="1997" y="2005"/>
                  </a:lnTo>
                  <a:lnTo>
                    <a:pt x="1993" y="2007"/>
                  </a:lnTo>
                  <a:lnTo>
                    <a:pt x="1988" y="2009"/>
                  </a:lnTo>
                  <a:lnTo>
                    <a:pt x="1982" y="2009"/>
                  </a:lnTo>
                  <a:lnTo>
                    <a:pt x="1977" y="2008"/>
                  </a:lnTo>
                  <a:lnTo>
                    <a:pt x="1970" y="2005"/>
                  </a:lnTo>
                  <a:lnTo>
                    <a:pt x="1963" y="2001"/>
                  </a:lnTo>
                  <a:lnTo>
                    <a:pt x="1954" y="1993"/>
                  </a:lnTo>
                  <a:lnTo>
                    <a:pt x="1948" y="1984"/>
                  </a:lnTo>
                  <a:lnTo>
                    <a:pt x="1940" y="1976"/>
                  </a:lnTo>
                  <a:lnTo>
                    <a:pt x="1934" y="1967"/>
                  </a:lnTo>
                  <a:lnTo>
                    <a:pt x="1928" y="1957"/>
                  </a:lnTo>
                  <a:lnTo>
                    <a:pt x="1924" y="1948"/>
                  </a:lnTo>
                  <a:lnTo>
                    <a:pt x="1919" y="1938"/>
                  </a:lnTo>
                  <a:lnTo>
                    <a:pt x="1918" y="1927"/>
                  </a:lnTo>
                  <a:lnTo>
                    <a:pt x="1917" y="1916"/>
                  </a:lnTo>
                  <a:lnTo>
                    <a:pt x="1918" y="1903"/>
                  </a:lnTo>
                  <a:lnTo>
                    <a:pt x="1923" y="1890"/>
                  </a:lnTo>
                  <a:lnTo>
                    <a:pt x="1928" y="1876"/>
                  </a:lnTo>
                  <a:lnTo>
                    <a:pt x="1935" y="1862"/>
                  </a:lnTo>
                  <a:lnTo>
                    <a:pt x="1949" y="1836"/>
                  </a:lnTo>
                  <a:lnTo>
                    <a:pt x="1963" y="1813"/>
                  </a:lnTo>
                  <a:lnTo>
                    <a:pt x="1970" y="1799"/>
                  </a:lnTo>
                  <a:lnTo>
                    <a:pt x="1976" y="1788"/>
                  </a:lnTo>
                  <a:lnTo>
                    <a:pt x="1978" y="1780"/>
                  </a:lnTo>
                  <a:lnTo>
                    <a:pt x="1978" y="1774"/>
                  </a:lnTo>
                  <a:lnTo>
                    <a:pt x="1977" y="1771"/>
                  </a:lnTo>
                  <a:lnTo>
                    <a:pt x="1973" y="1768"/>
                  </a:lnTo>
                  <a:lnTo>
                    <a:pt x="1969" y="1767"/>
                  </a:lnTo>
                  <a:lnTo>
                    <a:pt x="1965" y="1767"/>
                  </a:lnTo>
                  <a:lnTo>
                    <a:pt x="1959" y="1767"/>
                  </a:lnTo>
                  <a:lnTo>
                    <a:pt x="1955" y="1766"/>
                  </a:lnTo>
                  <a:lnTo>
                    <a:pt x="1951" y="1765"/>
                  </a:lnTo>
                  <a:lnTo>
                    <a:pt x="1948" y="1763"/>
                  </a:lnTo>
                  <a:lnTo>
                    <a:pt x="1945" y="1759"/>
                  </a:lnTo>
                  <a:lnTo>
                    <a:pt x="1944" y="1752"/>
                  </a:lnTo>
                  <a:lnTo>
                    <a:pt x="1946" y="1744"/>
                  </a:lnTo>
                  <a:lnTo>
                    <a:pt x="1951" y="1733"/>
                  </a:lnTo>
                  <a:lnTo>
                    <a:pt x="1956" y="1719"/>
                  </a:lnTo>
                  <a:lnTo>
                    <a:pt x="1958" y="1710"/>
                  </a:lnTo>
                  <a:lnTo>
                    <a:pt x="1959" y="1704"/>
                  </a:lnTo>
                  <a:lnTo>
                    <a:pt x="1959" y="1699"/>
                  </a:lnTo>
                  <a:lnTo>
                    <a:pt x="1957" y="1695"/>
                  </a:lnTo>
                  <a:lnTo>
                    <a:pt x="1956" y="1690"/>
                  </a:lnTo>
                  <a:lnTo>
                    <a:pt x="1954" y="1681"/>
                  </a:lnTo>
                  <a:lnTo>
                    <a:pt x="1954" y="1669"/>
                  </a:lnTo>
                  <a:lnTo>
                    <a:pt x="1955" y="1657"/>
                  </a:lnTo>
                  <a:lnTo>
                    <a:pt x="1957" y="1646"/>
                  </a:lnTo>
                  <a:lnTo>
                    <a:pt x="1961" y="1634"/>
                  </a:lnTo>
                  <a:lnTo>
                    <a:pt x="1965" y="1624"/>
                  </a:lnTo>
                  <a:lnTo>
                    <a:pt x="1973" y="1601"/>
                  </a:lnTo>
                  <a:lnTo>
                    <a:pt x="1982" y="1578"/>
                  </a:lnTo>
                  <a:lnTo>
                    <a:pt x="1984" y="1572"/>
                  </a:lnTo>
                  <a:lnTo>
                    <a:pt x="1989" y="1562"/>
                  </a:lnTo>
                  <a:lnTo>
                    <a:pt x="1991" y="1557"/>
                  </a:lnTo>
                  <a:lnTo>
                    <a:pt x="1992" y="1552"/>
                  </a:lnTo>
                  <a:lnTo>
                    <a:pt x="1992" y="1549"/>
                  </a:lnTo>
                  <a:lnTo>
                    <a:pt x="1990" y="1547"/>
                  </a:lnTo>
                  <a:lnTo>
                    <a:pt x="1990" y="1546"/>
                  </a:lnTo>
                  <a:lnTo>
                    <a:pt x="1970" y="1543"/>
                  </a:lnTo>
                  <a:lnTo>
                    <a:pt x="1951" y="1542"/>
                  </a:lnTo>
                  <a:lnTo>
                    <a:pt x="1941" y="1542"/>
                  </a:lnTo>
                  <a:lnTo>
                    <a:pt x="1932" y="1541"/>
                  </a:lnTo>
                  <a:lnTo>
                    <a:pt x="1922" y="1538"/>
                  </a:lnTo>
                  <a:lnTo>
                    <a:pt x="1912" y="1535"/>
                  </a:lnTo>
                  <a:lnTo>
                    <a:pt x="1903" y="1533"/>
                  </a:lnTo>
                  <a:lnTo>
                    <a:pt x="1894" y="1530"/>
                  </a:lnTo>
                  <a:lnTo>
                    <a:pt x="1884" y="1524"/>
                  </a:lnTo>
                  <a:lnTo>
                    <a:pt x="1873" y="1519"/>
                  </a:lnTo>
                  <a:lnTo>
                    <a:pt x="1864" y="1514"/>
                  </a:lnTo>
                  <a:lnTo>
                    <a:pt x="1855" y="1509"/>
                  </a:lnTo>
                  <a:lnTo>
                    <a:pt x="1847" y="1506"/>
                  </a:lnTo>
                  <a:lnTo>
                    <a:pt x="1840" y="1504"/>
                  </a:lnTo>
                  <a:lnTo>
                    <a:pt x="1834" y="1515"/>
                  </a:lnTo>
                  <a:lnTo>
                    <a:pt x="1829" y="1526"/>
                  </a:lnTo>
                  <a:lnTo>
                    <a:pt x="1822" y="1538"/>
                  </a:lnTo>
                  <a:lnTo>
                    <a:pt x="1815" y="1548"/>
                  </a:lnTo>
                  <a:lnTo>
                    <a:pt x="1810" y="1553"/>
                  </a:lnTo>
                  <a:lnTo>
                    <a:pt x="1806" y="1557"/>
                  </a:lnTo>
                  <a:lnTo>
                    <a:pt x="1801" y="1560"/>
                  </a:lnTo>
                  <a:lnTo>
                    <a:pt x="1795" y="1562"/>
                  </a:lnTo>
                  <a:lnTo>
                    <a:pt x="1790" y="1563"/>
                  </a:lnTo>
                  <a:lnTo>
                    <a:pt x="1783" y="1563"/>
                  </a:lnTo>
                  <a:lnTo>
                    <a:pt x="1776" y="1561"/>
                  </a:lnTo>
                  <a:lnTo>
                    <a:pt x="1769" y="1559"/>
                  </a:lnTo>
                  <a:lnTo>
                    <a:pt x="1764" y="1556"/>
                  </a:lnTo>
                  <a:lnTo>
                    <a:pt x="1759" y="1552"/>
                  </a:lnTo>
                  <a:lnTo>
                    <a:pt x="1755" y="1548"/>
                  </a:lnTo>
                  <a:lnTo>
                    <a:pt x="1752" y="1545"/>
                  </a:lnTo>
                  <a:lnTo>
                    <a:pt x="1748" y="1537"/>
                  </a:lnTo>
                  <a:lnTo>
                    <a:pt x="1746" y="1529"/>
                  </a:lnTo>
                  <a:lnTo>
                    <a:pt x="1743" y="1509"/>
                  </a:lnTo>
                  <a:lnTo>
                    <a:pt x="1740" y="1490"/>
                  </a:lnTo>
                  <a:lnTo>
                    <a:pt x="1738" y="1484"/>
                  </a:lnTo>
                  <a:lnTo>
                    <a:pt x="1736" y="1481"/>
                  </a:lnTo>
                  <a:lnTo>
                    <a:pt x="1734" y="1478"/>
                  </a:lnTo>
                  <a:lnTo>
                    <a:pt x="1730" y="1475"/>
                  </a:lnTo>
                  <a:lnTo>
                    <a:pt x="1723" y="1471"/>
                  </a:lnTo>
                  <a:lnTo>
                    <a:pt x="1714" y="1469"/>
                  </a:lnTo>
                  <a:lnTo>
                    <a:pt x="1697" y="1467"/>
                  </a:lnTo>
                  <a:lnTo>
                    <a:pt x="1682" y="1463"/>
                  </a:lnTo>
                  <a:lnTo>
                    <a:pt x="1683" y="1457"/>
                  </a:lnTo>
                  <a:lnTo>
                    <a:pt x="1684" y="1452"/>
                  </a:lnTo>
                  <a:lnTo>
                    <a:pt x="1687" y="1447"/>
                  </a:lnTo>
                  <a:lnTo>
                    <a:pt x="1690" y="1440"/>
                  </a:lnTo>
                  <a:lnTo>
                    <a:pt x="1699" y="1429"/>
                  </a:lnTo>
                  <a:lnTo>
                    <a:pt x="1711" y="1418"/>
                  </a:lnTo>
                  <a:lnTo>
                    <a:pt x="1735" y="1399"/>
                  </a:lnTo>
                  <a:lnTo>
                    <a:pt x="1754" y="1385"/>
                  </a:lnTo>
                  <a:lnTo>
                    <a:pt x="1768" y="1375"/>
                  </a:lnTo>
                  <a:lnTo>
                    <a:pt x="1782" y="1368"/>
                  </a:lnTo>
                  <a:lnTo>
                    <a:pt x="1795" y="1361"/>
                  </a:lnTo>
                  <a:lnTo>
                    <a:pt x="1808" y="1357"/>
                  </a:lnTo>
                  <a:lnTo>
                    <a:pt x="1835" y="1348"/>
                  </a:lnTo>
                  <a:lnTo>
                    <a:pt x="1867" y="1341"/>
                  </a:lnTo>
                  <a:lnTo>
                    <a:pt x="1865" y="1339"/>
                  </a:lnTo>
                  <a:lnTo>
                    <a:pt x="1863" y="1335"/>
                  </a:lnTo>
                  <a:lnTo>
                    <a:pt x="1861" y="1332"/>
                  </a:lnTo>
                  <a:lnTo>
                    <a:pt x="1857" y="1329"/>
                  </a:lnTo>
                  <a:lnTo>
                    <a:pt x="1847" y="1321"/>
                  </a:lnTo>
                  <a:lnTo>
                    <a:pt x="1835" y="1313"/>
                  </a:lnTo>
                  <a:lnTo>
                    <a:pt x="1813" y="1295"/>
                  </a:lnTo>
                  <a:lnTo>
                    <a:pt x="1796" y="1282"/>
                  </a:lnTo>
                  <a:lnTo>
                    <a:pt x="1792" y="1278"/>
                  </a:lnTo>
                  <a:lnTo>
                    <a:pt x="1789" y="1273"/>
                  </a:lnTo>
                  <a:lnTo>
                    <a:pt x="1787" y="1267"/>
                  </a:lnTo>
                  <a:lnTo>
                    <a:pt x="1784" y="1262"/>
                  </a:lnTo>
                  <a:lnTo>
                    <a:pt x="1781" y="1251"/>
                  </a:lnTo>
                  <a:lnTo>
                    <a:pt x="1779" y="1241"/>
                  </a:lnTo>
                  <a:lnTo>
                    <a:pt x="1777" y="1232"/>
                  </a:lnTo>
                  <a:lnTo>
                    <a:pt x="1771" y="1223"/>
                  </a:lnTo>
                  <a:lnTo>
                    <a:pt x="1768" y="1220"/>
                  </a:lnTo>
                  <a:lnTo>
                    <a:pt x="1764" y="1217"/>
                  </a:lnTo>
                  <a:lnTo>
                    <a:pt x="1759" y="1213"/>
                  </a:lnTo>
                  <a:lnTo>
                    <a:pt x="1752" y="1211"/>
                  </a:lnTo>
                  <a:lnTo>
                    <a:pt x="1739" y="1207"/>
                  </a:lnTo>
                  <a:lnTo>
                    <a:pt x="1729" y="1204"/>
                  </a:lnTo>
                  <a:lnTo>
                    <a:pt x="1724" y="1201"/>
                  </a:lnTo>
                  <a:lnTo>
                    <a:pt x="1720" y="1199"/>
                  </a:lnTo>
                  <a:lnTo>
                    <a:pt x="1714" y="1190"/>
                  </a:lnTo>
                  <a:lnTo>
                    <a:pt x="1707" y="1170"/>
                  </a:lnTo>
                  <a:lnTo>
                    <a:pt x="1705" y="1167"/>
                  </a:lnTo>
                  <a:lnTo>
                    <a:pt x="1701" y="1163"/>
                  </a:lnTo>
                  <a:lnTo>
                    <a:pt x="1697" y="1159"/>
                  </a:lnTo>
                  <a:lnTo>
                    <a:pt x="1693" y="1156"/>
                  </a:lnTo>
                  <a:lnTo>
                    <a:pt x="1681" y="1150"/>
                  </a:lnTo>
                  <a:lnTo>
                    <a:pt x="1669" y="1143"/>
                  </a:lnTo>
                  <a:lnTo>
                    <a:pt x="1642" y="1133"/>
                  </a:lnTo>
                  <a:lnTo>
                    <a:pt x="1621" y="1128"/>
                  </a:lnTo>
                  <a:lnTo>
                    <a:pt x="1625" y="1121"/>
                  </a:lnTo>
                  <a:lnTo>
                    <a:pt x="1632" y="1112"/>
                  </a:lnTo>
                  <a:lnTo>
                    <a:pt x="1641" y="1101"/>
                  </a:lnTo>
                  <a:lnTo>
                    <a:pt x="1646" y="1094"/>
                  </a:lnTo>
                  <a:lnTo>
                    <a:pt x="1648" y="1092"/>
                  </a:lnTo>
                  <a:lnTo>
                    <a:pt x="1652" y="1091"/>
                  </a:lnTo>
                  <a:lnTo>
                    <a:pt x="1655" y="1090"/>
                  </a:lnTo>
                  <a:lnTo>
                    <a:pt x="1658" y="1090"/>
                  </a:lnTo>
                  <a:lnTo>
                    <a:pt x="1666" y="1090"/>
                  </a:lnTo>
                  <a:lnTo>
                    <a:pt x="1673" y="1091"/>
                  </a:lnTo>
                  <a:lnTo>
                    <a:pt x="1689" y="1096"/>
                  </a:lnTo>
                  <a:lnTo>
                    <a:pt x="1702" y="1100"/>
                  </a:lnTo>
                  <a:lnTo>
                    <a:pt x="1710" y="1103"/>
                  </a:lnTo>
                  <a:lnTo>
                    <a:pt x="1719" y="1105"/>
                  </a:lnTo>
                  <a:lnTo>
                    <a:pt x="1727" y="1105"/>
                  </a:lnTo>
                  <a:lnTo>
                    <a:pt x="1736" y="1105"/>
                  </a:lnTo>
                  <a:lnTo>
                    <a:pt x="1753" y="1104"/>
                  </a:lnTo>
                  <a:lnTo>
                    <a:pt x="1770" y="1102"/>
                  </a:lnTo>
                  <a:lnTo>
                    <a:pt x="1779" y="1102"/>
                  </a:lnTo>
                  <a:lnTo>
                    <a:pt x="1788" y="1101"/>
                  </a:lnTo>
                  <a:lnTo>
                    <a:pt x="1795" y="1102"/>
                  </a:lnTo>
                  <a:lnTo>
                    <a:pt x="1803" y="1103"/>
                  </a:lnTo>
                  <a:lnTo>
                    <a:pt x="1810" y="1105"/>
                  </a:lnTo>
                  <a:lnTo>
                    <a:pt x="1818" y="1109"/>
                  </a:lnTo>
                  <a:lnTo>
                    <a:pt x="1824" y="1114"/>
                  </a:lnTo>
                  <a:lnTo>
                    <a:pt x="1831" y="1120"/>
                  </a:lnTo>
                  <a:lnTo>
                    <a:pt x="1841" y="1131"/>
                  </a:lnTo>
                  <a:lnTo>
                    <a:pt x="1848" y="1140"/>
                  </a:lnTo>
                  <a:lnTo>
                    <a:pt x="1851" y="1143"/>
                  </a:lnTo>
                  <a:lnTo>
                    <a:pt x="1855" y="1145"/>
                  </a:lnTo>
                  <a:lnTo>
                    <a:pt x="1859" y="1147"/>
                  </a:lnTo>
                  <a:lnTo>
                    <a:pt x="1862" y="1147"/>
                  </a:lnTo>
                  <a:lnTo>
                    <a:pt x="1870" y="1148"/>
                  </a:lnTo>
                  <a:lnTo>
                    <a:pt x="1878" y="1146"/>
                  </a:lnTo>
                  <a:lnTo>
                    <a:pt x="1889" y="1143"/>
                  </a:lnTo>
                  <a:lnTo>
                    <a:pt x="1903" y="1139"/>
                  </a:lnTo>
                  <a:lnTo>
                    <a:pt x="1914" y="1131"/>
                  </a:lnTo>
                  <a:lnTo>
                    <a:pt x="1925" y="1127"/>
                  </a:lnTo>
                  <a:lnTo>
                    <a:pt x="1935" y="1124"/>
                  </a:lnTo>
                  <a:lnTo>
                    <a:pt x="1943" y="1121"/>
                  </a:lnTo>
                  <a:lnTo>
                    <a:pt x="1948" y="1119"/>
                  </a:lnTo>
                  <a:lnTo>
                    <a:pt x="1951" y="1117"/>
                  </a:lnTo>
                  <a:lnTo>
                    <a:pt x="1954" y="1114"/>
                  </a:lnTo>
                  <a:lnTo>
                    <a:pt x="1957" y="1110"/>
                  </a:lnTo>
                  <a:lnTo>
                    <a:pt x="1959" y="1105"/>
                  </a:lnTo>
                  <a:lnTo>
                    <a:pt x="1961" y="1099"/>
                  </a:lnTo>
                  <a:lnTo>
                    <a:pt x="1962" y="1091"/>
                  </a:lnTo>
                  <a:lnTo>
                    <a:pt x="1962" y="1083"/>
                  </a:lnTo>
                  <a:lnTo>
                    <a:pt x="1963" y="1078"/>
                  </a:lnTo>
                  <a:lnTo>
                    <a:pt x="1963" y="1074"/>
                  </a:lnTo>
                  <a:lnTo>
                    <a:pt x="1965" y="1071"/>
                  </a:lnTo>
                  <a:lnTo>
                    <a:pt x="1966" y="1067"/>
                  </a:lnTo>
                  <a:lnTo>
                    <a:pt x="1970" y="1061"/>
                  </a:lnTo>
                  <a:lnTo>
                    <a:pt x="1975" y="1055"/>
                  </a:lnTo>
                  <a:lnTo>
                    <a:pt x="1978" y="1048"/>
                  </a:lnTo>
                  <a:lnTo>
                    <a:pt x="1980" y="1042"/>
                  </a:lnTo>
                  <a:lnTo>
                    <a:pt x="1981" y="1038"/>
                  </a:lnTo>
                  <a:lnTo>
                    <a:pt x="1980" y="1034"/>
                  </a:lnTo>
                  <a:lnTo>
                    <a:pt x="1979" y="1030"/>
                  </a:lnTo>
                  <a:lnTo>
                    <a:pt x="1977" y="1025"/>
                  </a:lnTo>
                  <a:lnTo>
                    <a:pt x="1973" y="1017"/>
                  </a:lnTo>
                  <a:lnTo>
                    <a:pt x="1972" y="1009"/>
                  </a:lnTo>
                  <a:lnTo>
                    <a:pt x="1973" y="999"/>
                  </a:lnTo>
                  <a:lnTo>
                    <a:pt x="1975" y="990"/>
                  </a:lnTo>
                  <a:lnTo>
                    <a:pt x="1978" y="980"/>
                  </a:lnTo>
                  <a:lnTo>
                    <a:pt x="1982" y="970"/>
                  </a:lnTo>
                  <a:lnTo>
                    <a:pt x="1986" y="959"/>
                  </a:lnTo>
                  <a:lnTo>
                    <a:pt x="1991" y="949"/>
                  </a:lnTo>
                  <a:lnTo>
                    <a:pt x="2002" y="928"/>
                  </a:lnTo>
                  <a:lnTo>
                    <a:pt x="2011" y="908"/>
                  </a:lnTo>
                  <a:lnTo>
                    <a:pt x="2016" y="898"/>
                  </a:lnTo>
                  <a:lnTo>
                    <a:pt x="2019" y="888"/>
                  </a:lnTo>
                  <a:lnTo>
                    <a:pt x="2022" y="880"/>
                  </a:lnTo>
                  <a:lnTo>
                    <a:pt x="2023" y="872"/>
                  </a:lnTo>
                  <a:lnTo>
                    <a:pt x="2022" y="860"/>
                  </a:lnTo>
                  <a:lnTo>
                    <a:pt x="2019" y="849"/>
                  </a:lnTo>
                  <a:lnTo>
                    <a:pt x="2017" y="837"/>
                  </a:lnTo>
                  <a:lnTo>
                    <a:pt x="2016" y="828"/>
                  </a:lnTo>
                  <a:lnTo>
                    <a:pt x="2019" y="806"/>
                  </a:lnTo>
                  <a:lnTo>
                    <a:pt x="2024" y="774"/>
                  </a:lnTo>
                  <a:lnTo>
                    <a:pt x="2026" y="759"/>
                  </a:lnTo>
                  <a:lnTo>
                    <a:pt x="2029" y="745"/>
                  </a:lnTo>
                  <a:lnTo>
                    <a:pt x="2032" y="736"/>
                  </a:lnTo>
                  <a:lnTo>
                    <a:pt x="2034" y="732"/>
                  </a:lnTo>
                  <a:lnTo>
                    <a:pt x="2046" y="732"/>
                  </a:lnTo>
                  <a:lnTo>
                    <a:pt x="2055" y="731"/>
                  </a:lnTo>
                  <a:lnTo>
                    <a:pt x="2061" y="728"/>
                  </a:lnTo>
                  <a:lnTo>
                    <a:pt x="2065" y="726"/>
                  </a:lnTo>
                  <a:lnTo>
                    <a:pt x="2073" y="715"/>
                  </a:lnTo>
                  <a:lnTo>
                    <a:pt x="2083" y="699"/>
                  </a:lnTo>
                  <a:lnTo>
                    <a:pt x="2086" y="694"/>
                  </a:lnTo>
                  <a:lnTo>
                    <a:pt x="2090" y="689"/>
                  </a:lnTo>
                  <a:lnTo>
                    <a:pt x="2094" y="686"/>
                  </a:lnTo>
                  <a:lnTo>
                    <a:pt x="2099" y="684"/>
                  </a:lnTo>
                  <a:lnTo>
                    <a:pt x="2109" y="681"/>
                  </a:lnTo>
                  <a:lnTo>
                    <a:pt x="2118" y="679"/>
                  </a:lnTo>
                  <a:lnTo>
                    <a:pt x="2129" y="678"/>
                  </a:lnTo>
                  <a:lnTo>
                    <a:pt x="2141" y="675"/>
                  </a:lnTo>
                  <a:lnTo>
                    <a:pt x="2152" y="673"/>
                  </a:lnTo>
                  <a:lnTo>
                    <a:pt x="2163" y="669"/>
                  </a:lnTo>
                  <a:lnTo>
                    <a:pt x="2164" y="668"/>
                  </a:lnTo>
                  <a:lnTo>
                    <a:pt x="2164" y="665"/>
                  </a:lnTo>
                  <a:lnTo>
                    <a:pt x="2163" y="662"/>
                  </a:lnTo>
                  <a:lnTo>
                    <a:pt x="2159" y="659"/>
                  </a:lnTo>
                  <a:lnTo>
                    <a:pt x="2152" y="652"/>
                  </a:lnTo>
                  <a:lnTo>
                    <a:pt x="2141" y="642"/>
                  </a:lnTo>
                  <a:lnTo>
                    <a:pt x="2130" y="633"/>
                  </a:lnTo>
                  <a:lnTo>
                    <a:pt x="2119" y="624"/>
                  </a:lnTo>
                  <a:lnTo>
                    <a:pt x="2115" y="619"/>
                  </a:lnTo>
                  <a:lnTo>
                    <a:pt x="2112" y="616"/>
                  </a:lnTo>
                  <a:lnTo>
                    <a:pt x="2110" y="612"/>
                  </a:lnTo>
                  <a:lnTo>
                    <a:pt x="2109" y="608"/>
                  </a:lnTo>
                  <a:lnTo>
                    <a:pt x="2105" y="602"/>
                  </a:lnTo>
                  <a:lnTo>
                    <a:pt x="2102" y="597"/>
                  </a:lnTo>
                  <a:lnTo>
                    <a:pt x="2098" y="592"/>
                  </a:lnTo>
                  <a:lnTo>
                    <a:pt x="2092" y="589"/>
                  </a:lnTo>
                  <a:lnTo>
                    <a:pt x="2079" y="584"/>
                  </a:lnTo>
                  <a:lnTo>
                    <a:pt x="2065" y="578"/>
                  </a:lnTo>
                  <a:lnTo>
                    <a:pt x="2059" y="575"/>
                  </a:lnTo>
                  <a:lnTo>
                    <a:pt x="2052" y="572"/>
                  </a:lnTo>
                  <a:lnTo>
                    <a:pt x="2047" y="567"/>
                  </a:lnTo>
                  <a:lnTo>
                    <a:pt x="2043" y="562"/>
                  </a:lnTo>
                  <a:lnTo>
                    <a:pt x="2039" y="556"/>
                  </a:lnTo>
                  <a:lnTo>
                    <a:pt x="2036" y="548"/>
                  </a:lnTo>
                  <a:lnTo>
                    <a:pt x="2036" y="538"/>
                  </a:lnTo>
                  <a:lnTo>
                    <a:pt x="2037" y="527"/>
                  </a:lnTo>
                  <a:lnTo>
                    <a:pt x="2035" y="518"/>
                  </a:lnTo>
                  <a:lnTo>
                    <a:pt x="2032" y="511"/>
                  </a:lnTo>
                  <a:lnTo>
                    <a:pt x="2028" y="506"/>
                  </a:lnTo>
                  <a:lnTo>
                    <a:pt x="2022" y="503"/>
                  </a:lnTo>
                  <a:lnTo>
                    <a:pt x="2016" y="500"/>
                  </a:lnTo>
                  <a:lnTo>
                    <a:pt x="2008" y="499"/>
                  </a:lnTo>
                  <a:lnTo>
                    <a:pt x="2001" y="499"/>
                  </a:lnTo>
                  <a:lnTo>
                    <a:pt x="1992" y="499"/>
                  </a:lnTo>
                  <a:lnTo>
                    <a:pt x="1976" y="499"/>
                  </a:lnTo>
                  <a:lnTo>
                    <a:pt x="1964" y="499"/>
                  </a:lnTo>
                  <a:lnTo>
                    <a:pt x="1953" y="499"/>
                  </a:lnTo>
                  <a:lnTo>
                    <a:pt x="1944" y="497"/>
                  </a:lnTo>
                  <a:lnTo>
                    <a:pt x="1940" y="495"/>
                  </a:lnTo>
                  <a:lnTo>
                    <a:pt x="1937" y="493"/>
                  </a:lnTo>
                  <a:lnTo>
                    <a:pt x="1932" y="490"/>
                  </a:lnTo>
                  <a:lnTo>
                    <a:pt x="1929" y="486"/>
                  </a:lnTo>
                  <a:lnTo>
                    <a:pt x="1922" y="476"/>
                  </a:lnTo>
                  <a:lnTo>
                    <a:pt x="1914" y="462"/>
                  </a:lnTo>
                  <a:lnTo>
                    <a:pt x="1901" y="436"/>
                  </a:lnTo>
                  <a:lnTo>
                    <a:pt x="1889" y="410"/>
                  </a:lnTo>
                  <a:lnTo>
                    <a:pt x="1877" y="383"/>
                  </a:lnTo>
                  <a:lnTo>
                    <a:pt x="1868" y="357"/>
                  </a:lnTo>
                  <a:lnTo>
                    <a:pt x="1857" y="330"/>
                  </a:lnTo>
                  <a:lnTo>
                    <a:pt x="1848" y="303"/>
                  </a:lnTo>
                  <a:lnTo>
                    <a:pt x="1838" y="277"/>
                  </a:lnTo>
                  <a:lnTo>
                    <a:pt x="1829" y="250"/>
                  </a:lnTo>
                  <a:lnTo>
                    <a:pt x="1825" y="243"/>
                  </a:lnTo>
                  <a:lnTo>
                    <a:pt x="1821" y="238"/>
                  </a:lnTo>
                  <a:lnTo>
                    <a:pt x="1817" y="235"/>
                  </a:lnTo>
                  <a:lnTo>
                    <a:pt x="1810" y="233"/>
                  </a:lnTo>
                  <a:lnTo>
                    <a:pt x="1797" y="230"/>
                  </a:lnTo>
                  <a:lnTo>
                    <a:pt x="1782" y="228"/>
                  </a:lnTo>
                  <a:lnTo>
                    <a:pt x="1776" y="226"/>
                  </a:lnTo>
                  <a:lnTo>
                    <a:pt x="1768" y="224"/>
                  </a:lnTo>
                  <a:lnTo>
                    <a:pt x="1762" y="221"/>
                  </a:lnTo>
                  <a:lnTo>
                    <a:pt x="1755" y="216"/>
                  </a:lnTo>
                  <a:lnTo>
                    <a:pt x="1750" y="210"/>
                  </a:lnTo>
                  <a:lnTo>
                    <a:pt x="1744" y="202"/>
                  </a:lnTo>
                  <a:lnTo>
                    <a:pt x="1740" y="192"/>
                  </a:lnTo>
                  <a:lnTo>
                    <a:pt x="1738" y="179"/>
                  </a:lnTo>
                  <a:lnTo>
                    <a:pt x="1737" y="172"/>
                  </a:lnTo>
                  <a:lnTo>
                    <a:pt x="1735" y="168"/>
                  </a:lnTo>
                  <a:lnTo>
                    <a:pt x="1732" y="165"/>
                  </a:lnTo>
                  <a:lnTo>
                    <a:pt x="1728" y="161"/>
                  </a:lnTo>
                  <a:lnTo>
                    <a:pt x="1725" y="159"/>
                  </a:lnTo>
                  <a:lnTo>
                    <a:pt x="1721" y="158"/>
                  </a:lnTo>
                  <a:lnTo>
                    <a:pt x="1716" y="157"/>
                  </a:lnTo>
                  <a:lnTo>
                    <a:pt x="1712" y="156"/>
                  </a:lnTo>
                  <a:lnTo>
                    <a:pt x="1690" y="157"/>
                  </a:lnTo>
                  <a:lnTo>
                    <a:pt x="1670" y="156"/>
                  </a:lnTo>
                  <a:lnTo>
                    <a:pt x="1661" y="155"/>
                  </a:lnTo>
                  <a:lnTo>
                    <a:pt x="1655" y="153"/>
                  </a:lnTo>
                  <a:lnTo>
                    <a:pt x="1650" y="149"/>
                  </a:lnTo>
                  <a:lnTo>
                    <a:pt x="1646" y="144"/>
                  </a:lnTo>
                  <a:lnTo>
                    <a:pt x="1643" y="132"/>
                  </a:lnTo>
                  <a:lnTo>
                    <a:pt x="1641" y="117"/>
                  </a:lnTo>
                  <a:lnTo>
                    <a:pt x="1640" y="110"/>
                  </a:lnTo>
                  <a:lnTo>
                    <a:pt x="1638" y="102"/>
                  </a:lnTo>
                  <a:lnTo>
                    <a:pt x="1635" y="94"/>
                  </a:lnTo>
                  <a:lnTo>
                    <a:pt x="1632" y="88"/>
                  </a:lnTo>
                  <a:lnTo>
                    <a:pt x="1627" y="81"/>
                  </a:lnTo>
                  <a:lnTo>
                    <a:pt x="1619" y="76"/>
                  </a:lnTo>
                  <a:lnTo>
                    <a:pt x="1611" y="72"/>
                  </a:lnTo>
                  <a:lnTo>
                    <a:pt x="1599" y="70"/>
                  </a:lnTo>
                  <a:lnTo>
                    <a:pt x="1567" y="62"/>
                  </a:lnTo>
                  <a:lnTo>
                    <a:pt x="1525" y="51"/>
                  </a:lnTo>
                  <a:lnTo>
                    <a:pt x="1504" y="44"/>
                  </a:lnTo>
                  <a:lnTo>
                    <a:pt x="1485" y="36"/>
                  </a:lnTo>
                  <a:lnTo>
                    <a:pt x="1477" y="32"/>
                  </a:lnTo>
                  <a:lnTo>
                    <a:pt x="1470" y="27"/>
                  </a:lnTo>
                  <a:lnTo>
                    <a:pt x="1465" y="23"/>
                  </a:lnTo>
                  <a:lnTo>
                    <a:pt x="1460" y="19"/>
                  </a:lnTo>
                  <a:lnTo>
                    <a:pt x="1456" y="12"/>
                  </a:lnTo>
                  <a:lnTo>
                    <a:pt x="1452" y="7"/>
                  </a:lnTo>
                  <a:lnTo>
                    <a:pt x="1446" y="4"/>
                  </a:lnTo>
                  <a:lnTo>
                    <a:pt x="1442" y="2"/>
                  </a:lnTo>
                  <a:lnTo>
                    <a:pt x="1437" y="0"/>
                  </a:lnTo>
                  <a:lnTo>
                    <a:pt x="1432" y="2"/>
                  </a:lnTo>
                  <a:lnTo>
                    <a:pt x="1427" y="3"/>
                  </a:lnTo>
                  <a:lnTo>
                    <a:pt x="1421" y="6"/>
                  </a:lnTo>
                  <a:lnTo>
                    <a:pt x="1412" y="12"/>
                  </a:lnTo>
                  <a:lnTo>
                    <a:pt x="1401" y="23"/>
                  </a:lnTo>
                  <a:lnTo>
                    <a:pt x="1390" y="35"/>
                  </a:lnTo>
                  <a:lnTo>
                    <a:pt x="1379" y="47"/>
                  </a:lnTo>
                  <a:lnTo>
                    <a:pt x="1369" y="59"/>
                  </a:lnTo>
                  <a:lnTo>
                    <a:pt x="1357" y="70"/>
                  </a:lnTo>
                  <a:lnTo>
                    <a:pt x="1351" y="75"/>
                  </a:lnTo>
                  <a:lnTo>
                    <a:pt x="1345" y="79"/>
                  </a:lnTo>
                  <a:lnTo>
                    <a:pt x="1339" y="83"/>
                  </a:lnTo>
                  <a:lnTo>
                    <a:pt x="1333" y="85"/>
                  </a:lnTo>
                  <a:lnTo>
                    <a:pt x="1326" y="87"/>
                  </a:lnTo>
                  <a:lnTo>
                    <a:pt x="1320" y="87"/>
                  </a:lnTo>
                  <a:lnTo>
                    <a:pt x="1313" y="86"/>
                  </a:lnTo>
                  <a:lnTo>
                    <a:pt x="1307" y="85"/>
                  </a:lnTo>
                  <a:lnTo>
                    <a:pt x="1300" y="80"/>
                  </a:lnTo>
                  <a:lnTo>
                    <a:pt x="1294" y="76"/>
                  </a:lnTo>
                  <a:lnTo>
                    <a:pt x="1288" y="70"/>
                  </a:lnTo>
                  <a:lnTo>
                    <a:pt x="1281" y="61"/>
                  </a:lnTo>
                  <a:lnTo>
                    <a:pt x="1278" y="62"/>
                  </a:lnTo>
                  <a:lnTo>
                    <a:pt x="1273" y="65"/>
                  </a:lnTo>
                  <a:lnTo>
                    <a:pt x="1268" y="70"/>
                  </a:lnTo>
                  <a:lnTo>
                    <a:pt x="1262" y="75"/>
                  </a:lnTo>
                  <a:lnTo>
                    <a:pt x="1246" y="90"/>
                  </a:lnTo>
                  <a:lnTo>
                    <a:pt x="1229" y="106"/>
                  </a:lnTo>
                  <a:lnTo>
                    <a:pt x="1211" y="125"/>
                  </a:lnTo>
                  <a:lnTo>
                    <a:pt x="1192" y="140"/>
                  </a:lnTo>
                  <a:lnTo>
                    <a:pt x="1183" y="146"/>
                  </a:lnTo>
                  <a:lnTo>
                    <a:pt x="1174" y="152"/>
                  </a:lnTo>
                  <a:lnTo>
                    <a:pt x="1167" y="155"/>
                  </a:lnTo>
                  <a:lnTo>
                    <a:pt x="1160" y="157"/>
                  </a:lnTo>
                  <a:lnTo>
                    <a:pt x="1148" y="160"/>
                  </a:lnTo>
                  <a:lnTo>
                    <a:pt x="1138" y="165"/>
                  </a:lnTo>
                  <a:lnTo>
                    <a:pt x="1132" y="169"/>
                  </a:lnTo>
                  <a:lnTo>
                    <a:pt x="1128" y="175"/>
                  </a:lnTo>
                  <a:lnTo>
                    <a:pt x="1123" y="182"/>
                  </a:lnTo>
                  <a:lnTo>
                    <a:pt x="1121" y="188"/>
                  </a:lnTo>
                  <a:lnTo>
                    <a:pt x="1120" y="196"/>
                  </a:lnTo>
                  <a:lnTo>
                    <a:pt x="1120" y="205"/>
                  </a:lnTo>
                  <a:lnTo>
                    <a:pt x="1120" y="221"/>
                  </a:lnTo>
                  <a:lnTo>
                    <a:pt x="1118" y="239"/>
                  </a:lnTo>
                  <a:lnTo>
                    <a:pt x="1116" y="248"/>
                  </a:lnTo>
                  <a:lnTo>
                    <a:pt x="1113" y="256"/>
                  </a:lnTo>
                  <a:lnTo>
                    <a:pt x="1108" y="264"/>
                  </a:lnTo>
                  <a:lnTo>
                    <a:pt x="1102" y="272"/>
                  </a:lnTo>
                  <a:lnTo>
                    <a:pt x="1094" y="278"/>
                  </a:lnTo>
                  <a:lnTo>
                    <a:pt x="1083" y="283"/>
                  </a:lnTo>
                  <a:lnTo>
                    <a:pt x="1070" y="289"/>
                  </a:lnTo>
                  <a:lnTo>
                    <a:pt x="1056" y="293"/>
                  </a:lnTo>
                  <a:lnTo>
                    <a:pt x="1042" y="296"/>
                  </a:lnTo>
                  <a:lnTo>
                    <a:pt x="1029" y="299"/>
                  </a:lnTo>
                  <a:lnTo>
                    <a:pt x="1024" y="299"/>
                  </a:lnTo>
                  <a:lnTo>
                    <a:pt x="1019" y="299"/>
                  </a:lnTo>
                  <a:lnTo>
                    <a:pt x="1014" y="297"/>
                  </a:lnTo>
                  <a:lnTo>
                    <a:pt x="1010" y="296"/>
                  </a:lnTo>
                  <a:lnTo>
                    <a:pt x="1010" y="278"/>
                  </a:lnTo>
                  <a:lnTo>
                    <a:pt x="1010" y="260"/>
                  </a:lnTo>
                  <a:lnTo>
                    <a:pt x="1011" y="243"/>
                  </a:lnTo>
                  <a:lnTo>
                    <a:pt x="1011" y="227"/>
                  </a:lnTo>
                  <a:lnTo>
                    <a:pt x="1011" y="227"/>
                  </a:lnTo>
                  <a:lnTo>
                    <a:pt x="881" y="246"/>
                  </a:lnTo>
                  <a:lnTo>
                    <a:pt x="873" y="255"/>
                  </a:lnTo>
                  <a:lnTo>
                    <a:pt x="865" y="263"/>
                  </a:lnTo>
                  <a:lnTo>
                    <a:pt x="858" y="268"/>
                  </a:lnTo>
                  <a:lnTo>
                    <a:pt x="851" y="273"/>
                  </a:lnTo>
                  <a:lnTo>
                    <a:pt x="846" y="275"/>
                  </a:lnTo>
                  <a:lnTo>
                    <a:pt x="839" y="277"/>
                  </a:lnTo>
                  <a:lnTo>
                    <a:pt x="834" y="277"/>
                  </a:lnTo>
                  <a:lnTo>
                    <a:pt x="829" y="276"/>
                  </a:lnTo>
                  <a:lnTo>
                    <a:pt x="824" y="274"/>
                  </a:lnTo>
                  <a:lnTo>
                    <a:pt x="819" y="270"/>
                  </a:lnTo>
                  <a:lnTo>
                    <a:pt x="814" y="267"/>
                  </a:lnTo>
                  <a:lnTo>
                    <a:pt x="809" y="263"/>
                  </a:lnTo>
                  <a:lnTo>
                    <a:pt x="798" y="253"/>
                  </a:lnTo>
                  <a:lnTo>
                    <a:pt x="785" y="241"/>
                  </a:lnTo>
                  <a:lnTo>
                    <a:pt x="778" y="237"/>
                  </a:lnTo>
                  <a:lnTo>
                    <a:pt x="772" y="234"/>
                  </a:lnTo>
                  <a:lnTo>
                    <a:pt x="766" y="234"/>
                  </a:lnTo>
                  <a:lnTo>
                    <a:pt x="760" y="234"/>
                  </a:lnTo>
                  <a:lnTo>
                    <a:pt x="755" y="237"/>
                  </a:lnTo>
                  <a:lnTo>
                    <a:pt x="750" y="240"/>
                  </a:lnTo>
                  <a:lnTo>
                    <a:pt x="745" y="245"/>
                  </a:lnTo>
                  <a:lnTo>
                    <a:pt x="740" y="249"/>
                  </a:lnTo>
                  <a:lnTo>
                    <a:pt x="731" y="261"/>
                  </a:lnTo>
                  <a:lnTo>
                    <a:pt x="721" y="273"/>
                  </a:lnTo>
                  <a:lnTo>
                    <a:pt x="716" y="278"/>
                  </a:lnTo>
                  <a:lnTo>
                    <a:pt x="711" y="282"/>
                  </a:lnTo>
                  <a:lnTo>
                    <a:pt x="705" y="287"/>
                  </a:lnTo>
                  <a:lnTo>
                    <a:pt x="700" y="290"/>
                  </a:lnTo>
                  <a:lnTo>
                    <a:pt x="692" y="293"/>
                  </a:lnTo>
                  <a:lnTo>
                    <a:pt x="685" y="295"/>
                  </a:lnTo>
                  <a:lnTo>
                    <a:pt x="677" y="296"/>
                  </a:lnTo>
                  <a:lnTo>
                    <a:pt x="670" y="296"/>
                  </a:lnTo>
                  <a:lnTo>
                    <a:pt x="663" y="296"/>
                  </a:lnTo>
                  <a:lnTo>
                    <a:pt x="656" y="295"/>
                  </a:lnTo>
                  <a:lnTo>
                    <a:pt x="649" y="294"/>
                  </a:lnTo>
                  <a:lnTo>
                    <a:pt x="643" y="293"/>
                  </a:lnTo>
                  <a:lnTo>
                    <a:pt x="631" y="288"/>
                  </a:lnTo>
                  <a:lnTo>
                    <a:pt x="619" y="282"/>
                  </a:lnTo>
                  <a:lnTo>
                    <a:pt x="607" y="276"/>
                  </a:lnTo>
                  <a:lnTo>
                    <a:pt x="595" y="270"/>
                  </a:lnTo>
                  <a:lnTo>
                    <a:pt x="584" y="265"/>
                  </a:lnTo>
                  <a:lnTo>
                    <a:pt x="572" y="261"/>
                  </a:lnTo>
                  <a:lnTo>
                    <a:pt x="567" y="260"/>
                  </a:lnTo>
                  <a:lnTo>
                    <a:pt x="562" y="259"/>
                  </a:lnTo>
                  <a:lnTo>
                    <a:pt x="555" y="259"/>
                  </a:lnTo>
                  <a:lnTo>
                    <a:pt x="550" y="259"/>
                  </a:lnTo>
                  <a:lnTo>
                    <a:pt x="543" y="260"/>
                  </a:lnTo>
                  <a:lnTo>
                    <a:pt x="538" y="262"/>
                  </a:lnTo>
                  <a:lnTo>
                    <a:pt x="531" y="265"/>
                  </a:lnTo>
                  <a:lnTo>
                    <a:pt x="525" y="268"/>
                  </a:lnTo>
                  <a:lnTo>
                    <a:pt x="518" y="274"/>
                  </a:lnTo>
                  <a:lnTo>
                    <a:pt x="512" y="279"/>
                  </a:lnTo>
                  <a:lnTo>
                    <a:pt x="504" y="287"/>
                  </a:lnTo>
                  <a:lnTo>
                    <a:pt x="498" y="295"/>
                  </a:lnTo>
                  <a:lnTo>
                    <a:pt x="485" y="309"/>
                  </a:lnTo>
                  <a:lnTo>
                    <a:pt x="469" y="323"/>
                  </a:lnTo>
                  <a:lnTo>
                    <a:pt x="449" y="340"/>
                  </a:lnTo>
                  <a:lnTo>
                    <a:pt x="428" y="356"/>
                  </a:lnTo>
                  <a:lnTo>
                    <a:pt x="379" y="391"/>
                  </a:lnTo>
                  <a:lnTo>
                    <a:pt x="328" y="428"/>
                  </a:lnTo>
                  <a:lnTo>
                    <a:pt x="303" y="446"/>
                  </a:lnTo>
                  <a:lnTo>
                    <a:pt x="280" y="465"/>
                  </a:lnTo>
                  <a:lnTo>
                    <a:pt x="258" y="483"/>
                  </a:lnTo>
                  <a:lnTo>
                    <a:pt x="239" y="502"/>
                  </a:lnTo>
                  <a:lnTo>
                    <a:pt x="230" y="510"/>
                  </a:lnTo>
                  <a:lnTo>
                    <a:pt x="221" y="519"/>
                  </a:lnTo>
                  <a:lnTo>
                    <a:pt x="215" y="527"/>
                  </a:lnTo>
                  <a:lnTo>
                    <a:pt x="209" y="536"/>
                  </a:lnTo>
                  <a:lnTo>
                    <a:pt x="204" y="544"/>
                  </a:lnTo>
                  <a:lnTo>
                    <a:pt x="201" y="552"/>
                  </a:lnTo>
                  <a:lnTo>
                    <a:pt x="198" y="560"/>
                  </a:lnTo>
                  <a:lnTo>
                    <a:pt x="196" y="567"/>
                  </a:lnTo>
                  <a:lnTo>
                    <a:pt x="195" y="580"/>
                  </a:lnTo>
                  <a:lnTo>
                    <a:pt x="192" y="591"/>
                  </a:lnTo>
                  <a:lnTo>
                    <a:pt x="187" y="600"/>
                  </a:lnTo>
                  <a:lnTo>
                    <a:pt x="181" y="606"/>
                  </a:lnTo>
                  <a:lnTo>
                    <a:pt x="174" y="611"/>
                  </a:lnTo>
                  <a:lnTo>
                    <a:pt x="166" y="615"/>
                  </a:lnTo>
                  <a:lnTo>
                    <a:pt x="158" y="617"/>
                  </a:lnTo>
                  <a:lnTo>
                    <a:pt x="148" y="619"/>
                  </a:lnTo>
                  <a:lnTo>
                    <a:pt x="128" y="623"/>
                  </a:lnTo>
                  <a:lnTo>
                    <a:pt x="109" y="626"/>
                  </a:lnTo>
                  <a:lnTo>
                    <a:pt x="99" y="629"/>
                  </a:lnTo>
                  <a:lnTo>
                    <a:pt x="89" y="632"/>
                  </a:lnTo>
                  <a:lnTo>
                    <a:pt x="81" y="638"/>
                  </a:lnTo>
                  <a:lnTo>
                    <a:pt x="73" y="644"/>
                  </a:lnTo>
                  <a:lnTo>
                    <a:pt x="62" y="654"/>
                  </a:lnTo>
                  <a:lnTo>
                    <a:pt x="54" y="662"/>
                  </a:lnTo>
                  <a:lnTo>
                    <a:pt x="46" y="672"/>
                  </a:lnTo>
                  <a:lnTo>
                    <a:pt x="40" y="681"/>
                  </a:lnTo>
                  <a:lnTo>
                    <a:pt x="34" y="688"/>
                  </a:lnTo>
                  <a:lnTo>
                    <a:pt x="30" y="697"/>
                  </a:lnTo>
                  <a:lnTo>
                    <a:pt x="26" y="706"/>
                  </a:lnTo>
                  <a:lnTo>
                    <a:pt x="24" y="714"/>
                  </a:lnTo>
                  <a:lnTo>
                    <a:pt x="21" y="723"/>
                  </a:lnTo>
                  <a:lnTo>
                    <a:pt x="20" y="732"/>
                  </a:lnTo>
                  <a:lnTo>
                    <a:pt x="20" y="741"/>
                  </a:lnTo>
                  <a:lnTo>
                    <a:pt x="20" y="751"/>
                  </a:lnTo>
                  <a:lnTo>
                    <a:pt x="23" y="773"/>
                  </a:lnTo>
                  <a:lnTo>
                    <a:pt x="28" y="799"/>
                  </a:lnTo>
                  <a:lnTo>
                    <a:pt x="30" y="808"/>
                  </a:lnTo>
                  <a:lnTo>
                    <a:pt x="34" y="818"/>
                  </a:lnTo>
                  <a:lnTo>
                    <a:pt x="40" y="827"/>
                  </a:lnTo>
                  <a:lnTo>
                    <a:pt x="45" y="834"/>
                  </a:lnTo>
                  <a:lnTo>
                    <a:pt x="52" y="841"/>
                  </a:lnTo>
                  <a:lnTo>
                    <a:pt x="59" y="847"/>
                  </a:lnTo>
                  <a:lnTo>
                    <a:pt x="67" y="854"/>
                  </a:lnTo>
                  <a:lnTo>
                    <a:pt x="74" y="859"/>
                  </a:lnTo>
                  <a:lnTo>
                    <a:pt x="89" y="870"/>
                  </a:lnTo>
                  <a:lnTo>
                    <a:pt x="104" y="882"/>
                  </a:lnTo>
                  <a:lnTo>
                    <a:pt x="110" y="887"/>
                  </a:lnTo>
                  <a:lnTo>
                    <a:pt x="115" y="894"/>
                  </a:lnTo>
                  <a:lnTo>
                    <a:pt x="121" y="900"/>
                  </a:lnTo>
                  <a:lnTo>
                    <a:pt x="124" y="908"/>
                  </a:lnTo>
                  <a:lnTo>
                    <a:pt x="126" y="913"/>
                  </a:lnTo>
                  <a:lnTo>
                    <a:pt x="127" y="918"/>
                  </a:lnTo>
                  <a:lnTo>
                    <a:pt x="127" y="925"/>
                  </a:lnTo>
                  <a:lnTo>
                    <a:pt x="127" y="931"/>
                  </a:lnTo>
                  <a:lnTo>
                    <a:pt x="126" y="945"/>
                  </a:lnTo>
                  <a:lnTo>
                    <a:pt x="124" y="959"/>
                  </a:lnTo>
                  <a:lnTo>
                    <a:pt x="119" y="989"/>
                  </a:lnTo>
                  <a:lnTo>
                    <a:pt x="113" y="1013"/>
                  </a:lnTo>
                  <a:lnTo>
                    <a:pt x="111" y="1037"/>
                  </a:lnTo>
                  <a:lnTo>
                    <a:pt x="110" y="1061"/>
                  </a:lnTo>
                  <a:lnTo>
                    <a:pt x="110" y="1084"/>
                  </a:lnTo>
                  <a:lnTo>
                    <a:pt x="112" y="1106"/>
                  </a:lnTo>
                  <a:lnTo>
                    <a:pt x="116" y="1129"/>
                  </a:lnTo>
                  <a:lnTo>
                    <a:pt x="121" y="1151"/>
                  </a:lnTo>
                  <a:lnTo>
                    <a:pt x="126" y="1173"/>
                  </a:lnTo>
                  <a:lnTo>
                    <a:pt x="132" y="1195"/>
                  </a:lnTo>
                  <a:lnTo>
                    <a:pt x="143" y="1238"/>
                  </a:lnTo>
                  <a:lnTo>
                    <a:pt x="155" y="1282"/>
                  </a:lnTo>
                  <a:lnTo>
                    <a:pt x="161" y="1305"/>
                  </a:lnTo>
                  <a:lnTo>
                    <a:pt x="165" y="1328"/>
                  </a:lnTo>
                  <a:lnTo>
                    <a:pt x="168" y="1350"/>
                  </a:lnTo>
                  <a:lnTo>
                    <a:pt x="171" y="1374"/>
                  </a:lnTo>
                  <a:lnTo>
                    <a:pt x="167" y="1393"/>
                  </a:lnTo>
                  <a:lnTo>
                    <a:pt x="164" y="1411"/>
                  </a:lnTo>
                  <a:lnTo>
                    <a:pt x="162" y="1421"/>
                  </a:lnTo>
                  <a:lnTo>
                    <a:pt x="158" y="1429"/>
                  </a:lnTo>
                  <a:lnTo>
                    <a:pt x="153" y="1437"/>
                  </a:lnTo>
                  <a:lnTo>
                    <a:pt x="147" y="1444"/>
                  </a:lnTo>
                  <a:lnTo>
                    <a:pt x="125" y="1467"/>
                  </a:lnTo>
                  <a:lnTo>
                    <a:pt x="108" y="1485"/>
                  </a:lnTo>
                  <a:lnTo>
                    <a:pt x="101" y="1496"/>
                  </a:lnTo>
                  <a:lnTo>
                    <a:pt x="96" y="1508"/>
                  </a:lnTo>
                  <a:lnTo>
                    <a:pt x="92" y="1522"/>
                  </a:lnTo>
                  <a:lnTo>
                    <a:pt x="88" y="1539"/>
                  </a:lnTo>
                  <a:lnTo>
                    <a:pt x="87" y="1552"/>
                  </a:lnTo>
                  <a:lnTo>
                    <a:pt x="88" y="1565"/>
                  </a:lnTo>
                  <a:lnTo>
                    <a:pt x="91" y="1578"/>
                  </a:lnTo>
                  <a:lnTo>
                    <a:pt x="93" y="1590"/>
                  </a:lnTo>
                  <a:lnTo>
                    <a:pt x="99" y="1612"/>
                  </a:lnTo>
                  <a:lnTo>
                    <a:pt x="106" y="1633"/>
                  </a:lnTo>
                  <a:lnTo>
                    <a:pt x="108" y="1644"/>
                  </a:lnTo>
                  <a:lnTo>
                    <a:pt x="109" y="1655"/>
                  </a:lnTo>
                  <a:lnTo>
                    <a:pt x="109" y="1666"/>
                  </a:lnTo>
                  <a:lnTo>
                    <a:pt x="108" y="1678"/>
                  </a:lnTo>
                  <a:lnTo>
                    <a:pt x="105" y="1688"/>
                  </a:lnTo>
                  <a:lnTo>
                    <a:pt x="99" y="1701"/>
                  </a:lnTo>
                  <a:lnTo>
                    <a:pt x="91" y="1714"/>
                  </a:lnTo>
                  <a:lnTo>
                    <a:pt x="80" y="1728"/>
                  </a:lnTo>
                  <a:lnTo>
                    <a:pt x="65" y="1747"/>
                  </a:lnTo>
                  <a:lnTo>
                    <a:pt x="50" y="1765"/>
                  </a:lnTo>
                  <a:lnTo>
                    <a:pt x="43" y="1776"/>
                  </a:lnTo>
                  <a:lnTo>
                    <a:pt x="37" y="1786"/>
                  </a:lnTo>
                  <a:lnTo>
                    <a:pt x="30" y="1796"/>
                  </a:lnTo>
                  <a:lnTo>
                    <a:pt x="26" y="1807"/>
                  </a:lnTo>
                  <a:lnTo>
                    <a:pt x="21" y="1820"/>
                  </a:lnTo>
                  <a:lnTo>
                    <a:pt x="18" y="1833"/>
                  </a:lnTo>
                  <a:lnTo>
                    <a:pt x="17" y="1846"/>
                  </a:lnTo>
                  <a:lnTo>
                    <a:pt x="16" y="1859"/>
                  </a:lnTo>
                  <a:lnTo>
                    <a:pt x="16" y="1871"/>
                  </a:lnTo>
                  <a:lnTo>
                    <a:pt x="16" y="1884"/>
                  </a:lnTo>
                  <a:lnTo>
                    <a:pt x="15" y="1896"/>
                  </a:lnTo>
                  <a:lnTo>
                    <a:pt x="13" y="1909"/>
                  </a:lnTo>
                  <a:lnTo>
                    <a:pt x="0" y="2041"/>
                  </a:lnTo>
                  <a:lnTo>
                    <a:pt x="0" y="2041"/>
                  </a:lnTo>
                  <a:lnTo>
                    <a:pt x="7" y="2043"/>
                  </a:lnTo>
                  <a:lnTo>
                    <a:pt x="14" y="2046"/>
                  </a:lnTo>
                  <a:lnTo>
                    <a:pt x="20" y="2049"/>
                  </a:lnTo>
                  <a:lnTo>
                    <a:pt x="26" y="2054"/>
                  </a:lnTo>
                  <a:lnTo>
                    <a:pt x="31" y="2058"/>
                  </a:lnTo>
                  <a:lnTo>
                    <a:pt x="35" y="2063"/>
                  </a:lnTo>
                  <a:lnTo>
                    <a:pt x="39" y="2069"/>
                  </a:lnTo>
                  <a:lnTo>
                    <a:pt x="42" y="2074"/>
                  </a:lnTo>
                  <a:lnTo>
                    <a:pt x="45" y="2079"/>
                  </a:lnTo>
                  <a:lnTo>
                    <a:pt x="47" y="2086"/>
                  </a:lnTo>
                  <a:lnTo>
                    <a:pt x="48" y="2092"/>
                  </a:lnTo>
                  <a:lnTo>
                    <a:pt x="50" y="2100"/>
                  </a:lnTo>
                  <a:lnTo>
                    <a:pt x="51" y="2114"/>
                  </a:lnTo>
                  <a:lnTo>
                    <a:pt x="50" y="2129"/>
                  </a:lnTo>
                  <a:lnTo>
                    <a:pt x="48" y="2151"/>
                  </a:lnTo>
                  <a:lnTo>
                    <a:pt x="48" y="2170"/>
                  </a:lnTo>
                  <a:lnTo>
                    <a:pt x="50" y="2180"/>
                  </a:lnTo>
                  <a:lnTo>
                    <a:pt x="51" y="2191"/>
                  </a:lnTo>
                  <a:lnTo>
                    <a:pt x="54" y="2200"/>
                  </a:lnTo>
                  <a:lnTo>
                    <a:pt x="58" y="2211"/>
                  </a:lnTo>
                  <a:lnTo>
                    <a:pt x="67" y="2226"/>
                  </a:lnTo>
                  <a:lnTo>
                    <a:pt x="77" y="2240"/>
                  </a:lnTo>
                  <a:lnTo>
                    <a:pt x="81" y="2248"/>
                  </a:lnTo>
                  <a:lnTo>
                    <a:pt x="85" y="2255"/>
                  </a:lnTo>
                  <a:lnTo>
                    <a:pt x="89" y="2263"/>
                  </a:lnTo>
                  <a:lnTo>
                    <a:pt x="92" y="2272"/>
                  </a:lnTo>
                  <a:lnTo>
                    <a:pt x="95" y="2282"/>
                  </a:lnTo>
                  <a:lnTo>
                    <a:pt x="96" y="2295"/>
                  </a:lnTo>
                  <a:lnTo>
                    <a:pt x="97" y="2308"/>
                  </a:lnTo>
                  <a:lnTo>
                    <a:pt x="97" y="2321"/>
                  </a:lnTo>
                  <a:lnTo>
                    <a:pt x="96" y="2347"/>
                  </a:lnTo>
                  <a:lnTo>
                    <a:pt x="95" y="2372"/>
                  </a:lnTo>
                  <a:lnTo>
                    <a:pt x="96" y="2486"/>
                  </a:lnTo>
                  <a:lnTo>
                    <a:pt x="46" y="3964"/>
                  </a:lnTo>
                  <a:lnTo>
                    <a:pt x="46" y="3964"/>
                  </a:lnTo>
                  <a:close/>
                </a:path>
              </a:pathLst>
            </a:custGeom>
            <a:solidFill>
              <a:schemeClr val="tx1">
                <a:lumMod val="20000"/>
                <a:lumOff val="8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3F3F3F"/>
                </a:solidFill>
                <a:effectLst/>
                <a:uLnTx/>
                <a:uFillTx/>
                <a:latin typeface="Arial"/>
                <a:cs typeface="Arial"/>
                <a:sym typeface="Arial"/>
              </a:endParaRPr>
            </a:p>
          </p:txBody>
        </p:sp>
      </p:grpSp>
      <p:sp>
        <p:nvSpPr>
          <p:cNvPr id="26" name="Text Placeholder 10">
            <a:extLst>
              <a:ext uri="{FF2B5EF4-FFF2-40B4-BE49-F238E27FC236}">
                <a16:creationId xmlns:a16="http://schemas.microsoft.com/office/drawing/2014/main" id="{C30CAFB3-5DE8-4F02-BDE5-D20D35EFC140}"/>
              </a:ext>
            </a:extLst>
          </p:cNvPr>
          <p:cNvSpPr txBox="1">
            <a:spLocks/>
          </p:cNvSpPr>
          <p:nvPr/>
        </p:nvSpPr>
        <p:spPr>
          <a:xfrm>
            <a:off x="3887389" y="1955689"/>
            <a:ext cx="6759524" cy="455523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2"/>
                </a:solidFill>
                <a:latin typeface="+mn-lt"/>
                <a:ea typeface="+mn-ea"/>
                <a:cs typeface="Gill Sans Light" panose="020B0302020104020203"/>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mn-lt"/>
                <a:ea typeface="+mn-ea"/>
                <a:cs typeface="Gill Sans Light" panose="020B0302020104020203"/>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mn-lt"/>
                <a:ea typeface="+mn-ea"/>
                <a:cs typeface="Gill Sans Light" panose="020B0302020104020203"/>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Enhance Saint Lucia’s Tourism Product Offering;</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Strategically increase Cruise tourist spend within the local economy;</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Improvement of Recreational Beach Facilities;</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Improvement of Visitor Stop Centers;</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Support Community Tourism;</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rPr>
              <a:t>Reduce Congestion on Beaches</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2000" b="1" i="0" u="none" strike="noStrike" kern="1200" cap="none" spc="0" normalizeH="0" baseline="0" noProof="0" dirty="0">
                <a:ln>
                  <a:noFill/>
                </a:ln>
                <a:solidFill>
                  <a:srgbClr val="0070C0"/>
                </a:solidFill>
                <a:effectLst/>
                <a:uLnTx/>
                <a:uFillTx/>
                <a:latin typeface="Arial" panose="020B0604020202020204"/>
                <a:ea typeface="+mn-ea"/>
                <a:sym typeface="Arial"/>
              </a:rPr>
              <a:t>Increase local community participation and involvement in tourism; and</a:t>
            </a: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4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2000" b="1" i="0" u="none" strike="noStrike" kern="1200" cap="none" spc="0" normalizeH="0" baseline="0" noProof="0" dirty="0">
                <a:ln>
                  <a:noFill/>
                </a:ln>
                <a:solidFill>
                  <a:srgbClr val="0070C0"/>
                </a:solidFill>
                <a:effectLst/>
                <a:uLnTx/>
                <a:uFillTx/>
                <a:latin typeface="Arial" panose="020B0604020202020204"/>
                <a:ea typeface="+mn-ea"/>
                <a:sym typeface="Arial"/>
              </a:rPr>
              <a:t>Stimulate tourism-related economic activity.</a:t>
            </a:r>
            <a:endPar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sym typeface="Arial"/>
            </a:endParaRPr>
          </a:p>
        </p:txBody>
      </p:sp>
      <p:sp>
        <p:nvSpPr>
          <p:cNvPr id="27" name="Title 19">
            <a:extLst>
              <a:ext uri="{FF2B5EF4-FFF2-40B4-BE49-F238E27FC236}">
                <a16:creationId xmlns:a16="http://schemas.microsoft.com/office/drawing/2014/main" id="{5C04FCEF-0B78-4003-89F3-E76A57C3EF54}"/>
              </a:ext>
            </a:extLst>
          </p:cNvPr>
          <p:cNvSpPr txBox="1">
            <a:spLocks/>
          </p:cNvSpPr>
          <p:nvPr/>
        </p:nvSpPr>
        <p:spPr>
          <a:xfrm>
            <a:off x="4115054" y="1454782"/>
            <a:ext cx="8872655" cy="1395208"/>
          </a:xfrm>
          <a:prstGeom prst="rect">
            <a:avLst/>
          </a:prstGeom>
        </p:spPr>
        <p:txBody>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l" defTabSz="914400" rtl="0" eaLnBrk="1" fontAlgn="auto" latinLnBrk="0" hangingPunct="1">
              <a:lnSpc>
                <a:spcPct val="90000"/>
              </a:lnSpc>
              <a:spcBef>
                <a:spcPct val="0"/>
              </a:spcBef>
              <a:spcAft>
                <a:spcPts val="0"/>
              </a:spcAft>
              <a:buClr>
                <a:srgbClr val="000000"/>
              </a:buClr>
              <a:buSzTx/>
              <a:buFont typeface="Arial"/>
              <a:buNone/>
              <a:tabLst/>
              <a:defRPr/>
            </a:pPr>
            <a:r>
              <a:rPr kumimoji="0" lang="en-US" sz="2600" b="1" i="0" u="none" strike="noStrike" kern="1200" cap="none" spc="-150" normalizeH="0" baseline="0" noProof="0" dirty="0">
                <a:ln>
                  <a:noFill/>
                </a:ln>
                <a:solidFill>
                  <a:srgbClr val="000000"/>
                </a:solidFill>
                <a:effectLst/>
                <a:uLnTx/>
                <a:uFillTx/>
                <a:latin typeface="Arial" panose="020B0604020202020204"/>
                <a:ea typeface="+mj-ea"/>
                <a:cs typeface="Gill Sans" panose="020B0502020104020203" pitchFamily="34" charset="-79"/>
                <a:sym typeface="Arial"/>
              </a:rPr>
              <a:t>THE GOAL OF TOURISM DEVELOPMENTS</a:t>
            </a:r>
          </a:p>
        </p:txBody>
      </p:sp>
    </p:spTree>
    <p:extLst>
      <p:ext uri="{BB962C8B-B14F-4D97-AF65-F5344CB8AC3E}">
        <p14:creationId xmlns:p14="http://schemas.microsoft.com/office/powerpoint/2010/main" val="33944310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8832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TOURISM POLICY DEVELOPMENTS</a:t>
            </a:r>
          </a:p>
        </p:txBody>
      </p:sp>
      <p:cxnSp>
        <p:nvCxnSpPr>
          <p:cNvPr id="9" name="Straight Connector 8"/>
          <p:cNvCxnSpPr/>
          <p:nvPr/>
        </p:nvCxnSpPr>
        <p:spPr>
          <a:xfrm flipV="1">
            <a:off x="1056912" y="1100856"/>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26" name="Text Placeholder 10">
            <a:extLst>
              <a:ext uri="{FF2B5EF4-FFF2-40B4-BE49-F238E27FC236}">
                <a16:creationId xmlns:a16="http://schemas.microsoft.com/office/drawing/2014/main" id="{C30CAFB3-5DE8-4F02-BDE5-D20D35EFC140}"/>
              </a:ext>
            </a:extLst>
          </p:cNvPr>
          <p:cNvSpPr txBox="1">
            <a:spLocks/>
          </p:cNvSpPr>
          <p:nvPr/>
        </p:nvSpPr>
        <p:spPr>
          <a:xfrm>
            <a:off x="4592648" y="1859748"/>
            <a:ext cx="5663477" cy="350144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2"/>
                </a:solidFill>
                <a:latin typeface="+mn-lt"/>
                <a:ea typeface="+mn-ea"/>
                <a:cs typeface="Gill Sans Light" panose="020B0302020104020203"/>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mn-lt"/>
                <a:ea typeface="+mn-ea"/>
                <a:cs typeface="Gill Sans Light" panose="020B0302020104020203"/>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mn-lt"/>
                <a:ea typeface="+mn-ea"/>
                <a:cs typeface="Gill Sans Light" panose="020B0302020104020203"/>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3600" b="1" i="0" u="none" strike="noStrike" kern="1200" cap="none" spc="0" normalizeH="0" baseline="0" noProof="0" dirty="0">
                <a:ln>
                  <a:noFill/>
                </a:ln>
                <a:solidFill>
                  <a:srgbClr val="0070C0"/>
                </a:solidFill>
                <a:effectLst/>
                <a:uLnTx/>
                <a:uFillTx/>
                <a:latin typeface="Arial" panose="020B0604020202020204"/>
                <a:ea typeface="+mn-ea"/>
                <a:sym typeface="Arial"/>
              </a:rPr>
              <a:t>National Tourism Policy</a:t>
            </a:r>
          </a:p>
          <a:p>
            <a:pPr marL="228600" marR="0" lvl="0" indent="-22860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36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36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228600" marR="0" lvl="0" indent="-22860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3600" b="1" i="0" u="none" strike="noStrike" kern="1200" cap="none" spc="0" normalizeH="0" baseline="0" noProof="0" dirty="0">
                <a:ln>
                  <a:noFill/>
                </a:ln>
                <a:solidFill>
                  <a:srgbClr val="0070C0"/>
                </a:solidFill>
                <a:effectLst/>
                <a:uLnTx/>
                <a:uFillTx/>
                <a:latin typeface="Arial" panose="020B0604020202020204"/>
                <a:ea typeface="+mn-ea"/>
                <a:sym typeface="Arial"/>
              </a:rPr>
              <a:t>Tourism Transportation Demand Study</a:t>
            </a:r>
          </a:p>
        </p:txBody>
      </p:sp>
      <p:sp>
        <p:nvSpPr>
          <p:cNvPr id="27" name="Title 19">
            <a:extLst>
              <a:ext uri="{FF2B5EF4-FFF2-40B4-BE49-F238E27FC236}">
                <a16:creationId xmlns:a16="http://schemas.microsoft.com/office/drawing/2014/main" id="{5C04FCEF-0B78-4003-89F3-E76A57C3EF54}"/>
              </a:ext>
            </a:extLst>
          </p:cNvPr>
          <p:cNvSpPr txBox="1">
            <a:spLocks/>
          </p:cNvSpPr>
          <p:nvPr/>
        </p:nvSpPr>
        <p:spPr>
          <a:xfrm>
            <a:off x="4115054" y="1454782"/>
            <a:ext cx="8872655" cy="1395208"/>
          </a:xfrm>
          <a:prstGeom prst="rect">
            <a:avLst/>
          </a:prstGeom>
        </p:spPr>
        <p:txBody>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l" defTabSz="914400" rtl="0" eaLnBrk="1" fontAlgn="auto" latinLnBrk="0" hangingPunct="1">
              <a:lnSpc>
                <a:spcPct val="90000"/>
              </a:lnSpc>
              <a:spcBef>
                <a:spcPct val="0"/>
              </a:spcBef>
              <a:spcAft>
                <a:spcPts val="0"/>
              </a:spcAft>
              <a:buClr>
                <a:srgbClr val="000000"/>
              </a:buClr>
              <a:buSzTx/>
              <a:buFont typeface="Arial"/>
              <a:buNone/>
              <a:tabLst/>
              <a:defRPr/>
            </a:pPr>
            <a:endParaRPr kumimoji="0" lang="en-US" sz="2600" b="1" i="0" u="none" strike="noStrike" kern="1200" cap="none" spc="-150" normalizeH="0" baseline="0" noProof="0" dirty="0">
              <a:ln>
                <a:noFill/>
              </a:ln>
              <a:solidFill>
                <a:srgbClr val="000000"/>
              </a:solidFill>
              <a:effectLst/>
              <a:uLnTx/>
              <a:uFillTx/>
              <a:latin typeface="Arial" panose="020B0604020202020204"/>
              <a:ea typeface="+mj-ea"/>
              <a:cs typeface="Gill Sans" panose="020B0502020104020203" pitchFamily="34" charset="-79"/>
              <a:sym typeface="Arial"/>
            </a:endParaRPr>
          </a:p>
        </p:txBody>
      </p:sp>
      <p:pic>
        <p:nvPicPr>
          <p:cNvPr id="15362" name="Picture 2" descr="Policy - Free security icons">
            <a:extLst>
              <a:ext uri="{FF2B5EF4-FFF2-40B4-BE49-F238E27FC236}">
                <a16:creationId xmlns:a16="http://schemas.microsoft.com/office/drawing/2014/main" id="{8516A0F4-1AF6-3952-CBA0-866C861655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0796648">
            <a:off x="1232268" y="2090742"/>
            <a:ext cx="3326465" cy="3326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57792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8832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VALUE OF INVESTMENTS</a:t>
            </a:r>
          </a:p>
        </p:txBody>
      </p:sp>
      <p:cxnSp>
        <p:nvCxnSpPr>
          <p:cNvPr id="9" name="Straight Connector 8"/>
          <p:cNvCxnSpPr/>
          <p:nvPr/>
        </p:nvCxnSpPr>
        <p:spPr>
          <a:xfrm flipV="1">
            <a:off x="1056912" y="1100856"/>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26" name="Text Placeholder 10">
            <a:extLst>
              <a:ext uri="{FF2B5EF4-FFF2-40B4-BE49-F238E27FC236}">
                <a16:creationId xmlns:a16="http://schemas.microsoft.com/office/drawing/2014/main" id="{C30CAFB3-5DE8-4F02-BDE5-D20D35EFC140}"/>
              </a:ext>
            </a:extLst>
          </p:cNvPr>
          <p:cNvSpPr txBox="1">
            <a:spLocks/>
          </p:cNvSpPr>
          <p:nvPr/>
        </p:nvSpPr>
        <p:spPr>
          <a:xfrm>
            <a:off x="4565394" y="1471080"/>
            <a:ext cx="6425227" cy="350144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2"/>
                </a:solidFill>
                <a:latin typeface="+mn-lt"/>
                <a:ea typeface="+mn-ea"/>
                <a:cs typeface="Gill Sans Light" panose="020B0302020104020203"/>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mn-lt"/>
                <a:ea typeface="+mn-ea"/>
                <a:cs typeface="Gill Sans Light" panose="020B0302020104020203"/>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mn-lt"/>
                <a:ea typeface="+mn-ea"/>
                <a:cs typeface="Gill Sans Light" panose="020B0302020104020203"/>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Gill Sans Light" panose="020B0302020104020203"/>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3500" b="1" i="0" u="none" strike="noStrike" kern="1200" cap="none" spc="0" normalizeH="0" baseline="0" noProof="0" dirty="0">
                <a:ln>
                  <a:noFill/>
                </a:ln>
                <a:solidFill>
                  <a:srgbClr val="0070C0"/>
                </a:solidFill>
                <a:effectLst/>
                <a:uLnTx/>
                <a:uFillTx/>
                <a:latin typeface="Arial" panose="020B0604020202020204"/>
                <a:ea typeface="+mn-ea"/>
                <a:sym typeface="Arial"/>
              </a:rPr>
              <a:t>Total Government Investments </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35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3500" b="1" i="0" u="none" strike="noStrike" kern="1200" cap="none" spc="0" normalizeH="0" baseline="0" noProof="0" dirty="0">
                <a:ln>
                  <a:noFill/>
                </a:ln>
                <a:solidFill>
                  <a:srgbClr val="0070C0"/>
                </a:solidFill>
                <a:effectLst/>
                <a:uLnTx/>
                <a:uFillTx/>
                <a:latin typeface="Arial" panose="020B0604020202020204"/>
                <a:ea typeface="+mn-ea"/>
                <a:sym typeface="Arial"/>
              </a:rPr>
              <a:t>Approximately                  XCD $64,000,000.00</a:t>
            </a: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3500" b="1" i="0" u="none" strike="noStrike" kern="1200" cap="none" spc="0" normalizeH="0" baseline="0" noProof="0" dirty="0">
              <a:ln>
                <a:noFill/>
              </a:ln>
              <a:solidFill>
                <a:srgbClr val="0070C0"/>
              </a:solidFill>
              <a:effectLst/>
              <a:uLnTx/>
              <a:uFillTx/>
              <a:latin typeface="Arial" panose="020B0604020202020204"/>
              <a:ea typeface="+mn-ea"/>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3500" b="1" i="0" u="none" strike="noStrike" kern="1200" cap="none" spc="0" normalizeH="0" baseline="0" noProof="0" dirty="0">
                <a:ln>
                  <a:noFill/>
                </a:ln>
                <a:solidFill>
                  <a:srgbClr val="0070C0"/>
                </a:solidFill>
                <a:effectLst/>
                <a:uLnTx/>
                <a:uFillTx/>
                <a:latin typeface="Arial" panose="020B0604020202020204"/>
                <a:ea typeface="+mn-ea"/>
                <a:sym typeface="Arial"/>
              </a:rPr>
              <a:t>Eastern Caribbean Sixty-Four Million Dollars</a:t>
            </a:r>
          </a:p>
        </p:txBody>
      </p:sp>
      <p:sp>
        <p:nvSpPr>
          <p:cNvPr id="27" name="Title 19">
            <a:extLst>
              <a:ext uri="{FF2B5EF4-FFF2-40B4-BE49-F238E27FC236}">
                <a16:creationId xmlns:a16="http://schemas.microsoft.com/office/drawing/2014/main" id="{5C04FCEF-0B78-4003-89F3-E76A57C3EF54}"/>
              </a:ext>
            </a:extLst>
          </p:cNvPr>
          <p:cNvSpPr txBox="1">
            <a:spLocks/>
          </p:cNvSpPr>
          <p:nvPr/>
        </p:nvSpPr>
        <p:spPr>
          <a:xfrm>
            <a:off x="4115054" y="1454782"/>
            <a:ext cx="8872655" cy="1395208"/>
          </a:xfrm>
          <a:prstGeom prst="rect">
            <a:avLst/>
          </a:prstGeom>
        </p:spPr>
        <p:txBody>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l" defTabSz="914400" rtl="0" eaLnBrk="1" fontAlgn="auto" latinLnBrk="0" hangingPunct="1">
              <a:lnSpc>
                <a:spcPct val="90000"/>
              </a:lnSpc>
              <a:spcBef>
                <a:spcPct val="0"/>
              </a:spcBef>
              <a:spcAft>
                <a:spcPts val="0"/>
              </a:spcAft>
              <a:buClr>
                <a:srgbClr val="000000"/>
              </a:buClr>
              <a:buSzTx/>
              <a:buFont typeface="Arial"/>
              <a:buNone/>
              <a:tabLst/>
              <a:defRPr/>
            </a:pPr>
            <a:endParaRPr kumimoji="0" lang="en-US" sz="2600" b="1" i="0" u="none" strike="noStrike" kern="1200" cap="none" spc="-150" normalizeH="0" baseline="0" noProof="0" dirty="0">
              <a:ln>
                <a:noFill/>
              </a:ln>
              <a:solidFill>
                <a:srgbClr val="000000"/>
              </a:solidFill>
              <a:effectLst/>
              <a:uLnTx/>
              <a:uFillTx/>
              <a:latin typeface="Arial" panose="020B0604020202020204"/>
              <a:ea typeface="+mj-ea"/>
              <a:cs typeface="Gill Sans" panose="020B0502020104020203" pitchFamily="34" charset="-79"/>
              <a:sym typeface="Arial"/>
            </a:endParaRPr>
          </a:p>
        </p:txBody>
      </p:sp>
      <p:pic>
        <p:nvPicPr>
          <p:cNvPr id="3" name="Picture 2">
            <a:extLst>
              <a:ext uri="{FF2B5EF4-FFF2-40B4-BE49-F238E27FC236}">
                <a16:creationId xmlns:a16="http://schemas.microsoft.com/office/drawing/2014/main" id="{1BC14210-4672-B027-1306-A8317A7996F0}"/>
              </a:ext>
            </a:extLst>
          </p:cNvPr>
          <p:cNvPicPr>
            <a:picLocks noChangeAspect="1"/>
          </p:cNvPicPr>
          <p:nvPr/>
        </p:nvPicPr>
        <p:blipFill>
          <a:blip r:embed="rId2"/>
          <a:stretch>
            <a:fillRect/>
          </a:stretch>
        </p:blipFill>
        <p:spPr>
          <a:xfrm>
            <a:off x="1716341" y="2111492"/>
            <a:ext cx="2861034" cy="2861034"/>
          </a:xfrm>
          <a:prstGeom prst="rect">
            <a:avLst/>
          </a:prstGeom>
        </p:spPr>
      </p:pic>
    </p:spTree>
    <p:extLst>
      <p:ext uri="{BB962C8B-B14F-4D97-AF65-F5344CB8AC3E}">
        <p14:creationId xmlns:p14="http://schemas.microsoft.com/office/powerpoint/2010/main" val="469742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4306"/>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CASTRIES MARKET BOX PARK</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675294" y="1603561"/>
            <a:ext cx="4486642"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Twenty-Two (22) Units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Two (2) Accessible toilets and a janitors’ close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Electrical and mechanical close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8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omplete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Additional Works: Grounds &amp; Elevato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Request for Proposals</a:t>
            </a:r>
            <a:endParaRPr kumimoji="0" lang="x-none" sz="18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SLMB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Private Retailers</a:t>
            </a: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2" name="Picture 1"/>
          <p:cNvPicPr>
            <a:picLocks noChangeAspect="1"/>
          </p:cNvPicPr>
          <p:nvPr/>
        </p:nvPicPr>
        <p:blipFill>
          <a:blip r:embed="rId2"/>
          <a:stretch>
            <a:fillRect/>
          </a:stretch>
        </p:blipFill>
        <p:spPr>
          <a:xfrm>
            <a:off x="5001713" y="1780011"/>
            <a:ext cx="6021045" cy="3297978"/>
          </a:xfrm>
          <a:prstGeom prst="rect">
            <a:avLst/>
          </a:prstGeom>
          <a:ln>
            <a:noFill/>
          </a:ln>
          <a:effectLst>
            <a:softEdge rad="112500"/>
          </a:effectLst>
        </p:spPr>
      </p:pic>
    </p:spTree>
    <p:extLst>
      <p:ext uri="{BB962C8B-B14F-4D97-AF65-F5344CB8AC3E}">
        <p14:creationId xmlns:p14="http://schemas.microsoft.com/office/powerpoint/2010/main" val="39821060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57238"/>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CHOISEUL ARTS AND CRAFT CENTRE</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888195" y="1288627"/>
            <a:ext cx="4617870" cy="53245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Renovation and remodeling of the interior space for display in the existing main building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Upgrading of Four (4) Training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Renovation of Restaura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Upgrade of the Parking Area, Fencing and Main Entrance </a:t>
            </a:r>
            <a:endParaRPr kumimoji="0" lang="x-none" sz="6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6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8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ompleted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onceptualization and Curation of Space - Ongoing</a:t>
            </a:r>
            <a:endParaRPr kumimoji="0" lang="x-none" sz="18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rafters – Retail Showroom &amp; Digital Museum</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Taxi &amp; Tour Operat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National Skills Development Center</a:t>
            </a:r>
          </a:p>
        </p:txBody>
      </p:sp>
      <p:pic>
        <p:nvPicPr>
          <p:cNvPr id="3" name="Picture 2">
            <a:extLst>
              <a:ext uri="{FF2B5EF4-FFF2-40B4-BE49-F238E27FC236}">
                <a16:creationId xmlns:a16="http://schemas.microsoft.com/office/drawing/2014/main" id="{BA25E832-F6EE-4CBD-FC9B-7507866D3E14}"/>
              </a:ext>
            </a:extLst>
          </p:cNvPr>
          <p:cNvPicPr>
            <a:picLocks noChangeAspect="1"/>
          </p:cNvPicPr>
          <p:nvPr/>
        </p:nvPicPr>
        <p:blipFill rotWithShape="1">
          <a:blip r:embed="rId2"/>
          <a:srcRect t="3921" r="40357" b="28371"/>
          <a:stretch/>
        </p:blipFill>
        <p:spPr>
          <a:xfrm>
            <a:off x="5348745" y="1582993"/>
            <a:ext cx="3362633" cy="5030169"/>
          </a:xfrm>
          <a:prstGeom prst="rect">
            <a:avLst/>
          </a:prstGeom>
          <a:ln>
            <a:noFill/>
          </a:ln>
          <a:effectLst>
            <a:softEdge rad="112500"/>
          </a:effectLst>
        </p:spPr>
      </p:pic>
      <p:pic>
        <p:nvPicPr>
          <p:cNvPr id="7" name="Picture 6">
            <a:extLst>
              <a:ext uri="{FF2B5EF4-FFF2-40B4-BE49-F238E27FC236}">
                <a16:creationId xmlns:a16="http://schemas.microsoft.com/office/drawing/2014/main" id="{7FC0F947-4729-FCD9-10C0-971E979B6EB5}"/>
              </a:ext>
            </a:extLst>
          </p:cNvPr>
          <p:cNvPicPr>
            <a:picLocks noChangeAspect="1"/>
          </p:cNvPicPr>
          <p:nvPr/>
        </p:nvPicPr>
        <p:blipFill rotWithShape="1">
          <a:blip r:embed="rId3"/>
          <a:srcRect b="12743"/>
          <a:stretch/>
        </p:blipFill>
        <p:spPr>
          <a:xfrm>
            <a:off x="7627989" y="1205902"/>
            <a:ext cx="3362632" cy="3689207"/>
          </a:xfrm>
          <a:prstGeom prst="rect">
            <a:avLst/>
          </a:prstGeom>
          <a:ln>
            <a:noFill/>
          </a:ln>
          <a:effectLst>
            <a:softEdge rad="112500"/>
          </a:effectLst>
        </p:spPr>
      </p:pic>
    </p:spTree>
    <p:extLst>
      <p:ext uri="{BB962C8B-B14F-4D97-AF65-F5344CB8AC3E}">
        <p14:creationId xmlns:p14="http://schemas.microsoft.com/office/powerpoint/2010/main" val="4930123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50668" y="-4474"/>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SOUFRIERE CONCESSIONAIRES BOOTH</a:t>
            </a:r>
          </a:p>
        </p:txBody>
      </p:sp>
      <p:cxnSp>
        <p:nvCxnSpPr>
          <p:cNvPr id="9" name="Straight Connector 8"/>
          <p:cNvCxnSpPr/>
          <p:nvPr/>
        </p:nvCxnSpPr>
        <p:spPr>
          <a:xfrm flipV="1">
            <a:off x="1056912" y="98226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35678" y="1163540"/>
            <a:ext cx="436223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dirty="0">
                <a:ln>
                  <a:noFill/>
                </a:ln>
                <a:solidFill>
                  <a:srgbClr val="0070C0"/>
                </a:solidFill>
                <a:effectLst/>
                <a:uLnTx/>
                <a:uFillTx/>
                <a:latin typeface="Arial"/>
                <a:cs typeface="Arial"/>
                <a:sym typeface="Arial"/>
              </a:rPr>
              <a:t>OLD TRAFFOR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hree (3) Vending Spac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mplete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Private Retailers/Vend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Soufriere/ Fond St Jacques Constituency Council</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EA64BA86-27F0-41F3-B82B-452CF80F22B7}"/>
              </a:ext>
            </a:extLst>
          </p:cNvPr>
          <p:cNvPicPr>
            <a:picLocks noChangeAspect="1"/>
          </p:cNvPicPr>
          <p:nvPr/>
        </p:nvPicPr>
        <p:blipFill rotWithShape="1">
          <a:blip r:embed="rId2"/>
          <a:srcRect l="5982" r="34295" b="15008"/>
          <a:stretch/>
        </p:blipFill>
        <p:spPr>
          <a:xfrm>
            <a:off x="5397908" y="1136311"/>
            <a:ext cx="4711241" cy="5028516"/>
          </a:xfrm>
          <a:prstGeom prst="rect">
            <a:avLst/>
          </a:prstGeom>
          <a:ln>
            <a:noFill/>
          </a:ln>
          <a:effectLst>
            <a:softEdge rad="112500"/>
          </a:effectLst>
        </p:spPr>
      </p:pic>
    </p:spTree>
    <p:extLst>
      <p:ext uri="{BB962C8B-B14F-4D97-AF65-F5344CB8AC3E}">
        <p14:creationId xmlns:p14="http://schemas.microsoft.com/office/powerpoint/2010/main" val="18609534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50668" y="-4474"/>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SOUFRIERE  VENDING BOOTH</a:t>
            </a:r>
          </a:p>
        </p:txBody>
      </p:sp>
      <p:cxnSp>
        <p:nvCxnSpPr>
          <p:cNvPr id="9" name="Straight Connector 8"/>
          <p:cNvCxnSpPr/>
          <p:nvPr/>
        </p:nvCxnSpPr>
        <p:spPr>
          <a:xfrm flipV="1">
            <a:off x="1056912" y="98226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2" name="TextBox 1">
            <a:extLst>
              <a:ext uri="{FF2B5EF4-FFF2-40B4-BE49-F238E27FC236}">
                <a16:creationId xmlns:a16="http://schemas.microsoft.com/office/drawing/2014/main" id="{97C0BF44-C49E-2C8E-5BD3-2947D48EB556}"/>
              </a:ext>
            </a:extLst>
          </p:cNvPr>
          <p:cNvSpPr txBox="1"/>
          <p:nvPr/>
        </p:nvSpPr>
        <p:spPr>
          <a:xfrm>
            <a:off x="1035678" y="1351508"/>
            <a:ext cx="436223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1" i="0" u="none" strike="noStrike" kern="0" cap="none" spc="0" normalizeH="0" baseline="0" noProof="0" dirty="0">
                <a:ln>
                  <a:noFill/>
                </a:ln>
                <a:solidFill>
                  <a:srgbClr val="0070C0"/>
                </a:solidFill>
                <a:effectLst/>
                <a:uLnTx/>
                <a:uFillTx/>
                <a:latin typeface="Arial"/>
                <a:cs typeface="Arial"/>
                <a:sym typeface="Arial"/>
              </a:rPr>
              <a:t>PALMISTE</a:t>
            </a:r>
            <a:endParaRPr kumimoji="0" lang="en-US" sz="20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Five (5) Vending Hu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One (1) Bar</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Ongo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7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Private Retailers/Vend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Soufriere/ Fond St Jacques Constituency Council</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BEEB2AEE-6F86-E3BB-F27B-20F5549F9E32}"/>
              </a:ext>
            </a:extLst>
          </p:cNvPr>
          <p:cNvPicPr>
            <a:picLocks noChangeAspect="1"/>
          </p:cNvPicPr>
          <p:nvPr/>
        </p:nvPicPr>
        <p:blipFill rotWithShape="1">
          <a:blip r:embed="rId2"/>
          <a:srcRect l="3301" t="8398" r="6316"/>
          <a:stretch/>
        </p:blipFill>
        <p:spPr>
          <a:xfrm>
            <a:off x="4925960" y="1587511"/>
            <a:ext cx="5909187" cy="3918981"/>
          </a:xfrm>
          <a:prstGeom prst="rect">
            <a:avLst/>
          </a:prstGeom>
          <a:ln>
            <a:noFill/>
          </a:ln>
          <a:effectLst>
            <a:softEdge rad="112500"/>
          </a:effectLst>
        </p:spPr>
      </p:pic>
    </p:spTree>
    <p:extLst>
      <p:ext uri="{BB962C8B-B14F-4D97-AF65-F5344CB8AC3E}">
        <p14:creationId xmlns:p14="http://schemas.microsoft.com/office/powerpoint/2010/main" val="29753611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34856"/>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CANARIES MARKET COMPLEX</a:t>
            </a:r>
          </a:p>
        </p:txBody>
      </p:sp>
      <p:cxnSp>
        <p:nvCxnSpPr>
          <p:cNvPr id="9" name="Straight Connector 8"/>
          <p:cNvCxnSpPr/>
          <p:nvPr/>
        </p:nvCxnSpPr>
        <p:spPr>
          <a:xfrm flipV="1">
            <a:off x="1056912" y="989614"/>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847432" y="1973365"/>
            <a:ext cx="4191674" cy="36009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A provisions Market to accommodate Twelve (12) Vendor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ce Vending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errace Restaurant</a:t>
            </a:r>
            <a:endParaRPr kumimoji="0" lang="en-US" sz="16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omplet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equires Rolling Shutter for Official Open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Private Retaile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p:txBody>
      </p:sp>
      <p:pic>
        <p:nvPicPr>
          <p:cNvPr id="7" name="Picture 6">
            <a:extLst>
              <a:ext uri="{FF2B5EF4-FFF2-40B4-BE49-F238E27FC236}">
                <a16:creationId xmlns:a16="http://schemas.microsoft.com/office/drawing/2014/main" id="{6A4CDFED-6B9A-0F89-C08E-09DD59B3B6FF}"/>
              </a:ext>
            </a:extLst>
          </p:cNvPr>
          <p:cNvPicPr>
            <a:picLocks noChangeAspect="1"/>
          </p:cNvPicPr>
          <p:nvPr/>
        </p:nvPicPr>
        <p:blipFill>
          <a:blip r:embed="rId2"/>
          <a:stretch>
            <a:fillRect/>
          </a:stretch>
        </p:blipFill>
        <p:spPr>
          <a:xfrm>
            <a:off x="4660371" y="1091038"/>
            <a:ext cx="5034068" cy="2858962"/>
          </a:xfrm>
          <a:prstGeom prst="rect">
            <a:avLst/>
          </a:prstGeom>
          <a:ln>
            <a:noFill/>
          </a:ln>
          <a:effectLst>
            <a:softEdge rad="112500"/>
          </a:effectLst>
        </p:spPr>
      </p:pic>
      <p:pic>
        <p:nvPicPr>
          <p:cNvPr id="10" name="Picture 9">
            <a:extLst>
              <a:ext uri="{FF2B5EF4-FFF2-40B4-BE49-F238E27FC236}">
                <a16:creationId xmlns:a16="http://schemas.microsoft.com/office/drawing/2014/main" id="{AAC5A67A-D20F-46A5-BD78-B2A31FAC1F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7840" y="3429000"/>
            <a:ext cx="6577429" cy="3277261"/>
          </a:xfrm>
          <a:prstGeom prst="rect">
            <a:avLst/>
          </a:prstGeom>
          <a:ln>
            <a:noFill/>
          </a:ln>
          <a:effectLst>
            <a:softEdge rad="112500"/>
          </a:effectLst>
        </p:spPr>
      </p:pic>
    </p:spTree>
    <p:extLst>
      <p:ext uri="{BB962C8B-B14F-4D97-AF65-F5344CB8AC3E}">
        <p14:creationId xmlns:p14="http://schemas.microsoft.com/office/powerpoint/2010/main" val="5101154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4474"/>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GROS ISLET RECREATIONAL PARK</a:t>
            </a:r>
          </a:p>
        </p:txBody>
      </p:sp>
      <p:cxnSp>
        <p:nvCxnSpPr>
          <p:cNvPr id="9" name="Straight Connector 8"/>
          <p:cNvCxnSpPr/>
          <p:nvPr/>
        </p:nvCxnSpPr>
        <p:spPr>
          <a:xfrm flipV="1">
            <a:off x="1056912" y="938902"/>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56912" y="1569683"/>
            <a:ext cx="4574470" cy="4324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hree (3) Vending Booth</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Kid’s playground</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omfort station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Entertainment Are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Administrative Build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5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omplet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etainer Wall and Repair of Damage from Hurricane Beryl</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Private Retailers/Vendors – 3 Available Uni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 – Hospitality &amp; Service Train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Event Planners – Event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axi Drivers</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400" b="1" i="0" u="none" strike="noStrike" kern="0" cap="none" spc="0" normalizeH="0" baseline="0" noProof="0" dirty="0">
              <a:ln>
                <a:noFill/>
              </a:ln>
              <a:solidFill>
                <a:srgbClr val="BFE4FF"/>
              </a:solidFill>
              <a:effectLst/>
              <a:uLnTx/>
              <a:uFillTx/>
              <a:latin typeface="Arial"/>
              <a:cs typeface="Arial"/>
              <a:sym typeface="Arial"/>
            </a:endParaRPr>
          </a:p>
        </p:txBody>
      </p:sp>
      <p:pic>
        <p:nvPicPr>
          <p:cNvPr id="16" name="Picture 15">
            <a:extLst>
              <a:ext uri="{FF2B5EF4-FFF2-40B4-BE49-F238E27FC236}">
                <a16:creationId xmlns:a16="http://schemas.microsoft.com/office/drawing/2014/main" id="{E7C75610-8829-4E80-BA07-66A3266C7D95}"/>
              </a:ext>
            </a:extLst>
          </p:cNvPr>
          <p:cNvPicPr>
            <a:picLocks noChangeAspect="1"/>
          </p:cNvPicPr>
          <p:nvPr/>
        </p:nvPicPr>
        <p:blipFill>
          <a:blip r:embed="rId2">
            <a:extLst>
              <a:ext uri="{28A0092B-C50C-407E-A947-70E740481C1C}">
                <a14:useLocalDpi xmlns:a14="http://schemas.microsoft.com/office/drawing/2010/main" val="0"/>
              </a:ext>
            </a:extLst>
          </a:blip>
          <a:srcRect l="10529" r="10529"/>
          <a:stretch/>
        </p:blipFill>
        <p:spPr>
          <a:xfrm>
            <a:off x="5272827" y="1067391"/>
            <a:ext cx="6757873" cy="4202338"/>
          </a:xfrm>
          <a:prstGeom prst="rect">
            <a:avLst/>
          </a:prstGeom>
          <a:ln>
            <a:noFill/>
          </a:ln>
          <a:effectLst>
            <a:softEdge rad="112500"/>
          </a:effectLst>
        </p:spPr>
      </p:pic>
      <p:pic>
        <p:nvPicPr>
          <p:cNvPr id="5" name="Picture 4">
            <a:extLst>
              <a:ext uri="{FF2B5EF4-FFF2-40B4-BE49-F238E27FC236}">
                <a16:creationId xmlns:a16="http://schemas.microsoft.com/office/drawing/2014/main" id="{4789BCB7-B33E-3DA2-B9BF-C7AAA0ECCFE4}"/>
              </a:ext>
            </a:extLst>
          </p:cNvPr>
          <p:cNvPicPr>
            <a:picLocks noChangeAspect="1"/>
          </p:cNvPicPr>
          <p:nvPr/>
        </p:nvPicPr>
        <p:blipFill rotWithShape="1">
          <a:blip r:embed="rId3"/>
          <a:srcRect t="23165" b="19426"/>
          <a:stretch/>
        </p:blipFill>
        <p:spPr>
          <a:xfrm>
            <a:off x="7364361" y="4070555"/>
            <a:ext cx="4699653" cy="2605548"/>
          </a:xfrm>
          <a:prstGeom prst="rect">
            <a:avLst/>
          </a:prstGeom>
          <a:ln>
            <a:noFill/>
          </a:ln>
          <a:effectLst>
            <a:softEdge rad="112500"/>
          </a:effectLst>
        </p:spPr>
      </p:pic>
    </p:spTree>
    <p:extLst>
      <p:ext uri="{BB962C8B-B14F-4D97-AF65-F5344CB8AC3E}">
        <p14:creationId xmlns:p14="http://schemas.microsoft.com/office/powerpoint/2010/main" val="30354713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A1400D-7E3B-965A-037C-76FAE3F313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880" y="2751373"/>
            <a:ext cx="3596640" cy="3151587"/>
          </a:xfrm>
          <a:prstGeom prst="rect">
            <a:avLst/>
          </a:prstGeom>
        </p:spPr>
      </p:pic>
      <p:sp>
        <p:nvSpPr>
          <p:cNvPr id="3" name="TextBox 2">
            <a:extLst>
              <a:ext uri="{FF2B5EF4-FFF2-40B4-BE49-F238E27FC236}">
                <a16:creationId xmlns:a16="http://schemas.microsoft.com/office/drawing/2014/main" id="{C6158709-055F-79D4-F758-A51A4ACEE475}"/>
              </a:ext>
            </a:extLst>
          </p:cNvPr>
          <p:cNvSpPr txBox="1"/>
          <p:nvPr/>
        </p:nvSpPr>
        <p:spPr>
          <a:xfrm>
            <a:off x="1847528" y="43766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BACKGROUND</a:t>
            </a:r>
          </a:p>
        </p:txBody>
      </p:sp>
      <p:sp>
        <p:nvSpPr>
          <p:cNvPr id="4" name="Title 1">
            <a:extLst>
              <a:ext uri="{FF2B5EF4-FFF2-40B4-BE49-F238E27FC236}">
                <a16:creationId xmlns:a16="http://schemas.microsoft.com/office/drawing/2014/main" id="{8B1647E3-A0AE-1116-52C2-B0500D5773C1}"/>
              </a:ext>
            </a:extLst>
          </p:cNvPr>
          <p:cNvSpPr txBox="1">
            <a:spLocks/>
          </p:cNvSpPr>
          <p:nvPr/>
        </p:nvSpPr>
        <p:spPr>
          <a:xfrm>
            <a:off x="5859339" y="1572951"/>
            <a:ext cx="5825067" cy="523220"/>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1200"/>
              </a:spcBef>
              <a:spcAft>
                <a:spcPts val="1200"/>
              </a:spcAft>
            </a:pPr>
            <a:r>
              <a:rPr lang="en-US" sz="2700" b="1" dirty="0"/>
              <a:t>PREVIOUS LEGAL FRAMEWORK FOR TOURISM</a:t>
            </a:r>
            <a:endParaRPr lang="en-US" sz="2700" dirty="0"/>
          </a:p>
        </p:txBody>
      </p:sp>
      <p:sp>
        <p:nvSpPr>
          <p:cNvPr id="6" name="TextBox 5">
            <a:extLst>
              <a:ext uri="{FF2B5EF4-FFF2-40B4-BE49-F238E27FC236}">
                <a16:creationId xmlns:a16="http://schemas.microsoft.com/office/drawing/2014/main" id="{F011928C-9791-E0D4-2F42-229ED3E0ACBA}"/>
              </a:ext>
            </a:extLst>
          </p:cNvPr>
          <p:cNvSpPr txBox="1"/>
          <p:nvPr/>
        </p:nvSpPr>
        <p:spPr>
          <a:xfrm>
            <a:off x="5859339" y="2013881"/>
            <a:ext cx="5588406" cy="4818178"/>
          </a:xfrm>
          <a:prstGeom prst="rect">
            <a:avLst/>
          </a:prstGeom>
          <a:noFill/>
        </p:spPr>
        <p:txBody>
          <a:bodyPr wrap="square">
            <a:spAutoFit/>
          </a:bodyPr>
          <a:lstStyle/>
          <a:p>
            <a:pPr marL="0" marR="45720" lvl="2" algn="just">
              <a:lnSpc>
                <a:spcPct val="107000"/>
              </a:lnSpc>
              <a:spcAft>
                <a:spcPts val="400"/>
              </a:spcAft>
            </a:pPr>
            <a:r>
              <a:rPr lang="en-GB" b="1" dirty="0">
                <a:latin typeface="Calibri Light" panose="020F0302020204030204" pitchFamily="34" charset="0"/>
                <a:ea typeface="Calibri" panose="020F0502020204030204" pitchFamily="34" charset="0"/>
              </a:rPr>
              <a:t>Key Acts:</a:t>
            </a:r>
          </a:p>
          <a:p>
            <a:pPr marL="355600" marR="45720" lvl="2" indent="-355600" algn="just">
              <a:lnSpc>
                <a:spcPct val="107000"/>
              </a:lnSpc>
              <a:spcAft>
                <a:spcPts val="400"/>
              </a:spcAft>
              <a:buFont typeface="Arial" panose="020B0604020202020204" pitchFamily="34" charset="0"/>
              <a:buChar char="•"/>
            </a:pPr>
            <a:r>
              <a:rPr lang="en-GB" sz="1800" dirty="0">
                <a:effectLst/>
                <a:latin typeface="Calibri Light" panose="020F0302020204030204" pitchFamily="34" charset="0"/>
                <a:ea typeface="Calibri" panose="020F0502020204030204" pitchFamily="34" charset="0"/>
              </a:rPr>
              <a:t>The </a:t>
            </a:r>
            <a:r>
              <a:rPr lang="en-US" sz="1800" dirty="0">
                <a:solidFill>
                  <a:srgbClr val="000000"/>
                </a:solidFill>
                <a:effectLst/>
                <a:latin typeface="Calibri Light" panose="020F0302020204030204" pitchFamily="34" charset="0"/>
                <a:ea typeface="Times New Roman" panose="02020603050405020304" pitchFamily="18" charset="0"/>
              </a:rPr>
              <a:t>Tourism Incentives Act, Chapter 15.30 (1996)</a:t>
            </a:r>
            <a:endParaRPr lang="en-US" sz="1800" dirty="0">
              <a:effectLst/>
              <a:latin typeface="Times New Roman" panose="02020603050405020304" pitchFamily="18" charset="0"/>
              <a:ea typeface="Times New Roman" panose="02020603050405020304" pitchFamily="18" charset="0"/>
            </a:endParaRPr>
          </a:p>
          <a:p>
            <a:pPr marL="355600" marR="45720" lvl="2" indent="-355600" algn="just">
              <a:lnSpc>
                <a:spcPct val="107000"/>
              </a:lnSpc>
              <a:spcAft>
                <a:spcPts val="400"/>
              </a:spcAft>
              <a:buFont typeface="Arial" panose="020B0604020202020204" pitchFamily="34" charset="0"/>
              <a:buChar char="•"/>
            </a:pPr>
            <a:r>
              <a:rPr lang="en-GB" sz="1800" dirty="0">
                <a:effectLst/>
                <a:latin typeface="Calibri Light" panose="020F0302020204030204" pitchFamily="34" charset="0"/>
                <a:ea typeface="Calibri" panose="020F0502020204030204" pitchFamily="34" charset="0"/>
              </a:rPr>
              <a:t>The </a:t>
            </a:r>
            <a:r>
              <a:rPr lang="en-US" sz="1800" dirty="0">
                <a:solidFill>
                  <a:srgbClr val="000000"/>
                </a:solidFill>
                <a:effectLst/>
                <a:latin typeface="Calibri Light" panose="020F0302020204030204" pitchFamily="34" charset="0"/>
                <a:ea typeface="Times New Roman" panose="02020603050405020304" pitchFamily="18" charset="0"/>
              </a:rPr>
              <a:t>Tourism Stimulus and Investment Act, Chapter 15.03 (2014)</a:t>
            </a:r>
          </a:p>
          <a:p>
            <a:pPr marL="0" marR="45720" lvl="2" algn="just">
              <a:lnSpc>
                <a:spcPct val="107000"/>
              </a:lnSpc>
              <a:spcAft>
                <a:spcPts val="400"/>
              </a:spcAft>
            </a:pPr>
            <a:r>
              <a:rPr lang="en-US" b="1" dirty="0">
                <a:latin typeface="Calibri Light" panose="020F0302020204030204" pitchFamily="34" charset="0"/>
                <a:ea typeface="Calibri" panose="020F0502020204030204" pitchFamily="34" charset="0"/>
              </a:rPr>
              <a:t>Cabinet Conclusions:</a:t>
            </a:r>
          </a:p>
          <a:p>
            <a:pPr marL="342900" indent="-342900" algn="just">
              <a:lnSpc>
                <a:spcPct val="107000"/>
              </a:lnSpc>
              <a:spcAft>
                <a:spcPts val="600"/>
              </a:spcAft>
              <a:buFont typeface="+mj-lt"/>
              <a:buAutoNum type="romanLcParenBoth"/>
            </a:pPr>
            <a:r>
              <a:rPr lang="en-US" sz="1800" dirty="0">
                <a:effectLst/>
                <a:latin typeface="Calibri Light" panose="020F0302020204030204" pitchFamily="34" charset="0"/>
                <a:ea typeface="Times New Roman" panose="02020603050405020304" pitchFamily="18" charset="0"/>
              </a:rPr>
              <a:t>Cabinet Conclusion No. 717 of 2011: Yachting Sector</a:t>
            </a:r>
            <a:endParaRPr lang="en-US" sz="2000" dirty="0">
              <a:effectLst/>
              <a:latin typeface="Times New Roman" panose="02020603050405020304" pitchFamily="18" charset="0"/>
              <a:ea typeface="Times New Roman" panose="02020603050405020304" pitchFamily="18" charset="0"/>
            </a:endParaRPr>
          </a:p>
          <a:p>
            <a:pPr marL="342900" lvl="0" indent="-342900" algn="just">
              <a:lnSpc>
                <a:spcPct val="107000"/>
              </a:lnSpc>
              <a:spcAft>
                <a:spcPts val="600"/>
              </a:spcAft>
              <a:buFont typeface="+mj-lt"/>
              <a:buAutoNum type="romanLcParenBoth"/>
            </a:pPr>
            <a:r>
              <a:rPr lang="en-US" sz="1800" dirty="0">
                <a:effectLst/>
                <a:latin typeface="Calibri Light" panose="020F0302020204030204" pitchFamily="34" charset="0"/>
                <a:ea typeface="Times New Roman" panose="02020603050405020304" pitchFamily="18" charset="0"/>
              </a:rPr>
              <a:t>Cabinet Conclusion No. </a:t>
            </a:r>
            <a:r>
              <a:rPr lang="en-US" dirty="0">
                <a:latin typeface="Calibri Light" panose="020F0302020204030204" pitchFamily="34" charset="0"/>
                <a:ea typeface="Times New Roman" panose="02020603050405020304" pitchFamily="18" charset="0"/>
              </a:rPr>
              <a:t>504</a:t>
            </a:r>
            <a:r>
              <a:rPr lang="en-US" sz="1800" dirty="0">
                <a:effectLst/>
                <a:latin typeface="Calibri Light" panose="020F0302020204030204" pitchFamily="34" charset="0"/>
                <a:ea typeface="Times New Roman" panose="02020603050405020304" pitchFamily="18" charset="0"/>
              </a:rPr>
              <a:t> of 2023:  Incentives Regime for the Car Rental Subsector</a:t>
            </a:r>
          </a:p>
          <a:p>
            <a:pPr marL="342900" indent="-342900" algn="just">
              <a:lnSpc>
                <a:spcPct val="107000"/>
              </a:lnSpc>
              <a:spcAft>
                <a:spcPts val="600"/>
              </a:spcAft>
              <a:buFont typeface="+mj-lt"/>
              <a:buAutoNum type="romanLcParenBoth"/>
            </a:pPr>
            <a:r>
              <a:rPr lang="en-US" sz="1800" dirty="0">
                <a:effectLst/>
                <a:latin typeface="Calibri Light" panose="020F0302020204030204" pitchFamily="34" charset="0"/>
                <a:ea typeface="Times New Roman" panose="02020603050405020304" pitchFamily="18" charset="0"/>
              </a:rPr>
              <a:t>Cabinet Conclusion No 1189 of 2020: Incentives for Tourism Transportation (extended)</a:t>
            </a:r>
            <a:endParaRPr lang="en-US" sz="2000" dirty="0">
              <a:effectLst/>
              <a:latin typeface="Times New Roman" panose="02020603050405020304" pitchFamily="18" charset="0"/>
              <a:ea typeface="Times New Roman" panose="02020603050405020304" pitchFamily="18" charset="0"/>
            </a:endParaRPr>
          </a:p>
          <a:p>
            <a:pPr marL="0" marR="45720" lvl="2" algn="just">
              <a:lnSpc>
                <a:spcPct val="107000"/>
              </a:lnSpc>
              <a:spcAft>
                <a:spcPts val="400"/>
              </a:spcAft>
            </a:pPr>
            <a:r>
              <a:rPr lang="en-US" b="1" dirty="0">
                <a:solidFill>
                  <a:srgbClr val="000000"/>
                </a:solidFill>
                <a:latin typeface="Calibri Light" panose="020F0302020204030204" pitchFamily="34" charset="0"/>
                <a:ea typeface="Times New Roman" panose="02020603050405020304" pitchFamily="18" charset="0"/>
              </a:rPr>
              <a:t>Other Acts:</a:t>
            </a:r>
          </a:p>
          <a:p>
            <a:pPr marL="355600" marR="45720" lvl="2" indent="-355600">
              <a:lnSpc>
                <a:spcPct val="107000"/>
              </a:lnSpc>
              <a:buFont typeface="Arial" panose="020B0604020202020204" pitchFamily="34" charset="0"/>
              <a:buChar char="•"/>
            </a:pPr>
            <a:r>
              <a:rPr lang="en-US" dirty="0">
                <a:solidFill>
                  <a:srgbClr val="000000"/>
                </a:solidFill>
                <a:latin typeface="Calibri Light" panose="020F0302020204030204" pitchFamily="34" charset="0"/>
                <a:ea typeface="Times New Roman" panose="02020603050405020304" pitchFamily="18" charset="0"/>
              </a:rPr>
              <a:t>Saint Lucia Tourism Authority Act</a:t>
            </a:r>
          </a:p>
          <a:p>
            <a:pPr marL="355600" marR="45720" lvl="2" indent="-355600">
              <a:lnSpc>
                <a:spcPct val="107000"/>
              </a:lnSpc>
              <a:buFont typeface="Arial" panose="020B0604020202020204" pitchFamily="34" charset="0"/>
              <a:buChar char="•"/>
            </a:pPr>
            <a:r>
              <a:rPr lang="en-US" sz="1800" dirty="0">
                <a:solidFill>
                  <a:srgbClr val="000000"/>
                </a:solidFill>
                <a:effectLst/>
                <a:latin typeface="Calibri Light" panose="020F0302020204030204" pitchFamily="34" charset="0"/>
                <a:ea typeface="Times New Roman" panose="02020603050405020304" pitchFamily="18" charset="0"/>
              </a:rPr>
              <a:t>Community  Tourism Develo</a:t>
            </a:r>
            <a:r>
              <a:rPr lang="en-US" dirty="0">
                <a:solidFill>
                  <a:srgbClr val="000000"/>
                </a:solidFill>
                <a:latin typeface="Calibri Light" panose="020F0302020204030204" pitchFamily="34" charset="0"/>
                <a:ea typeface="Times New Roman" panose="02020603050405020304" pitchFamily="18" charset="0"/>
              </a:rPr>
              <a:t>pment </a:t>
            </a:r>
            <a:r>
              <a:rPr lang="en-US" sz="1800" dirty="0">
                <a:solidFill>
                  <a:srgbClr val="000000"/>
                </a:solidFill>
                <a:effectLst/>
                <a:latin typeface="Calibri Light" panose="020F0302020204030204" pitchFamily="34" charset="0"/>
                <a:ea typeface="Times New Roman" panose="02020603050405020304" pitchFamily="18" charset="0"/>
              </a:rPr>
              <a:t> Act </a:t>
            </a:r>
          </a:p>
          <a:p>
            <a:pPr marL="355600" marR="45720" lvl="2" indent="-355600" algn="just">
              <a:lnSpc>
                <a:spcPct val="107000"/>
              </a:lnSpc>
              <a:buFont typeface="Arial" panose="020B0604020202020204" pitchFamily="34" charset="0"/>
              <a:buChar char="•"/>
            </a:pPr>
            <a:r>
              <a:rPr lang="en-US" sz="1800" dirty="0">
                <a:solidFill>
                  <a:srgbClr val="000000"/>
                </a:solidFill>
                <a:effectLst/>
                <a:latin typeface="Calibri Light" panose="020F0302020204030204" pitchFamily="34" charset="0"/>
                <a:ea typeface="Times New Roman" panose="02020603050405020304" pitchFamily="18" charset="0"/>
              </a:rPr>
              <a:t>Tourism Levy Act</a:t>
            </a:r>
            <a:endParaRPr lang="en-US" dirty="0">
              <a:solidFill>
                <a:srgbClr val="000000"/>
              </a:solidFill>
              <a:latin typeface="Calibri Light" panose="020F0302020204030204" pitchFamily="34" charset="0"/>
              <a:ea typeface="Times New Roman" panose="02020603050405020304" pitchFamily="18" charset="0"/>
            </a:endParaRPr>
          </a:p>
        </p:txBody>
      </p:sp>
      <p:sp>
        <p:nvSpPr>
          <p:cNvPr id="9" name="Rectangle 8">
            <a:extLst>
              <a:ext uri="{FF2B5EF4-FFF2-40B4-BE49-F238E27FC236}">
                <a16:creationId xmlns:a16="http://schemas.microsoft.com/office/drawing/2014/main" id="{159AE391-47B2-27EA-5941-C9954DC85524}"/>
              </a:ext>
            </a:extLst>
          </p:cNvPr>
          <p:cNvSpPr/>
          <p:nvPr/>
        </p:nvSpPr>
        <p:spPr>
          <a:xfrm>
            <a:off x="5734394" y="1925454"/>
            <a:ext cx="6289040" cy="4898679"/>
          </a:xfrm>
          <a:prstGeom prst="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80996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2"/>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REDEVELOPMENT OF THE MORNE LAY BY</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704790" y="1694668"/>
            <a:ext cx="3759056" cy="33547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econstruction of the Viewing Deck</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ing Hu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ilet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Basement Storage Are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3"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onstruction</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 – Facility &amp; Train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axi Drivers</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6366" y="3618272"/>
            <a:ext cx="4704256" cy="2897366"/>
          </a:xfrm>
          <a:prstGeom prst="rect">
            <a:avLst/>
          </a:prstGeom>
          <a:ln>
            <a:noFill/>
          </a:ln>
          <a:effectLst>
            <a:softEdge rad="112500"/>
          </a:effec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5206" y="1167470"/>
            <a:ext cx="6216794" cy="3271346"/>
          </a:xfrm>
          <a:prstGeom prst="rect">
            <a:avLst/>
          </a:prstGeom>
          <a:ln>
            <a:noFill/>
          </a:ln>
          <a:effectLst>
            <a:softEdge rad="112500"/>
          </a:effectLst>
        </p:spPr>
      </p:pic>
    </p:spTree>
    <p:extLst>
      <p:ext uri="{BB962C8B-B14F-4D97-AF65-F5344CB8AC3E}">
        <p14:creationId xmlns:p14="http://schemas.microsoft.com/office/powerpoint/2010/main" val="35969851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FERRE PARK AND LOOKOU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911267" y="1426736"/>
            <a:ext cx="5705842" cy="42319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Landscaping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ing Area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ar Park Hard Standing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Security/ Information Booth</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ailings/ Safety Barrier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ilet Faciliti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DCA Approval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5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 – Facility &amp; Training</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Divers – Certification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axi Drive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8" name="Picture 7">
            <a:extLst>
              <a:ext uri="{FF2B5EF4-FFF2-40B4-BE49-F238E27FC236}">
                <a16:creationId xmlns:a16="http://schemas.microsoft.com/office/drawing/2014/main" id="{111D195E-39E8-4C09-B2A6-DB4EB2351A66}"/>
              </a:ext>
            </a:extLst>
          </p:cNvPr>
          <p:cNvPicPr>
            <a:picLocks noChangeAspect="1"/>
          </p:cNvPicPr>
          <p:nvPr/>
        </p:nvPicPr>
        <p:blipFill rotWithShape="1">
          <a:blip r:embed="rId2">
            <a:extLst>
              <a:ext uri="{28A0092B-C50C-407E-A947-70E740481C1C}">
                <a14:useLocalDpi xmlns:a14="http://schemas.microsoft.com/office/drawing/2010/main" val="0"/>
              </a:ext>
            </a:extLst>
          </a:blip>
          <a:srcRect l="27543" r="38033" b="32055"/>
          <a:stretch/>
        </p:blipFill>
        <p:spPr>
          <a:xfrm>
            <a:off x="6500499" y="977060"/>
            <a:ext cx="5301343" cy="4286988"/>
          </a:xfrm>
          <a:prstGeom prst="rect">
            <a:avLst/>
          </a:prstGeom>
          <a:ln>
            <a:noFill/>
          </a:ln>
          <a:effectLst>
            <a:softEdge rad="112500"/>
          </a:effectLst>
        </p:spPr>
      </p:pic>
      <p:pic>
        <p:nvPicPr>
          <p:cNvPr id="10" name="Picture 9">
            <a:extLst>
              <a:ext uri="{FF2B5EF4-FFF2-40B4-BE49-F238E27FC236}">
                <a16:creationId xmlns:a16="http://schemas.microsoft.com/office/drawing/2014/main" id="{D8446A62-2DE6-42E7-A131-7DB86A82199A}"/>
              </a:ext>
            </a:extLst>
          </p:cNvPr>
          <p:cNvPicPr>
            <a:picLocks noChangeAspect="1"/>
          </p:cNvPicPr>
          <p:nvPr/>
        </p:nvPicPr>
        <p:blipFill>
          <a:blip r:embed="rId3">
            <a:extLst>
              <a:ext uri="{28A0092B-C50C-407E-A947-70E740481C1C}">
                <a14:useLocalDpi xmlns:a14="http://schemas.microsoft.com/office/drawing/2010/main" val="0"/>
              </a:ext>
            </a:extLst>
          </a:blip>
          <a:srcRect l="10957" r="10957"/>
          <a:stretch/>
        </p:blipFill>
        <p:spPr>
          <a:xfrm>
            <a:off x="3764188" y="3120554"/>
            <a:ext cx="4934684" cy="3554765"/>
          </a:xfrm>
          <a:prstGeom prst="rect">
            <a:avLst/>
          </a:prstGeom>
          <a:ln>
            <a:noFill/>
          </a:ln>
          <a:effectLst>
            <a:softEdge rad="112500"/>
          </a:effectLst>
        </p:spPr>
      </p:pic>
    </p:spTree>
    <p:extLst>
      <p:ext uri="{BB962C8B-B14F-4D97-AF65-F5344CB8AC3E}">
        <p14:creationId xmlns:p14="http://schemas.microsoft.com/office/powerpoint/2010/main" val="17625950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FERRE PARK AND LOOKOU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293593" y="1136752"/>
            <a:ext cx="4830857"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706F17F7-967D-4224-B0C7-1AFD7EC098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6277" y="1136752"/>
            <a:ext cx="8852812" cy="5490890"/>
          </a:xfrm>
          <a:prstGeom prst="rect">
            <a:avLst/>
          </a:prstGeom>
          <a:ln w="9525">
            <a:solidFill>
              <a:schemeClr val="accent1"/>
            </a:solidFill>
          </a:ln>
        </p:spPr>
      </p:pic>
    </p:spTree>
    <p:extLst>
      <p:ext uri="{BB962C8B-B14F-4D97-AF65-F5344CB8AC3E}">
        <p14:creationId xmlns:p14="http://schemas.microsoft.com/office/powerpoint/2010/main" val="42530268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FERRE PARK AND LOOKOU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293593" y="1136752"/>
            <a:ext cx="4830857"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706F17F7-967D-4224-B0C7-1AFD7EC098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6277" y="1392344"/>
            <a:ext cx="8852812" cy="4979706"/>
          </a:xfrm>
          <a:prstGeom prst="rect">
            <a:avLst/>
          </a:prstGeom>
          <a:ln w="12700">
            <a:solidFill>
              <a:schemeClr val="accent1"/>
            </a:solidFill>
          </a:ln>
        </p:spPr>
      </p:pic>
    </p:spTree>
    <p:extLst>
      <p:ext uri="{BB962C8B-B14F-4D97-AF65-F5344CB8AC3E}">
        <p14:creationId xmlns:p14="http://schemas.microsoft.com/office/powerpoint/2010/main" val="17564091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FERRE PARK AND LOOKOU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293593" y="1136752"/>
            <a:ext cx="4830857"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706F17F7-967D-4224-B0C7-1AFD7EC098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6278" y="1392344"/>
            <a:ext cx="8852810" cy="4979706"/>
          </a:xfrm>
          <a:prstGeom prst="rect">
            <a:avLst/>
          </a:prstGeom>
          <a:ln w="12700">
            <a:solidFill>
              <a:schemeClr val="accent1"/>
            </a:solidFill>
          </a:ln>
        </p:spPr>
      </p:pic>
    </p:spTree>
    <p:extLst>
      <p:ext uri="{BB962C8B-B14F-4D97-AF65-F5344CB8AC3E}">
        <p14:creationId xmlns:p14="http://schemas.microsoft.com/office/powerpoint/2010/main" val="28726635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190"/>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FERRE PARK AND LOOKOU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293593" y="1136752"/>
            <a:ext cx="4830857"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3" name="Picture 2">
            <a:extLst>
              <a:ext uri="{FF2B5EF4-FFF2-40B4-BE49-F238E27FC236}">
                <a16:creationId xmlns:a16="http://schemas.microsoft.com/office/drawing/2014/main" id="{706F17F7-967D-4224-B0C7-1AFD7EC098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6278" y="1392344"/>
            <a:ext cx="8852810" cy="4979705"/>
          </a:xfrm>
          <a:prstGeom prst="rect">
            <a:avLst/>
          </a:prstGeom>
          <a:ln w="19050">
            <a:solidFill>
              <a:schemeClr val="accent1"/>
            </a:solidFill>
          </a:ln>
        </p:spPr>
      </p:pic>
    </p:spTree>
    <p:extLst>
      <p:ext uri="{BB962C8B-B14F-4D97-AF65-F5344CB8AC3E}">
        <p14:creationId xmlns:p14="http://schemas.microsoft.com/office/powerpoint/2010/main" val="35096266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5358"/>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CUL DE SAC BUCKEYE BEACH PARK</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945248" y="1631144"/>
            <a:ext cx="3046649" cy="41242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4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Landscaping + General Cleanup</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ilet Block + Shower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Security/ Information Booth</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ing Stalls (open)</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Beach Bar &amp; Pizza Hu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Umbrella Storage Shack</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DCA Approval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5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axi &amp; Tour Operators</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0" name="Picture 9">
            <a:extLst>
              <a:ext uri="{FF2B5EF4-FFF2-40B4-BE49-F238E27FC236}">
                <a16:creationId xmlns:a16="http://schemas.microsoft.com/office/drawing/2014/main" id="{ADE5B40E-D28F-49BF-BB60-157327FE2A64}"/>
              </a:ext>
            </a:extLst>
          </p:cNvPr>
          <p:cNvPicPr>
            <a:picLocks noChangeAspect="1"/>
          </p:cNvPicPr>
          <p:nvPr/>
        </p:nvPicPr>
        <p:blipFill rotWithShape="1">
          <a:blip r:embed="rId2">
            <a:extLst>
              <a:ext uri="{28A0092B-C50C-407E-A947-70E740481C1C}">
                <a14:useLocalDpi xmlns:a14="http://schemas.microsoft.com/office/drawing/2010/main" val="0"/>
              </a:ext>
            </a:extLst>
          </a:blip>
          <a:srcRect b="53133"/>
          <a:stretch/>
        </p:blipFill>
        <p:spPr>
          <a:xfrm>
            <a:off x="3798169" y="1153929"/>
            <a:ext cx="7807848" cy="2516713"/>
          </a:xfrm>
          <a:prstGeom prst="rect">
            <a:avLst/>
          </a:prstGeom>
          <a:ln>
            <a:noFill/>
          </a:ln>
          <a:effectLst>
            <a:softEdge rad="112500"/>
          </a:effectLst>
        </p:spPr>
      </p:pic>
      <p:pic>
        <p:nvPicPr>
          <p:cNvPr id="8" name="Picture 7">
            <a:extLst>
              <a:ext uri="{FF2B5EF4-FFF2-40B4-BE49-F238E27FC236}">
                <a16:creationId xmlns:a16="http://schemas.microsoft.com/office/drawing/2014/main" id="{2DE92CDF-29C4-4520-9288-CA6A33516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98169" y="3689722"/>
            <a:ext cx="7807848" cy="2897166"/>
          </a:xfrm>
          <a:prstGeom prst="rect">
            <a:avLst/>
          </a:prstGeom>
          <a:ln>
            <a:noFill/>
          </a:ln>
          <a:effectLst>
            <a:softEdge rad="112500"/>
          </a:effectLst>
        </p:spPr>
      </p:pic>
    </p:spTree>
    <p:extLst>
      <p:ext uri="{BB962C8B-B14F-4D97-AF65-F5344CB8AC3E}">
        <p14:creationId xmlns:p14="http://schemas.microsoft.com/office/powerpoint/2010/main" val="11012759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34858"/>
            <a:ext cx="11824854" cy="1032422"/>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MARIGOT BAY WATERFRONT DEVELOPMENT</a:t>
            </a:r>
          </a:p>
        </p:txBody>
      </p:sp>
      <p:cxnSp>
        <p:nvCxnSpPr>
          <p:cNvPr id="9" name="Straight Connector 8"/>
          <p:cNvCxnSpPr/>
          <p:nvPr/>
        </p:nvCxnSpPr>
        <p:spPr>
          <a:xfrm flipV="1">
            <a:off x="1056912" y="957981"/>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56912" y="2048446"/>
            <a:ext cx="3485591" cy="35855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Open Gazebo/Recreational Are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oilet/Shower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Jetty/Berting Point for Small Vessel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Boardwalk</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6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DCA Application</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11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Ferry Operators/Fisherme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Taxi Drivers</a:t>
            </a:r>
            <a:endParaRPr kumimoji="0" lang="x-none"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x-none" sz="800" b="0" i="0" u="none" strike="noStrike" kern="0" cap="none" spc="0" normalizeH="0" baseline="0" noProof="0" dirty="0">
              <a:ln>
                <a:noFill/>
              </a:ln>
              <a:solidFill>
                <a:srgbClr val="000000"/>
              </a:solidFill>
              <a:effectLst/>
              <a:uLnTx/>
              <a:uFillTx/>
              <a:latin typeface="Arial"/>
              <a:cs typeface="Arial"/>
              <a:sym typeface="Arial"/>
            </a:endParaRPr>
          </a:p>
        </p:txBody>
      </p:sp>
      <p:pic>
        <p:nvPicPr>
          <p:cNvPr id="7" name="Picture 6">
            <a:extLst>
              <a:ext uri="{FF2B5EF4-FFF2-40B4-BE49-F238E27FC236}">
                <a16:creationId xmlns:a16="http://schemas.microsoft.com/office/drawing/2014/main" id="{27D9C2B7-037C-4A75-A878-44593CA26DB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333006" y="1111563"/>
            <a:ext cx="5511895" cy="3100442"/>
          </a:xfrm>
          <a:prstGeom prst="rect">
            <a:avLst/>
          </a:prstGeom>
          <a:ln>
            <a:noFill/>
          </a:ln>
          <a:effectLst>
            <a:softEdge rad="112500"/>
          </a:effectLst>
        </p:spPr>
      </p:pic>
      <p:pic>
        <p:nvPicPr>
          <p:cNvPr id="11" name="Picture 10">
            <a:extLst>
              <a:ext uri="{FF2B5EF4-FFF2-40B4-BE49-F238E27FC236}">
                <a16:creationId xmlns:a16="http://schemas.microsoft.com/office/drawing/2014/main" id="{6575A19C-7CB6-4F92-829B-5A856AB45C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1048" y="3428876"/>
            <a:ext cx="4965146" cy="3309731"/>
          </a:xfrm>
          <a:prstGeom prst="rect">
            <a:avLst/>
          </a:prstGeom>
          <a:ln>
            <a:noFill/>
          </a:ln>
          <a:effectLst>
            <a:softEdge rad="112500"/>
          </a:effectLst>
        </p:spPr>
      </p:pic>
    </p:spTree>
    <p:extLst>
      <p:ext uri="{BB962C8B-B14F-4D97-AF65-F5344CB8AC3E}">
        <p14:creationId xmlns:p14="http://schemas.microsoft.com/office/powerpoint/2010/main" val="18296734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16225"/>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NSE LA RAYE WATERFRONT UPGRADE</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390158" y="1520509"/>
            <a:ext cx="5705842" cy="43242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enovated Fish Fry Building</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Waterfront Restaura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Upgrade of Jetty</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nstallation of Fifteen (15) Mooring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Bed &amp; Breakfast (10 room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Sewage Treatment Plant</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Relocation of the Public Laundry</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Ice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Enhancement of Village Squar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Fishermen’s Mending Are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Additional Beach Bar &amp; Shower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5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5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9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6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Vend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Fishermen</a:t>
            </a:r>
          </a:p>
        </p:txBody>
      </p:sp>
      <p:pic>
        <p:nvPicPr>
          <p:cNvPr id="6" name="Picture Placeholder 18">
            <a:extLst>
              <a:ext uri="{FF2B5EF4-FFF2-40B4-BE49-F238E27FC236}">
                <a16:creationId xmlns:a16="http://schemas.microsoft.com/office/drawing/2014/main" id="{1E3A5905-70A8-D4C6-1770-503513135E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7213" y="1170777"/>
            <a:ext cx="5632529" cy="4166714"/>
          </a:xfrm>
          <a:prstGeom prst="rect">
            <a:avLst/>
          </a:prstGeom>
          <a:ln>
            <a:noFill/>
          </a:ln>
          <a:effectLst>
            <a:softEdge rad="112500"/>
          </a:effectLst>
        </p:spPr>
      </p:pic>
      <p:pic>
        <p:nvPicPr>
          <p:cNvPr id="8" name="Picture 7">
            <a:extLst>
              <a:ext uri="{FF2B5EF4-FFF2-40B4-BE49-F238E27FC236}">
                <a16:creationId xmlns:a16="http://schemas.microsoft.com/office/drawing/2014/main" id="{B190ECA0-5BA8-9F61-9A06-116004B3D161}"/>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61798" y="3546987"/>
            <a:ext cx="4067277" cy="3050458"/>
          </a:xfrm>
          <a:prstGeom prst="rect">
            <a:avLst/>
          </a:prstGeom>
          <a:ln>
            <a:noFill/>
          </a:ln>
          <a:effectLst>
            <a:softEdge rad="112500"/>
          </a:effectLst>
        </p:spPr>
      </p:pic>
    </p:spTree>
    <p:extLst>
      <p:ext uri="{BB962C8B-B14F-4D97-AF65-F5344CB8AC3E}">
        <p14:creationId xmlns:p14="http://schemas.microsoft.com/office/powerpoint/2010/main" val="2602919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98604"/>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DENNERY FISH FRY REVAMP</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147270" y="2141986"/>
            <a:ext cx="5705842" cy="32008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Toilet Block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Sewage System</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Movable Vending Uni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Beautification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6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6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18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oncept/Design</a:t>
            </a:r>
            <a:endParaRPr kumimoji="0" lang="x-none" sz="18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18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2" name="Picture 1">
            <a:extLst>
              <a:ext uri="{FF2B5EF4-FFF2-40B4-BE49-F238E27FC236}">
                <a16:creationId xmlns:a16="http://schemas.microsoft.com/office/drawing/2014/main" id="{F9EAB9C7-BB49-6350-6FC6-F6E60898CCE0}"/>
              </a:ext>
            </a:extLst>
          </p:cNvPr>
          <p:cNvPicPr>
            <a:picLocks noChangeAspect="1"/>
          </p:cNvPicPr>
          <p:nvPr/>
        </p:nvPicPr>
        <p:blipFill>
          <a:blip r:embed="rId2"/>
          <a:stretch>
            <a:fillRect/>
          </a:stretch>
        </p:blipFill>
        <p:spPr>
          <a:xfrm>
            <a:off x="4902351" y="1148379"/>
            <a:ext cx="4464778" cy="2717691"/>
          </a:xfrm>
          <a:prstGeom prst="rect">
            <a:avLst/>
          </a:prstGeom>
          <a:ln>
            <a:noFill/>
          </a:ln>
          <a:effectLst>
            <a:softEdge rad="112500"/>
          </a:effectLst>
        </p:spPr>
      </p:pic>
      <p:pic>
        <p:nvPicPr>
          <p:cNvPr id="5" name="Picture 4" descr="An aerial view of a town&#10;&#10;Description automatically generated">
            <a:extLst>
              <a:ext uri="{FF2B5EF4-FFF2-40B4-BE49-F238E27FC236}">
                <a16:creationId xmlns:a16="http://schemas.microsoft.com/office/drawing/2014/main" id="{A0C3E000-8BAD-21F8-559D-1D32BC46E61E}"/>
              </a:ext>
            </a:extLst>
          </p:cNvPr>
          <p:cNvPicPr>
            <a:picLocks noChangeAspect="1"/>
          </p:cNvPicPr>
          <p:nvPr/>
        </p:nvPicPr>
        <p:blipFill rotWithShape="1">
          <a:blip r:embed="rId3">
            <a:extLst>
              <a:ext uri="{28A0092B-C50C-407E-A947-70E740481C1C}">
                <a14:useLocalDpi xmlns:a14="http://schemas.microsoft.com/office/drawing/2010/main" val="0"/>
              </a:ext>
            </a:extLst>
          </a:blip>
          <a:srcRect l="8065" r="5349"/>
          <a:stretch/>
        </p:blipFill>
        <p:spPr>
          <a:xfrm>
            <a:off x="6908598" y="3253117"/>
            <a:ext cx="4260847" cy="3400973"/>
          </a:xfrm>
          <a:prstGeom prst="rect">
            <a:avLst/>
          </a:prstGeom>
          <a:ln>
            <a:noFill/>
          </a:ln>
          <a:effectLst>
            <a:softEdge rad="112500"/>
          </a:effectLst>
        </p:spPr>
      </p:pic>
    </p:spTree>
    <p:extLst>
      <p:ext uri="{BB962C8B-B14F-4D97-AF65-F5344CB8AC3E}">
        <p14:creationId xmlns:p14="http://schemas.microsoft.com/office/powerpoint/2010/main" val="648684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4">
            <a:extLst>
              <a:ext uri="{FF2B5EF4-FFF2-40B4-BE49-F238E27FC236}">
                <a16:creationId xmlns:a16="http://schemas.microsoft.com/office/drawing/2014/main" id="{0A082E44-4C5F-3C56-08A6-D16250B4471A}"/>
              </a:ext>
            </a:extLst>
          </p:cNvPr>
          <p:cNvSpPr/>
          <p:nvPr/>
        </p:nvSpPr>
        <p:spPr>
          <a:xfrm>
            <a:off x="-1290721" y="2040351"/>
            <a:ext cx="4159057" cy="4159057"/>
          </a:xfrm>
          <a:prstGeom prst="arc">
            <a:avLst>
              <a:gd name="adj1" fmla="val 16200000"/>
              <a:gd name="adj2" fmla="val 5453292"/>
            </a:avLst>
          </a:prstGeom>
          <a:ln w="38100" cap="rnd">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latin typeface="Lato Light" panose="020F0502020204030203" pitchFamily="34" charset="0"/>
            </a:endParaRPr>
          </a:p>
        </p:txBody>
      </p:sp>
      <p:sp>
        <p:nvSpPr>
          <p:cNvPr id="7" name="Freeform 17">
            <a:extLst>
              <a:ext uri="{FF2B5EF4-FFF2-40B4-BE49-F238E27FC236}">
                <a16:creationId xmlns:a16="http://schemas.microsoft.com/office/drawing/2014/main" id="{BE44A878-EB35-B747-0FDB-C923DB7D5149}"/>
              </a:ext>
            </a:extLst>
          </p:cNvPr>
          <p:cNvSpPr/>
          <p:nvPr/>
        </p:nvSpPr>
        <p:spPr>
          <a:xfrm>
            <a:off x="778130" y="2304575"/>
            <a:ext cx="1815306" cy="3630611"/>
          </a:xfrm>
          <a:custGeom>
            <a:avLst/>
            <a:gdLst>
              <a:gd name="connsiteX0" fmla="*/ 0 w 4613275"/>
              <a:gd name="connsiteY0" fmla="*/ 0 h 9226550"/>
              <a:gd name="connsiteX1" fmla="*/ 4613275 w 4613275"/>
              <a:gd name="connsiteY1" fmla="*/ 4613275 h 9226550"/>
              <a:gd name="connsiteX2" fmla="*/ 0 w 4613275"/>
              <a:gd name="connsiteY2" fmla="*/ 9226550 h 9226550"/>
              <a:gd name="connsiteX3" fmla="*/ 0 w 4613275"/>
              <a:gd name="connsiteY3" fmla="*/ 8926779 h 9226550"/>
              <a:gd name="connsiteX4" fmla="*/ 4313504 w 4613275"/>
              <a:gd name="connsiteY4" fmla="*/ 4613275 h 9226550"/>
              <a:gd name="connsiteX5" fmla="*/ 0 w 4613275"/>
              <a:gd name="connsiteY5" fmla="*/ 299771 h 922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3275" h="9226550">
                <a:moveTo>
                  <a:pt x="0" y="0"/>
                </a:moveTo>
                <a:cubicBezTo>
                  <a:pt x="2547841" y="0"/>
                  <a:pt x="4613275" y="2065434"/>
                  <a:pt x="4613275" y="4613275"/>
                </a:cubicBezTo>
                <a:cubicBezTo>
                  <a:pt x="4613275" y="7161116"/>
                  <a:pt x="2547841" y="9226550"/>
                  <a:pt x="0" y="9226550"/>
                </a:cubicBezTo>
                <a:lnTo>
                  <a:pt x="0" y="8926779"/>
                </a:lnTo>
                <a:cubicBezTo>
                  <a:pt x="2382282" y="8926779"/>
                  <a:pt x="4313504" y="6995557"/>
                  <a:pt x="4313504" y="4613275"/>
                </a:cubicBezTo>
                <a:cubicBezTo>
                  <a:pt x="4313504" y="2230993"/>
                  <a:pt x="2382282" y="299771"/>
                  <a:pt x="0" y="299771"/>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14" name="TextBox 13">
            <a:extLst>
              <a:ext uri="{FF2B5EF4-FFF2-40B4-BE49-F238E27FC236}">
                <a16:creationId xmlns:a16="http://schemas.microsoft.com/office/drawing/2014/main" id="{7579EBD2-B06A-AABD-ABC3-51C67C1D0A1F}"/>
              </a:ext>
            </a:extLst>
          </p:cNvPr>
          <p:cNvSpPr txBox="1"/>
          <p:nvPr/>
        </p:nvSpPr>
        <p:spPr>
          <a:xfrm>
            <a:off x="94744" y="3726137"/>
            <a:ext cx="2420856" cy="830997"/>
          </a:xfrm>
          <a:prstGeom prst="rect">
            <a:avLst/>
          </a:prstGeom>
          <a:noFill/>
        </p:spPr>
        <p:txBody>
          <a:bodyPr wrap="none" rtlCol="0" anchor="ctr">
            <a:spAutoFit/>
          </a:bodyPr>
          <a:lstStyle/>
          <a:p>
            <a:pPr algn="ctr"/>
            <a:r>
              <a:rPr lang="en-US" sz="2400" b="1" dirty="0">
                <a:solidFill>
                  <a:schemeClr val="tx2"/>
                </a:solidFill>
                <a:latin typeface="Poppins" pitchFamily="2" charset="77"/>
                <a:cs typeface="Poppins" pitchFamily="2" charset="77"/>
              </a:rPr>
              <a:t>Why the need </a:t>
            </a:r>
          </a:p>
          <a:p>
            <a:pPr algn="ctr"/>
            <a:r>
              <a:rPr lang="en-US" sz="2400" b="1" dirty="0">
                <a:solidFill>
                  <a:schemeClr val="tx2"/>
                </a:solidFill>
                <a:latin typeface="Poppins" pitchFamily="2" charset="77"/>
                <a:cs typeface="Poppins" pitchFamily="2" charset="77"/>
              </a:rPr>
              <a:t>for change ?</a:t>
            </a:r>
          </a:p>
        </p:txBody>
      </p:sp>
      <p:grpSp>
        <p:nvGrpSpPr>
          <p:cNvPr id="18" name="Group 17">
            <a:extLst>
              <a:ext uri="{FF2B5EF4-FFF2-40B4-BE49-F238E27FC236}">
                <a16:creationId xmlns:a16="http://schemas.microsoft.com/office/drawing/2014/main" id="{5FC7698F-F971-F614-720A-465CA4C33040}"/>
              </a:ext>
            </a:extLst>
          </p:cNvPr>
          <p:cNvGrpSpPr/>
          <p:nvPr/>
        </p:nvGrpSpPr>
        <p:grpSpPr>
          <a:xfrm>
            <a:off x="9512688" y="2040351"/>
            <a:ext cx="2177349" cy="4053214"/>
            <a:chOff x="925196" y="1192612"/>
            <a:chExt cx="2886959" cy="4478028"/>
          </a:xfrm>
        </p:grpSpPr>
        <p:pic>
          <p:nvPicPr>
            <p:cNvPr id="19" name="Picture 18">
              <a:extLst>
                <a:ext uri="{FF2B5EF4-FFF2-40B4-BE49-F238E27FC236}">
                  <a16:creationId xmlns:a16="http://schemas.microsoft.com/office/drawing/2014/main" id="{584301BC-6C6E-AAEB-2A73-CE314D4585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5196" y="1478279"/>
              <a:ext cx="2886959" cy="2358345"/>
            </a:xfrm>
            <a:prstGeom prst="rect">
              <a:avLst/>
            </a:prstGeom>
          </p:spPr>
        </p:pic>
        <p:sp>
          <p:nvSpPr>
            <p:cNvPr id="20" name="Rectangle 19">
              <a:extLst>
                <a:ext uri="{FF2B5EF4-FFF2-40B4-BE49-F238E27FC236}">
                  <a16:creationId xmlns:a16="http://schemas.microsoft.com/office/drawing/2014/main" id="{F1E07296-6E2F-AA11-C618-54E510BA507E}"/>
                </a:ext>
              </a:extLst>
            </p:cNvPr>
            <p:cNvSpPr/>
            <p:nvPr/>
          </p:nvSpPr>
          <p:spPr>
            <a:xfrm>
              <a:off x="925197" y="1192612"/>
              <a:ext cx="2886958" cy="447802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p:txBody>
        </p:sp>
        <p:pic>
          <p:nvPicPr>
            <p:cNvPr id="21" name="Picture 20">
              <a:extLst>
                <a:ext uri="{FF2B5EF4-FFF2-40B4-BE49-F238E27FC236}">
                  <a16:creationId xmlns:a16="http://schemas.microsoft.com/office/drawing/2014/main" id="{F9C46F33-D9EC-226E-FE4D-1CB7976EC39E}"/>
                </a:ext>
              </a:extLst>
            </p:cNvPr>
            <p:cNvPicPr>
              <a:picLocks noChangeAspect="1"/>
            </p:cNvPicPr>
            <p:nvPr/>
          </p:nvPicPr>
          <p:blipFill>
            <a:blip r:embed="rId4">
              <a:clrChange>
                <a:clrFrom>
                  <a:srgbClr val="FCFEFF"/>
                </a:clrFrom>
                <a:clrTo>
                  <a:srgbClr val="FCFEFF">
                    <a:alpha val="0"/>
                  </a:srgbClr>
                </a:clrTo>
              </a:clrChange>
              <a:grayscl/>
            </a:blip>
            <a:stretch>
              <a:fillRect/>
            </a:stretch>
          </p:blipFill>
          <p:spPr>
            <a:xfrm>
              <a:off x="2893177" y="2498654"/>
              <a:ext cx="852941" cy="317593"/>
            </a:xfrm>
            <a:prstGeom prst="rect">
              <a:avLst/>
            </a:prstGeom>
          </p:spPr>
        </p:pic>
        <p:pic>
          <p:nvPicPr>
            <p:cNvPr id="22" name="Picture 21">
              <a:extLst>
                <a:ext uri="{FF2B5EF4-FFF2-40B4-BE49-F238E27FC236}">
                  <a16:creationId xmlns:a16="http://schemas.microsoft.com/office/drawing/2014/main" id="{1F52AFAB-BE79-213F-0DBD-4E020DDA3442}"/>
                </a:ext>
              </a:extLst>
            </p:cNvPr>
            <p:cNvPicPr>
              <a:picLocks noChangeAspect="1"/>
            </p:cNvPicPr>
            <p:nvPr/>
          </p:nvPicPr>
          <p:blipFill>
            <a:blip r:embed="rId5"/>
            <a:stretch>
              <a:fillRect/>
            </a:stretch>
          </p:blipFill>
          <p:spPr>
            <a:xfrm>
              <a:off x="1215590" y="3904360"/>
              <a:ext cx="2275697" cy="1251633"/>
            </a:xfrm>
            <a:prstGeom prst="rect">
              <a:avLst/>
            </a:prstGeom>
          </p:spPr>
        </p:pic>
        <p:pic>
          <p:nvPicPr>
            <p:cNvPr id="23" name="Picture 22">
              <a:extLst>
                <a:ext uri="{FF2B5EF4-FFF2-40B4-BE49-F238E27FC236}">
                  <a16:creationId xmlns:a16="http://schemas.microsoft.com/office/drawing/2014/main" id="{EA172340-F181-372E-E403-EA2E2E5E5087}"/>
                </a:ext>
              </a:extLst>
            </p:cNvPr>
            <p:cNvPicPr>
              <a:picLocks noChangeAspect="1"/>
            </p:cNvPicPr>
            <p:nvPr/>
          </p:nvPicPr>
          <p:blipFill>
            <a:blip r:embed="rId6"/>
            <a:stretch>
              <a:fillRect/>
            </a:stretch>
          </p:blipFill>
          <p:spPr>
            <a:xfrm>
              <a:off x="960955" y="5360118"/>
              <a:ext cx="2764843" cy="310522"/>
            </a:xfrm>
            <a:prstGeom prst="rect">
              <a:avLst/>
            </a:prstGeom>
          </p:spPr>
        </p:pic>
      </p:grpSp>
      <p:sp>
        <p:nvSpPr>
          <p:cNvPr id="24" name="Chevron 10">
            <a:extLst>
              <a:ext uri="{FF2B5EF4-FFF2-40B4-BE49-F238E27FC236}">
                <a16:creationId xmlns:a16="http://schemas.microsoft.com/office/drawing/2014/main" id="{3E746199-DDF8-F097-874C-1BC90EDC8AB5}"/>
              </a:ext>
            </a:extLst>
          </p:cNvPr>
          <p:cNvSpPr/>
          <p:nvPr/>
        </p:nvSpPr>
        <p:spPr>
          <a:xfrm>
            <a:off x="3052680" y="3107950"/>
            <a:ext cx="6275664" cy="1761401"/>
          </a:xfrm>
          <a:prstGeom prst="chevron">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Lato Light" panose="020F0502020204030203" pitchFamily="34" charset="0"/>
            </a:endParaRPr>
          </a:p>
        </p:txBody>
      </p:sp>
      <p:sp>
        <p:nvSpPr>
          <p:cNvPr id="25" name="TextBox 24">
            <a:extLst>
              <a:ext uri="{FF2B5EF4-FFF2-40B4-BE49-F238E27FC236}">
                <a16:creationId xmlns:a16="http://schemas.microsoft.com/office/drawing/2014/main" id="{564E681E-89A2-BE82-8972-DC0CD454690E}"/>
              </a:ext>
            </a:extLst>
          </p:cNvPr>
          <p:cNvSpPr txBox="1"/>
          <p:nvPr/>
        </p:nvSpPr>
        <p:spPr>
          <a:xfrm>
            <a:off x="4756799" y="3217036"/>
            <a:ext cx="3855121" cy="677108"/>
          </a:xfrm>
          <a:prstGeom prst="rect">
            <a:avLst/>
          </a:prstGeom>
          <a:noFill/>
        </p:spPr>
        <p:txBody>
          <a:bodyPr wrap="square" rtlCol="0" anchor="ctr" anchorCtr="0">
            <a:spAutoFit/>
          </a:bodyPr>
          <a:lstStyle/>
          <a:p>
            <a:r>
              <a:rPr lang="en-US" sz="1900" b="1" spc="150" dirty="0">
                <a:solidFill>
                  <a:schemeClr val="tx2"/>
                </a:solidFill>
                <a:latin typeface="Bebas Neue" pitchFamily="2" charset="0"/>
                <a:ea typeface="League Spartan" charset="0"/>
                <a:cs typeface="Poppins" pitchFamily="2" charset="77"/>
              </a:rPr>
              <a:t>Cabinet conclusion No. 227 of 2021</a:t>
            </a:r>
          </a:p>
        </p:txBody>
      </p:sp>
      <p:sp>
        <p:nvSpPr>
          <p:cNvPr id="26" name="Oval 25">
            <a:extLst>
              <a:ext uri="{FF2B5EF4-FFF2-40B4-BE49-F238E27FC236}">
                <a16:creationId xmlns:a16="http://schemas.microsoft.com/office/drawing/2014/main" id="{12EFCD3A-0313-714C-D3F2-01C80169EF95}"/>
              </a:ext>
            </a:extLst>
          </p:cNvPr>
          <p:cNvSpPr>
            <a:spLocks noChangeAspect="1"/>
          </p:cNvSpPr>
          <p:nvPr/>
        </p:nvSpPr>
        <p:spPr>
          <a:xfrm>
            <a:off x="4478393" y="3441289"/>
            <a:ext cx="228600" cy="2286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solidFill>
                <a:schemeClr val="tx2"/>
              </a:solidFill>
              <a:latin typeface="Lato Light" panose="020F0502020204030203" pitchFamily="34" charset="0"/>
            </a:endParaRPr>
          </a:p>
        </p:txBody>
      </p:sp>
      <p:sp>
        <p:nvSpPr>
          <p:cNvPr id="27" name="Subtitle 2">
            <a:extLst>
              <a:ext uri="{FF2B5EF4-FFF2-40B4-BE49-F238E27FC236}">
                <a16:creationId xmlns:a16="http://schemas.microsoft.com/office/drawing/2014/main" id="{3837A975-70F7-E92B-4104-09900779257A}"/>
              </a:ext>
            </a:extLst>
          </p:cNvPr>
          <p:cNvSpPr txBox="1">
            <a:spLocks/>
          </p:cNvSpPr>
          <p:nvPr/>
        </p:nvSpPr>
        <p:spPr>
          <a:xfrm>
            <a:off x="4016113" y="3823346"/>
            <a:ext cx="4568165" cy="840777"/>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850"/>
              </a:lnSpc>
            </a:pPr>
            <a:r>
              <a:rPr lang="en-US" sz="1600" dirty="0">
                <a:solidFill>
                  <a:schemeClr val="tx1"/>
                </a:solidFill>
                <a:latin typeface="+mn-lt"/>
                <a:ea typeface="Lato Light" panose="020F0502020204030203" pitchFamily="34" charset="0"/>
                <a:cs typeface="Mukta ExtraLight" panose="020B0000000000000000" pitchFamily="34" charset="77"/>
              </a:rPr>
              <a:t>Cabinet via Conclusion No. 227 of 2021</a:t>
            </a:r>
            <a:r>
              <a:rPr lang="en-US" sz="13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 </a:t>
            </a:r>
            <a:r>
              <a:rPr lang="en-US" sz="1600" dirty="0">
                <a:solidFill>
                  <a:schemeClr val="tx1"/>
                </a:solidFill>
                <a:latin typeface="+mn-lt"/>
                <a:ea typeface="Lato Light" panose="020F0502020204030203" pitchFamily="34" charset="0"/>
              </a:rPr>
              <a:t>endorsed the revision of the Tourism Incentives Act, Cap. 15.30, of the Revised Laws of Saint Lucia.</a:t>
            </a:r>
          </a:p>
        </p:txBody>
      </p:sp>
      <p:sp>
        <p:nvSpPr>
          <p:cNvPr id="29" name="TextBox 28">
            <a:extLst>
              <a:ext uri="{FF2B5EF4-FFF2-40B4-BE49-F238E27FC236}">
                <a16:creationId xmlns:a16="http://schemas.microsoft.com/office/drawing/2014/main" id="{8D9EC4DA-7337-0CC5-1C26-A525BD294B97}"/>
              </a:ext>
            </a:extLst>
          </p:cNvPr>
          <p:cNvSpPr txBox="1"/>
          <p:nvPr/>
        </p:nvSpPr>
        <p:spPr>
          <a:xfrm>
            <a:off x="1847528" y="43766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BACKGROUND</a:t>
            </a:r>
          </a:p>
        </p:txBody>
      </p:sp>
      <p:sp>
        <p:nvSpPr>
          <p:cNvPr id="3" name="TextBox 2">
            <a:extLst>
              <a:ext uri="{FF2B5EF4-FFF2-40B4-BE49-F238E27FC236}">
                <a16:creationId xmlns:a16="http://schemas.microsoft.com/office/drawing/2014/main" id="{324E38C5-AC59-1629-924D-AF83F06BE3EE}"/>
              </a:ext>
            </a:extLst>
          </p:cNvPr>
          <p:cNvSpPr txBox="1"/>
          <p:nvPr/>
        </p:nvSpPr>
        <p:spPr>
          <a:xfrm>
            <a:off x="2593435" y="1796170"/>
            <a:ext cx="6644353" cy="723211"/>
          </a:xfrm>
          <a:prstGeom prst="rect">
            <a:avLst/>
          </a:prstGeom>
          <a:noFill/>
        </p:spPr>
        <p:txBody>
          <a:bodyPr wrap="square">
            <a:spAutoFit/>
          </a:bodyPr>
          <a:lstStyle/>
          <a:p>
            <a:pPr marL="355600" marR="45720" lvl="2" indent="-355600" algn="just">
              <a:lnSpc>
                <a:spcPct val="107000"/>
              </a:lnSpc>
              <a:spcAft>
                <a:spcPts val="400"/>
              </a:spcAft>
              <a:buFont typeface="Arial" panose="020B0604020202020204" pitchFamily="34" charset="0"/>
              <a:buChar char="•"/>
            </a:pPr>
            <a:r>
              <a:rPr lang="en-GB" sz="1800" b="1" dirty="0">
                <a:effectLst/>
                <a:latin typeface="Calibri Light" panose="020F0302020204030204" pitchFamily="34" charset="0"/>
                <a:ea typeface="Calibri" panose="020F0502020204030204" pitchFamily="34" charset="0"/>
              </a:rPr>
              <a:t>The </a:t>
            </a:r>
            <a:r>
              <a:rPr lang="en-US" sz="1800" b="1" dirty="0">
                <a:solidFill>
                  <a:srgbClr val="000000"/>
                </a:solidFill>
                <a:effectLst/>
                <a:latin typeface="Calibri Light" panose="020F0302020204030204" pitchFamily="34" charset="0"/>
                <a:ea typeface="Times New Roman" panose="02020603050405020304" pitchFamily="18" charset="0"/>
              </a:rPr>
              <a:t>Tourism Incentives Act, Chapter 15.30 (1996)</a:t>
            </a:r>
            <a:endParaRPr lang="en-US" sz="1800" b="1" dirty="0">
              <a:effectLst/>
              <a:latin typeface="Times New Roman" panose="02020603050405020304" pitchFamily="18" charset="0"/>
              <a:ea typeface="Times New Roman" panose="02020603050405020304" pitchFamily="18" charset="0"/>
            </a:endParaRPr>
          </a:p>
          <a:p>
            <a:pPr marL="355600" marR="45720" lvl="2" indent="-355600" algn="just">
              <a:lnSpc>
                <a:spcPct val="107000"/>
              </a:lnSpc>
              <a:spcAft>
                <a:spcPts val="400"/>
              </a:spcAft>
              <a:buFont typeface="Arial" panose="020B0604020202020204" pitchFamily="34" charset="0"/>
              <a:buChar char="•"/>
            </a:pPr>
            <a:r>
              <a:rPr lang="en-GB" sz="1800" b="1" dirty="0">
                <a:effectLst/>
                <a:latin typeface="Calibri Light" panose="020F0302020204030204" pitchFamily="34" charset="0"/>
                <a:ea typeface="Calibri" panose="020F0502020204030204" pitchFamily="34" charset="0"/>
              </a:rPr>
              <a:t>The </a:t>
            </a:r>
            <a:r>
              <a:rPr lang="en-US" sz="1800" b="1" dirty="0">
                <a:solidFill>
                  <a:srgbClr val="000000"/>
                </a:solidFill>
                <a:effectLst/>
                <a:latin typeface="Calibri Light" panose="020F0302020204030204" pitchFamily="34" charset="0"/>
                <a:ea typeface="Times New Roman" panose="02020603050405020304" pitchFamily="18" charset="0"/>
              </a:rPr>
              <a:t>Tourism Stimulus and Investment Act, Chapter 15.03 (2014)</a:t>
            </a:r>
          </a:p>
        </p:txBody>
      </p:sp>
    </p:spTree>
    <p:extLst>
      <p:ext uri="{BB962C8B-B14F-4D97-AF65-F5344CB8AC3E}">
        <p14:creationId xmlns:p14="http://schemas.microsoft.com/office/powerpoint/2010/main" val="36001808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35898"/>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MARTYRS SHRINE</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56912" y="1809326"/>
            <a:ext cx="4206902" cy="35471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struction of Shrine, Retail Outlets and Coffee Shop</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Formulation of Tour</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cept/Design</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TA – Building Asset and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3" name="Picture 2">
            <a:extLst>
              <a:ext uri="{FF2B5EF4-FFF2-40B4-BE49-F238E27FC236}">
                <a16:creationId xmlns:a16="http://schemas.microsoft.com/office/drawing/2014/main" id="{39DE3BD3-C093-1A10-69D1-BE94959ADE01}"/>
              </a:ext>
            </a:extLst>
          </p:cNvPr>
          <p:cNvPicPr>
            <a:picLocks noChangeAspect="1"/>
          </p:cNvPicPr>
          <p:nvPr/>
        </p:nvPicPr>
        <p:blipFill>
          <a:blip r:embed="rId2"/>
          <a:stretch>
            <a:fillRect/>
          </a:stretch>
        </p:blipFill>
        <p:spPr>
          <a:xfrm>
            <a:off x="5006607" y="1401138"/>
            <a:ext cx="5984014" cy="4467850"/>
          </a:xfrm>
          <a:prstGeom prst="rect">
            <a:avLst/>
          </a:prstGeom>
          <a:ln>
            <a:noFill/>
          </a:ln>
          <a:effectLst>
            <a:softEdge rad="112500"/>
          </a:effectLst>
        </p:spPr>
      </p:pic>
    </p:spTree>
    <p:extLst>
      <p:ext uri="{BB962C8B-B14F-4D97-AF65-F5344CB8AC3E}">
        <p14:creationId xmlns:p14="http://schemas.microsoft.com/office/powerpoint/2010/main" val="32934906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26066"/>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SEAMOSS EXPERIENCE – PRASLIN BAY</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938011" y="1500844"/>
            <a:ext cx="4981663" cy="44704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Mangrove Boardwalk</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struction of Vending Booths and Manufacturing Facility for </a:t>
            </a:r>
            <a:r>
              <a:rPr kumimoji="0" lang="en-US" sz="2000" b="0" i="0" u="none" strike="noStrike" kern="0" cap="none" spc="0" normalizeH="0" baseline="0" noProof="0" dirty="0" err="1">
                <a:ln>
                  <a:noFill/>
                </a:ln>
                <a:solidFill>
                  <a:srgbClr val="000000"/>
                </a:solidFill>
                <a:effectLst/>
                <a:uLnTx/>
                <a:uFillTx/>
                <a:latin typeface="Arial"/>
                <a:cs typeface="Arial"/>
                <a:sym typeface="Arial"/>
              </a:rPr>
              <a:t>Seamoss</a:t>
            </a:r>
            <a:r>
              <a:rPr kumimoji="0" lang="en-US" sz="2000" b="0" i="0" u="none" strike="noStrike" kern="0" cap="none" spc="0" normalizeH="0" baseline="0" noProof="0" dirty="0">
                <a:ln>
                  <a:noFill/>
                </a:ln>
                <a:solidFill>
                  <a:srgbClr val="000000"/>
                </a:solidFill>
                <a:effectLst/>
                <a:uLnTx/>
                <a:uFillTx/>
                <a:latin typeface="Arial"/>
                <a:cs typeface="Arial"/>
                <a:sym typeface="Arial"/>
              </a:rPr>
              <a:t> Produc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Formulation of </a:t>
            </a:r>
            <a:r>
              <a:rPr kumimoji="0" lang="en-US" sz="2000" b="0" i="0" u="none" strike="noStrike" kern="0" cap="none" spc="0" normalizeH="0" baseline="0" noProof="0" dirty="0" err="1">
                <a:ln>
                  <a:noFill/>
                </a:ln>
                <a:solidFill>
                  <a:srgbClr val="000000"/>
                </a:solidFill>
                <a:effectLst/>
                <a:uLnTx/>
                <a:uFillTx/>
                <a:latin typeface="Arial"/>
                <a:cs typeface="Arial"/>
                <a:sym typeface="Arial"/>
              </a:rPr>
              <a:t>Seamoss</a:t>
            </a:r>
            <a:r>
              <a:rPr kumimoji="0" lang="en-US" sz="2000" b="0" i="0" u="none" strike="noStrike" kern="0" cap="none" spc="0" normalizeH="0" baseline="0" noProof="0" dirty="0">
                <a:ln>
                  <a:noFill/>
                </a:ln>
                <a:solidFill>
                  <a:srgbClr val="000000"/>
                </a:solidFill>
                <a:effectLst/>
                <a:uLnTx/>
                <a:uFillTx/>
                <a:latin typeface="Arial"/>
                <a:cs typeface="Arial"/>
                <a:sym typeface="Arial"/>
              </a:rPr>
              <a:t> Farm Tour</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oilet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cept/Design</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2" name="Picture 1" descr="Aerial view of a body of water and a bridge&#10;&#10;Description automatically generated">
            <a:extLst>
              <a:ext uri="{FF2B5EF4-FFF2-40B4-BE49-F238E27FC236}">
                <a16:creationId xmlns:a16="http://schemas.microsoft.com/office/drawing/2014/main" id="{62753A72-83DB-FD05-7F3F-B70258D94C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9674" y="1585669"/>
            <a:ext cx="5472621" cy="4098866"/>
          </a:xfrm>
          <a:prstGeom prst="rect">
            <a:avLst/>
          </a:prstGeom>
          <a:ln>
            <a:noFill/>
          </a:ln>
          <a:effectLst>
            <a:softEdge rad="112500"/>
          </a:effectLst>
        </p:spPr>
      </p:pic>
    </p:spTree>
    <p:extLst>
      <p:ext uri="{BB962C8B-B14F-4D97-AF65-F5344CB8AC3E}">
        <p14:creationId xmlns:p14="http://schemas.microsoft.com/office/powerpoint/2010/main" val="22187508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83573" y="73944"/>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MARCHAND ARTISAN VILLAGE</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888194" y="1903900"/>
            <a:ext cx="5207805" cy="35471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struction of Live Craft /Skills Display Are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wo (2) Restaurant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oilet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cept/Design</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TA – Building Asset &amp; Commercial Spac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3" name="Picture 2" descr="An aerial view of a city&#10;&#10;Description automatically generated">
            <a:extLst>
              <a:ext uri="{FF2B5EF4-FFF2-40B4-BE49-F238E27FC236}">
                <a16:creationId xmlns:a16="http://schemas.microsoft.com/office/drawing/2014/main" id="{023D404D-F630-B098-3513-10AFA4A32F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5999" y="1383820"/>
            <a:ext cx="4483511" cy="4987907"/>
          </a:xfrm>
          <a:prstGeom prst="rect">
            <a:avLst/>
          </a:prstGeom>
          <a:ln>
            <a:noFill/>
          </a:ln>
          <a:effectLst>
            <a:softEdge rad="112500"/>
          </a:effectLst>
        </p:spPr>
      </p:pic>
    </p:spTree>
    <p:extLst>
      <p:ext uri="{BB962C8B-B14F-4D97-AF65-F5344CB8AC3E}">
        <p14:creationId xmlns:p14="http://schemas.microsoft.com/office/powerpoint/2010/main" val="19662375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83573" y="45231"/>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REDUIT BEACH VENDING AREA (THE RAMP)</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192996" y="2051451"/>
            <a:ext cx="5119969" cy="29315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ing Stall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oilet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DCA Approval</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NCA</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3" name="Content Placeholder 7" descr="An aerial view of a city&#10;&#10;Description automatically generated">
            <a:extLst>
              <a:ext uri="{FF2B5EF4-FFF2-40B4-BE49-F238E27FC236}">
                <a16:creationId xmlns:a16="http://schemas.microsoft.com/office/drawing/2014/main" id="{5ED17036-F0B4-DEEC-A89E-642F4BFA239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86542" y="1535920"/>
            <a:ext cx="6172200" cy="4602545"/>
          </a:xfrm>
          <a:prstGeom prst="rect">
            <a:avLst/>
          </a:prstGeom>
          <a:ln>
            <a:noFill/>
          </a:ln>
          <a:effectLst>
            <a:softEdge rad="112500"/>
          </a:effectLst>
        </p:spPr>
      </p:pic>
    </p:spTree>
    <p:extLst>
      <p:ext uri="{BB962C8B-B14F-4D97-AF65-F5344CB8AC3E}">
        <p14:creationId xmlns:p14="http://schemas.microsoft.com/office/powerpoint/2010/main" val="415162379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55561"/>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VISITOR VIEW POINTS</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56912" y="1652570"/>
            <a:ext cx="5705842" cy="43781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ing Booth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oilet Faciliti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Locations:</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err="1">
                <a:ln>
                  <a:noFill/>
                </a:ln>
                <a:solidFill>
                  <a:srgbClr val="000000"/>
                </a:solidFill>
                <a:effectLst/>
                <a:uLnTx/>
                <a:uFillTx/>
                <a:latin typeface="Arial"/>
                <a:cs typeface="Arial"/>
                <a:sym typeface="Arial"/>
              </a:rPr>
              <a:t>Anse</a:t>
            </a:r>
            <a:r>
              <a:rPr kumimoji="0" lang="en-US" sz="2000" b="0" i="0" u="none" strike="noStrike" kern="0" cap="none" spc="0" normalizeH="0" baseline="0" noProof="0" dirty="0">
                <a:ln>
                  <a:noFill/>
                </a:ln>
                <a:solidFill>
                  <a:srgbClr val="000000"/>
                </a:solidFill>
                <a:effectLst/>
                <a:uLnTx/>
                <a:uFillTx/>
                <a:latin typeface="Arial"/>
                <a:cs typeface="Arial"/>
                <a:sym typeface="Arial"/>
              </a:rPr>
              <a:t> La Raye</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err="1">
                <a:ln>
                  <a:noFill/>
                </a:ln>
                <a:solidFill>
                  <a:srgbClr val="000000"/>
                </a:solidFill>
                <a:effectLst/>
                <a:uLnTx/>
                <a:uFillTx/>
                <a:latin typeface="Arial"/>
                <a:cs typeface="Arial"/>
                <a:sym typeface="Arial"/>
              </a:rPr>
              <a:t>Palmiste</a:t>
            </a:r>
            <a:r>
              <a:rPr kumimoji="0" lang="en-US" sz="2000" b="0" i="0" u="none" strike="noStrike" kern="0" cap="none" spc="0" normalizeH="0" baseline="0" noProof="0" dirty="0">
                <a:ln>
                  <a:noFill/>
                </a:ln>
                <a:solidFill>
                  <a:srgbClr val="000000"/>
                </a:solidFill>
                <a:effectLst/>
                <a:uLnTx/>
                <a:uFillTx/>
                <a:latin typeface="Arial"/>
                <a:cs typeface="Arial"/>
                <a:sym typeface="Arial"/>
              </a:rPr>
              <a:t> Road</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Soufriere World Heritage Point</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cepts &amp; Designs</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TA – Building Asse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p:txBody>
      </p:sp>
      <p:pic>
        <p:nvPicPr>
          <p:cNvPr id="5" name="Picture 4" descr="A large rock with a logo on it&#10;&#10;Description automatically generated">
            <a:extLst>
              <a:ext uri="{FF2B5EF4-FFF2-40B4-BE49-F238E27FC236}">
                <a16:creationId xmlns:a16="http://schemas.microsoft.com/office/drawing/2014/main" id="{DCE55888-C320-2618-7E58-8291B15FD8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33771" y="1749828"/>
            <a:ext cx="5556850" cy="4183606"/>
          </a:xfrm>
          <a:prstGeom prst="rect">
            <a:avLst/>
          </a:prstGeom>
          <a:ln>
            <a:noFill/>
          </a:ln>
          <a:effectLst>
            <a:softEdge rad="112500"/>
          </a:effectLst>
        </p:spPr>
      </p:pic>
    </p:spTree>
    <p:extLst>
      <p:ext uri="{BB962C8B-B14F-4D97-AF65-F5344CB8AC3E}">
        <p14:creationId xmlns:p14="http://schemas.microsoft.com/office/powerpoint/2010/main" val="180874324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40" y="-119743"/>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AMPITHEATRES</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056912" y="1652570"/>
            <a:ext cx="5705842" cy="43781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Open-Air Structure</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Locations:</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Belle Vue Community</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Serenity Park</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Pierrot Community</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700" b="1" i="0" u="none" strike="noStrike" kern="0" cap="none" spc="0" normalizeH="0" baseline="0" noProof="0" dirty="0">
              <a:ln>
                <a:noFill/>
              </a:ln>
              <a:solidFill>
                <a:srgbClr val="BFE4FF"/>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x-none" sz="70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x-none"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oncepts &amp; Designs</a:t>
            </a:r>
            <a:endParaRPr kumimoji="0" lang="x-none" sz="20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Tx/>
              <a:buChar char="-"/>
              <a:tabLst/>
              <a:defRPr/>
            </a:pPr>
            <a:endParaRPr kumimoji="0" lang="x-none" sz="1050" b="1" i="0" u="none" strike="noStrike" kern="0" cap="none" spc="0" normalizeH="0" baseline="0" noProof="0" dirty="0">
              <a:ln>
                <a:noFill/>
              </a:ln>
              <a:solidFill>
                <a:srgbClr val="BFE4FF"/>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CTA – Building Asse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Vend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Artists</a:t>
            </a:r>
          </a:p>
        </p:txBody>
      </p:sp>
      <p:pic>
        <p:nvPicPr>
          <p:cNvPr id="3" name="Picture 2" descr="A fountain in a park&#10;&#10;Description automatically generated">
            <a:extLst>
              <a:ext uri="{FF2B5EF4-FFF2-40B4-BE49-F238E27FC236}">
                <a16:creationId xmlns:a16="http://schemas.microsoft.com/office/drawing/2014/main" id="{42F19A86-F7AF-DA9D-2357-F5FC33C3F0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7303" y="1652569"/>
            <a:ext cx="5633884" cy="4246153"/>
          </a:xfrm>
          <a:prstGeom prst="rect">
            <a:avLst/>
          </a:prstGeom>
          <a:ln>
            <a:noFill/>
          </a:ln>
          <a:effectLst>
            <a:softEdge rad="112500"/>
          </a:effectLst>
        </p:spPr>
      </p:pic>
    </p:spTree>
    <p:extLst>
      <p:ext uri="{BB962C8B-B14F-4D97-AF65-F5344CB8AC3E}">
        <p14:creationId xmlns:p14="http://schemas.microsoft.com/office/powerpoint/2010/main" val="7350531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11339" y="155560"/>
            <a:ext cx="11824854" cy="106903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
                <a:srgbClr val="000000"/>
              </a:buClr>
              <a:buSzTx/>
              <a:buFont typeface="Arial"/>
              <a:buNone/>
              <a:tabLst/>
              <a:defRPr/>
            </a:pPr>
            <a:r>
              <a:rPr kumimoji="0" lang="en-US" sz="60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Agency FB" panose="020B0503020202020204" pitchFamily="34" charset="0"/>
                <a:ea typeface="+mj-ea"/>
                <a:cs typeface="+mj-cs"/>
                <a:sym typeface="Arial"/>
              </a:rPr>
              <a:t>UNDERWATER SCULPTURE PARK</a:t>
            </a:r>
          </a:p>
        </p:txBody>
      </p:sp>
      <p:cxnSp>
        <p:nvCxnSpPr>
          <p:cNvPr id="9" name="Straight Connector 8"/>
          <p:cNvCxnSpPr/>
          <p:nvPr/>
        </p:nvCxnSpPr>
        <p:spPr>
          <a:xfrm flipV="1">
            <a:off x="1056912" y="1098255"/>
            <a:ext cx="9933709" cy="10390"/>
          </a:xfrm>
          <a:prstGeom prst="line">
            <a:avLst/>
          </a:prstGeom>
          <a:ln w="57150"/>
        </p:spPr>
        <p:style>
          <a:lnRef idx="1">
            <a:schemeClr val="accent2"/>
          </a:lnRef>
          <a:fillRef idx="0">
            <a:schemeClr val="accent2"/>
          </a:fillRef>
          <a:effectRef idx="0">
            <a:schemeClr val="accent2"/>
          </a:effectRef>
          <a:fontRef idx="minor">
            <a:schemeClr val="tx1"/>
          </a:fontRef>
        </p:style>
      </p:cxnSp>
      <p:sp>
        <p:nvSpPr>
          <p:cNvPr id="13" name="TextBox 12">
            <a:extLst>
              <a:ext uri="{FF2B5EF4-FFF2-40B4-BE49-F238E27FC236}">
                <a16:creationId xmlns:a16="http://schemas.microsoft.com/office/drawing/2014/main" id="{A25B4FFB-3944-4480-ADD5-63EEE2EAE1D2}"/>
              </a:ext>
            </a:extLst>
          </p:cNvPr>
          <p:cNvSpPr txBox="1"/>
          <p:nvPr/>
        </p:nvSpPr>
        <p:spPr>
          <a:xfrm>
            <a:off x="1577525" y="1890116"/>
            <a:ext cx="4213179" cy="30777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Scope of Works</a:t>
            </a:r>
            <a:r>
              <a:rPr kumimoji="0" lang="x-none" sz="2000" b="1" i="0" u="none" strike="noStrike" kern="0" cap="none" spc="0" normalizeH="0" baseline="0" noProof="0" dirty="0">
                <a:ln>
                  <a:noFill/>
                </a:ln>
                <a:solidFill>
                  <a:srgbClr val="0070C0"/>
                </a:solidFill>
                <a:effectLst/>
                <a:uLnTx/>
                <a:uFillTx/>
                <a:latin typeface="Arial"/>
                <a:cs typeface="Arial"/>
                <a:sym typeface="Arial"/>
              </a:rPr>
              <a:t>: </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Underwater Structures</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Ø"/>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Implementation Phase: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Storyboard Competition and Feasibility Stud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1" i="0" u="none" strike="noStrike" kern="0" cap="none" spc="0" normalizeH="0" baseline="0" noProof="0" dirty="0">
              <a:ln>
                <a:noFill/>
              </a:ln>
              <a:solidFill>
                <a:srgbClr val="0070C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0070C0"/>
                </a:solidFill>
                <a:effectLst/>
                <a:uLnTx/>
                <a:uFillTx/>
                <a:latin typeface="Arial"/>
                <a:cs typeface="Arial"/>
                <a:sym typeface="Arial"/>
              </a:rPr>
              <a:t>Beneficiarie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Tour Operator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000000"/>
                </a:solidFill>
                <a:effectLst/>
                <a:uLnTx/>
                <a:uFillTx/>
                <a:latin typeface="Arial"/>
                <a:cs typeface="Arial"/>
                <a:sym typeface="Arial"/>
              </a:rPr>
              <a:t>Divers</a:t>
            </a:r>
            <a:endParaRPr kumimoji="0" lang="en-US" sz="2000" b="0" i="1" u="none" strike="noStrike" kern="0" cap="none" spc="0" normalizeH="0" baseline="0" noProof="0" dirty="0">
              <a:ln>
                <a:noFill/>
              </a:ln>
              <a:solidFill>
                <a:srgbClr val="000000"/>
              </a:solidFill>
              <a:effectLst/>
              <a:uLnTx/>
              <a:uFillTx/>
              <a:latin typeface="Arial"/>
              <a:cs typeface="Arial"/>
              <a:sym typeface="Arial"/>
            </a:endParaRPr>
          </a:p>
        </p:txBody>
      </p:sp>
      <p:pic>
        <p:nvPicPr>
          <p:cNvPr id="7" name="Picture 6">
            <a:extLst>
              <a:ext uri="{FF2B5EF4-FFF2-40B4-BE49-F238E27FC236}">
                <a16:creationId xmlns:a16="http://schemas.microsoft.com/office/drawing/2014/main" id="{82A64431-AA53-93F8-78B4-7AAF52D12CBD}"/>
              </a:ext>
            </a:extLst>
          </p:cNvPr>
          <p:cNvPicPr>
            <a:picLocks noChangeAspect="1"/>
          </p:cNvPicPr>
          <p:nvPr/>
        </p:nvPicPr>
        <p:blipFill>
          <a:blip r:embed="rId2"/>
          <a:stretch>
            <a:fillRect/>
          </a:stretch>
        </p:blipFill>
        <p:spPr>
          <a:xfrm>
            <a:off x="5552708" y="1418619"/>
            <a:ext cx="5297741" cy="4020761"/>
          </a:xfrm>
          <a:prstGeom prst="rect">
            <a:avLst/>
          </a:prstGeom>
          <a:ln>
            <a:noFill/>
          </a:ln>
          <a:effectLst>
            <a:softEdge rad="112500"/>
          </a:effectLst>
        </p:spPr>
      </p:pic>
    </p:spTree>
    <p:extLst>
      <p:ext uri="{BB962C8B-B14F-4D97-AF65-F5344CB8AC3E}">
        <p14:creationId xmlns:p14="http://schemas.microsoft.com/office/powerpoint/2010/main" val="137992119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D89BE-6874-41C4-8EEA-B50309E3F221}"/>
              </a:ext>
            </a:extLst>
          </p:cNvPr>
          <p:cNvSpPr>
            <a:spLocks noGrp="1"/>
          </p:cNvSpPr>
          <p:nvPr>
            <p:ph type="title"/>
          </p:nvPr>
        </p:nvSpPr>
        <p:spPr/>
        <p:txBody>
          <a:bodyPr/>
          <a:lstStyle/>
          <a:p>
            <a:r>
              <a:rPr lang="en-US" b="1" dirty="0">
                <a:latin typeface="Open sans"/>
              </a:rPr>
              <a:t>TOURISM DEVELOPMENT ACT, NO.1 OF 2024</a:t>
            </a:r>
          </a:p>
        </p:txBody>
      </p:sp>
      <p:pic>
        <p:nvPicPr>
          <p:cNvPr id="5" name="Picture 4">
            <a:extLst>
              <a:ext uri="{FF2B5EF4-FFF2-40B4-BE49-F238E27FC236}">
                <a16:creationId xmlns:a16="http://schemas.microsoft.com/office/drawing/2014/main" id="{6BB16294-E47B-48AF-9AC8-6040E270E1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3362" y="2228849"/>
            <a:ext cx="4105275" cy="4105275"/>
          </a:xfrm>
          <a:prstGeom prst="rect">
            <a:avLst/>
          </a:prstGeom>
        </p:spPr>
      </p:pic>
    </p:spTree>
    <p:extLst>
      <p:ext uri="{BB962C8B-B14F-4D97-AF65-F5344CB8AC3E}">
        <p14:creationId xmlns:p14="http://schemas.microsoft.com/office/powerpoint/2010/main" val="10931754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9A524B2-234F-4613-9536-047EFEC621C2}"/>
              </a:ext>
            </a:extLst>
          </p:cNvPr>
          <p:cNvSpPr txBox="1"/>
          <p:nvPr/>
        </p:nvSpPr>
        <p:spPr>
          <a:xfrm>
            <a:off x="1390650" y="1790699"/>
            <a:ext cx="8753475" cy="2800767"/>
          </a:xfrm>
          <a:prstGeom prst="rect">
            <a:avLst/>
          </a:prstGeom>
          <a:noFill/>
        </p:spPr>
        <p:txBody>
          <a:bodyPr wrap="square" rtlCol="0">
            <a:spAutoFit/>
          </a:bodyPr>
          <a:lstStyle/>
          <a:p>
            <a:pPr algn="ctr"/>
            <a:r>
              <a:rPr lang="en-US" sz="4400" b="1" dirty="0">
                <a:latin typeface="Open sans" panose="020B0606030504020204"/>
              </a:rPr>
              <a:t>THANK YOU !</a:t>
            </a:r>
          </a:p>
          <a:p>
            <a:pPr algn="ctr"/>
            <a:endParaRPr lang="en-US" sz="4400" b="1" dirty="0">
              <a:latin typeface="Open sans" panose="020B0606030504020204"/>
            </a:endParaRPr>
          </a:p>
          <a:p>
            <a:pPr algn="ctr"/>
            <a:endParaRPr lang="en-US" sz="4400" b="1" dirty="0">
              <a:latin typeface="Open sans" panose="020B0606030504020204"/>
            </a:endParaRPr>
          </a:p>
          <a:p>
            <a:pPr algn="ctr"/>
            <a:r>
              <a:rPr lang="en-US" sz="4400" b="1" dirty="0">
                <a:latin typeface="Open sans" panose="020B0606030504020204"/>
              </a:rPr>
              <a:t>QUESTION AND ANSWERS </a:t>
            </a:r>
          </a:p>
        </p:txBody>
      </p:sp>
      <p:pic>
        <p:nvPicPr>
          <p:cNvPr id="4" name="Graphic 3" descr="Handshake">
            <a:extLst>
              <a:ext uri="{FF2B5EF4-FFF2-40B4-BE49-F238E27FC236}">
                <a16:creationId xmlns:a16="http://schemas.microsoft.com/office/drawing/2014/main" id="{B1FDC902-D606-45AE-8321-84FFE7F13C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10187" y="2733882"/>
            <a:ext cx="914400" cy="914400"/>
          </a:xfrm>
          <a:prstGeom prst="rect">
            <a:avLst/>
          </a:prstGeom>
        </p:spPr>
      </p:pic>
    </p:spTree>
    <p:extLst>
      <p:ext uri="{BB962C8B-B14F-4D97-AF65-F5344CB8AC3E}">
        <p14:creationId xmlns:p14="http://schemas.microsoft.com/office/powerpoint/2010/main" val="4199321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7">
            <a:extLst>
              <a:ext uri="{FF2B5EF4-FFF2-40B4-BE49-F238E27FC236}">
                <a16:creationId xmlns:a16="http://schemas.microsoft.com/office/drawing/2014/main" id="{792D2F52-9CEC-1911-8EB2-8B8680F0C0ED}"/>
              </a:ext>
            </a:extLst>
          </p:cNvPr>
          <p:cNvSpPr/>
          <p:nvPr/>
        </p:nvSpPr>
        <p:spPr>
          <a:xfrm>
            <a:off x="258766" y="2366616"/>
            <a:ext cx="1815306" cy="3630611"/>
          </a:xfrm>
          <a:custGeom>
            <a:avLst/>
            <a:gdLst>
              <a:gd name="connsiteX0" fmla="*/ 0 w 4613275"/>
              <a:gd name="connsiteY0" fmla="*/ 0 h 9226550"/>
              <a:gd name="connsiteX1" fmla="*/ 4613275 w 4613275"/>
              <a:gd name="connsiteY1" fmla="*/ 4613275 h 9226550"/>
              <a:gd name="connsiteX2" fmla="*/ 0 w 4613275"/>
              <a:gd name="connsiteY2" fmla="*/ 9226550 h 9226550"/>
              <a:gd name="connsiteX3" fmla="*/ 0 w 4613275"/>
              <a:gd name="connsiteY3" fmla="*/ 8926779 h 9226550"/>
              <a:gd name="connsiteX4" fmla="*/ 4313504 w 4613275"/>
              <a:gd name="connsiteY4" fmla="*/ 4613275 h 9226550"/>
              <a:gd name="connsiteX5" fmla="*/ 0 w 4613275"/>
              <a:gd name="connsiteY5" fmla="*/ 299771 h 922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13275" h="9226550">
                <a:moveTo>
                  <a:pt x="0" y="0"/>
                </a:moveTo>
                <a:cubicBezTo>
                  <a:pt x="2547841" y="0"/>
                  <a:pt x="4613275" y="2065434"/>
                  <a:pt x="4613275" y="4613275"/>
                </a:cubicBezTo>
                <a:cubicBezTo>
                  <a:pt x="4613275" y="7161116"/>
                  <a:pt x="2547841" y="9226550"/>
                  <a:pt x="0" y="9226550"/>
                </a:cubicBezTo>
                <a:lnTo>
                  <a:pt x="0" y="8926779"/>
                </a:lnTo>
                <a:cubicBezTo>
                  <a:pt x="2382282" y="8926779"/>
                  <a:pt x="4313504" y="6995557"/>
                  <a:pt x="4313504" y="4613275"/>
                </a:cubicBezTo>
                <a:cubicBezTo>
                  <a:pt x="4313504" y="2230993"/>
                  <a:pt x="2382282" y="299771"/>
                  <a:pt x="0" y="299771"/>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tx1"/>
              </a:solidFill>
              <a:latin typeface="Lato Light" panose="020F0502020204030203" pitchFamily="34" charset="0"/>
            </a:endParaRPr>
          </a:p>
        </p:txBody>
      </p:sp>
      <p:sp>
        <p:nvSpPr>
          <p:cNvPr id="4" name="Rounded Rectangle 39">
            <a:extLst>
              <a:ext uri="{FF2B5EF4-FFF2-40B4-BE49-F238E27FC236}">
                <a16:creationId xmlns:a16="http://schemas.microsoft.com/office/drawing/2014/main" id="{DEBDDA83-1A95-A767-D40A-308D9EE51FDF}"/>
              </a:ext>
            </a:extLst>
          </p:cNvPr>
          <p:cNvSpPr/>
          <p:nvPr/>
        </p:nvSpPr>
        <p:spPr>
          <a:xfrm>
            <a:off x="691110" y="1565166"/>
            <a:ext cx="5694957" cy="77482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1" name="Oval 10">
            <a:extLst>
              <a:ext uri="{FF2B5EF4-FFF2-40B4-BE49-F238E27FC236}">
                <a16:creationId xmlns:a16="http://schemas.microsoft.com/office/drawing/2014/main" id="{A70F24F2-FB0E-7BA0-889D-A77E5CF5500B}"/>
              </a:ext>
            </a:extLst>
          </p:cNvPr>
          <p:cNvSpPr/>
          <p:nvPr/>
        </p:nvSpPr>
        <p:spPr>
          <a:xfrm>
            <a:off x="659321" y="1568047"/>
            <a:ext cx="774826" cy="77482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2" name="TextBox 11">
            <a:extLst>
              <a:ext uri="{FF2B5EF4-FFF2-40B4-BE49-F238E27FC236}">
                <a16:creationId xmlns:a16="http://schemas.microsoft.com/office/drawing/2014/main" id="{FDD54DAE-1DDA-B94A-F092-F6C3AF5F1B0B}"/>
              </a:ext>
            </a:extLst>
          </p:cNvPr>
          <p:cNvSpPr txBox="1"/>
          <p:nvPr/>
        </p:nvSpPr>
        <p:spPr>
          <a:xfrm>
            <a:off x="844206" y="1697951"/>
            <a:ext cx="328937"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1</a:t>
            </a:r>
          </a:p>
        </p:txBody>
      </p:sp>
      <p:sp>
        <p:nvSpPr>
          <p:cNvPr id="14" name="TextBox 13">
            <a:extLst>
              <a:ext uri="{FF2B5EF4-FFF2-40B4-BE49-F238E27FC236}">
                <a16:creationId xmlns:a16="http://schemas.microsoft.com/office/drawing/2014/main" id="{41889BC2-E4AF-E251-C0B3-716F0B5BBA4B}"/>
              </a:ext>
            </a:extLst>
          </p:cNvPr>
          <p:cNvSpPr txBox="1"/>
          <p:nvPr/>
        </p:nvSpPr>
        <p:spPr>
          <a:xfrm>
            <a:off x="1046734" y="1609302"/>
            <a:ext cx="5116892" cy="960904"/>
          </a:xfrm>
          <a:prstGeom prst="rect">
            <a:avLst/>
          </a:prstGeom>
          <a:noFill/>
        </p:spPr>
        <p:txBody>
          <a:bodyPr wrap="squar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Legislation is dated and does not reflect current industry environment</a:t>
            </a:r>
          </a:p>
          <a:p>
            <a:pPr algn="ctr">
              <a:lnSpc>
                <a:spcPts val="2250"/>
              </a:lnSpc>
            </a:pPr>
            <a:endParaRPr lang="en-US" sz="1600" b="1" dirty="0">
              <a:solidFill>
                <a:schemeClr val="bg1"/>
              </a:solidFill>
              <a:latin typeface="Poppins" pitchFamily="2" charset="77"/>
              <a:ea typeface="League Spartan" charset="0"/>
              <a:cs typeface="Poppins" pitchFamily="2" charset="77"/>
            </a:endParaRPr>
          </a:p>
        </p:txBody>
      </p:sp>
      <p:sp>
        <p:nvSpPr>
          <p:cNvPr id="15" name="Rounded Rectangle 57">
            <a:extLst>
              <a:ext uri="{FF2B5EF4-FFF2-40B4-BE49-F238E27FC236}">
                <a16:creationId xmlns:a16="http://schemas.microsoft.com/office/drawing/2014/main" id="{282113E1-9088-BB6C-63A8-E9807BFC1CF1}"/>
              </a:ext>
            </a:extLst>
          </p:cNvPr>
          <p:cNvSpPr/>
          <p:nvPr/>
        </p:nvSpPr>
        <p:spPr>
          <a:xfrm>
            <a:off x="2121534" y="3342616"/>
            <a:ext cx="8145730" cy="77482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6" name="Oval 15">
            <a:extLst>
              <a:ext uri="{FF2B5EF4-FFF2-40B4-BE49-F238E27FC236}">
                <a16:creationId xmlns:a16="http://schemas.microsoft.com/office/drawing/2014/main" id="{84558E8B-B3F8-D41A-6BAA-9CA370F6B783}"/>
              </a:ext>
            </a:extLst>
          </p:cNvPr>
          <p:cNvSpPr/>
          <p:nvPr/>
        </p:nvSpPr>
        <p:spPr>
          <a:xfrm>
            <a:off x="2121534" y="3342616"/>
            <a:ext cx="774826" cy="77482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TextBox 16">
            <a:extLst>
              <a:ext uri="{FF2B5EF4-FFF2-40B4-BE49-F238E27FC236}">
                <a16:creationId xmlns:a16="http://schemas.microsoft.com/office/drawing/2014/main" id="{65FA9657-EA30-6E3D-2958-E517C5F808B4}"/>
              </a:ext>
            </a:extLst>
          </p:cNvPr>
          <p:cNvSpPr txBox="1"/>
          <p:nvPr/>
        </p:nvSpPr>
        <p:spPr>
          <a:xfrm>
            <a:off x="2299772" y="3453030"/>
            <a:ext cx="417102"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3</a:t>
            </a:r>
          </a:p>
        </p:txBody>
      </p:sp>
      <p:sp>
        <p:nvSpPr>
          <p:cNvPr id="18" name="Rounded Rectangle 64">
            <a:extLst>
              <a:ext uri="{FF2B5EF4-FFF2-40B4-BE49-F238E27FC236}">
                <a16:creationId xmlns:a16="http://schemas.microsoft.com/office/drawing/2014/main" id="{1B188A94-0EE9-D991-B0E3-54C4155B8CDB}"/>
              </a:ext>
            </a:extLst>
          </p:cNvPr>
          <p:cNvSpPr/>
          <p:nvPr/>
        </p:nvSpPr>
        <p:spPr>
          <a:xfrm>
            <a:off x="2074072" y="5152277"/>
            <a:ext cx="7331692" cy="77482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Oval 18">
            <a:extLst>
              <a:ext uri="{FF2B5EF4-FFF2-40B4-BE49-F238E27FC236}">
                <a16:creationId xmlns:a16="http://schemas.microsoft.com/office/drawing/2014/main" id="{3317CD25-DD41-4263-701C-5B86D139C7F2}"/>
              </a:ext>
            </a:extLst>
          </p:cNvPr>
          <p:cNvSpPr/>
          <p:nvPr/>
        </p:nvSpPr>
        <p:spPr>
          <a:xfrm>
            <a:off x="2008754" y="5135130"/>
            <a:ext cx="774826" cy="77482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0" name="TextBox 19">
            <a:extLst>
              <a:ext uri="{FF2B5EF4-FFF2-40B4-BE49-F238E27FC236}">
                <a16:creationId xmlns:a16="http://schemas.microsoft.com/office/drawing/2014/main" id="{8B9D05DA-0D08-D55C-86A5-CA850DE68CE6}"/>
              </a:ext>
            </a:extLst>
          </p:cNvPr>
          <p:cNvSpPr txBox="1"/>
          <p:nvPr/>
        </p:nvSpPr>
        <p:spPr>
          <a:xfrm>
            <a:off x="2178799" y="5262691"/>
            <a:ext cx="434735"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5</a:t>
            </a:r>
          </a:p>
        </p:txBody>
      </p:sp>
      <p:sp>
        <p:nvSpPr>
          <p:cNvPr id="21" name="Rounded Rectangle 71">
            <a:extLst>
              <a:ext uri="{FF2B5EF4-FFF2-40B4-BE49-F238E27FC236}">
                <a16:creationId xmlns:a16="http://schemas.microsoft.com/office/drawing/2014/main" id="{C02037F0-72D4-D481-189E-1BD76CB5EB73}"/>
              </a:ext>
            </a:extLst>
          </p:cNvPr>
          <p:cNvSpPr/>
          <p:nvPr/>
        </p:nvSpPr>
        <p:spPr>
          <a:xfrm>
            <a:off x="2115421" y="4240581"/>
            <a:ext cx="9817813" cy="774826"/>
          </a:xfrm>
          <a:prstGeom prst="round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2" name="Oval 21">
            <a:extLst>
              <a:ext uri="{FF2B5EF4-FFF2-40B4-BE49-F238E27FC236}">
                <a16:creationId xmlns:a16="http://schemas.microsoft.com/office/drawing/2014/main" id="{9D014172-1431-BD9D-BD86-938695435899}"/>
              </a:ext>
            </a:extLst>
          </p:cNvPr>
          <p:cNvSpPr/>
          <p:nvPr/>
        </p:nvSpPr>
        <p:spPr>
          <a:xfrm>
            <a:off x="2115422" y="4240581"/>
            <a:ext cx="774826" cy="77482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3" name="TextBox 22">
            <a:extLst>
              <a:ext uri="{FF2B5EF4-FFF2-40B4-BE49-F238E27FC236}">
                <a16:creationId xmlns:a16="http://schemas.microsoft.com/office/drawing/2014/main" id="{9D4BC7FA-1CEB-C67E-5228-34C2BD8A86A9}"/>
              </a:ext>
            </a:extLst>
          </p:cNvPr>
          <p:cNvSpPr txBox="1"/>
          <p:nvPr/>
        </p:nvSpPr>
        <p:spPr>
          <a:xfrm>
            <a:off x="2280035" y="4350995"/>
            <a:ext cx="444353"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4</a:t>
            </a:r>
          </a:p>
        </p:txBody>
      </p:sp>
      <p:sp>
        <p:nvSpPr>
          <p:cNvPr id="24" name="TextBox 23">
            <a:extLst>
              <a:ext uri="{FF2B5EF4-FFF2-40B4-BE49-F238E27FC236}">
                <a16:creationId xmlns:a16="http://schemas.microsoft.com/office/drawing/2014/main" id="{4E1EDDC7-0E81-C53B-6936-6F03172D6475}"/>
              </a:ext>
            </a:extLst>
          </p:cNvPr>
          <p:cNvSpPr txBox="1"/>
          <p:nvPr/>
        </p:nvSpPr>
        <p:spPr>
          <a:xfrm>
            <a:off x="3074598" y="3429467"/>
            <a:ext cx="7192666" cy="665952"/>
          </a:xfrm>
          <a:prstGeom prst="rect">
            <a:avLst/>
          </a:prstGeom>
          <a:noFill/>
        </p:spPr>
        <p:txBody>
          <a:bodyPr wrap="squar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Improvement of quality and diversity </a:t>
            </a:r>
          </a:p>
          <a:p>
            <a:pPr algn="ctr">
              <a:lnSpc>
                <a:spcPts val="2250"/>
              </a:lnSpc>
            </a:pPr>
            <a:r>
              <a:rPr lang="en-US" sz="1600" b="1" dirty="0">
                <a:solidFill>
                  <a:schemeClr val="bg1"/>
                </a:solidFill>
                <a:latin typeface="Poppins" pitchFamily="2" charset="77"/>
                <a:ea typeface="League Spartan" charset="0"/>
                <a:cs typeface="Poppins" pitchFamily="2" charset="77"/>
              </a:rPr>
              <a:t>of tourism products on island</a:t>
            </a:r>
          </a:p>
        </p:txBody>
      </p:sp>
      <p:sp>
        <p:nvSpPr>
          <p:cNvPr id="25" name="Rounded Rectangle 78">
            <a:extLst>
              <a:ext uri="{FF2B5EF4-FFF2-40B4-BE49-F238E27FC236}">
                <a16:creationId xmlns:a16="http://schemas.microsoft.com/office/drawing/2014/main" id="{A1656EF6-2CF5-E4D6-519E-6B664766A5A6}"/>
              </a:ext>
            </a:extLst>
          </p:cNvPr>
          <p:cNvSpPr/>
          <p:nvPr/>
        </p:nvSpPr>
        <p:spPr>
          <a:xfrm>
            <a:off x="1665452" y="2457376"/>
            <a:ext cx="5832628" cy="774826"/>
          </a:xfrm>
          <a:prstGeom prst="round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6" name="Oval 25">
            <a:extLst>
              <a:ext uri="{FF2B5EF4-FFF2-40B4-BE49-F238E27FC236}">
                <a16:creationId xmlns:a16="http://schemas.microsoft.com/office/drawing/2014/main" id="{854804DA-50D0-24CD-8A55-C1C94AC17196}"/>
              </a:ext>
            </a:extLst>
          </p:cNvPr>
          <p:cNvSpPr/>
          <p:nvPr/>
        </p:nvSpPr>
        <p:spPr>
          <a:xfrm>
            <a:off x="1665452" y="2457376"/>
            <a:ext cx="774826" cy="77482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7" name="TextBox 26">
            <a:extLst>
              <a:ext uri="{FF2B5EF4-FFF2-40B4-BE49-F238E27FC236}">
                <a16:creationId xmlns:a16="http://schemas.microsoft.com/office/drawing/2014/main" id="{EB80F18F-4C53-D786-906C-D634A266B20B}"/>
              </a:ext>
            </a:extLst>
          </p:cNvPr>
          <p:cNvSpPr txBox="1"/>
          <p:nvPr/>
        </p:nvSpPr>
        <p:spPr>
          <a:xfrm>
            <a:off x="1850103" y="2567790"/>
            <a:ext cx="404278"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2</a:t>
            </a:r>
          </a:p>
        </p:txBody>
      </p:sp>
      <p:sp>
        <p:nvSpPr>
          <p:cNvPr id="28" name="TextBox 27">
            <a:extLst>
              <a:ext uri="{FF2B5EF4-FFF2-40B4-BE49-F238E27FC236}">
                <a16:creationId xmlns:a16="http://schemas.microsoft.com/office/drawing/2014/main" id="{9D04C975-E522-E82B-9E98-5553A6AAFA72}"/>
              </a:ext>
            </a:extLst>
          </p:cNvPr>
          <p:cNvSpPr txBox="1"/>
          <p:nvPr/>
        </p:nvSpPr>
        <p:spPr>
          <a:xfrm>
            <a:off x="2850809" y="4481141"/>
            <a:ext cx="9082426" cy="370999"/>
          </a:xfrm>
          <a:prstGeom prst="rect">
            <a:avLst/>
          </a:prstGeom>
          <a:noFill/>
        </p:spPr>
        <p:txBody>
          <a:bodyPr wrap="squar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Incentives to encourage the improved sustainability and resilience of the industry</a:t>
            </a:r>
          </a:p>
        </p:txBody>
      </p:sp>
      <p:sp>
        <p:nvSpPr>
          <p:cNvPr id="29" name="Oval 28">
            <a:extLst>
              <a:ext uri="{FF2B5EF4-FFF2-40B4-BE49-F238E27FC236}">
                <a16:creationId xmlns:a16="http://schemas.microsoft.com/office/drawing/2014/main" id="{9EDD2EEA-B8FC-ED41-F88E-50575885CA0B}"/>
              </a:ext>
            </a:extLst>
          </p:cNvPr>
          <p:cNvSpPr>
            <a:spLocks noChangeAspect="1"/>
          </p:cNvSpPr>
          <p:nvPr/>
        </p:nvSpPr>
        <p:spPr>
          <a:xfrm>
            <a:off x="1826830" y="3562602"/>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0" name="Oval 29">
            <a:extLst>
              <a:ext uri="{FF2B5EF4-FFF2-40B4-BE49-F238E27FC236}">
                <a16:creationId xmlns:a16="http://schemas.microsoft.com/office/drawing/2014/main" id="{02A13235-B015-6922-646A-70ED7DE99894}"/>
              </a:ext>
            </a:extLst>
          </p:cNvPr>
          <p:cNvSpPr>
            <a:spLocks noChangeAspect="1"/>
          </p:cNvSpPr>
          <p:nvPr/>
        </p:nvSpPr>
        <p:spPr>
          <a:xfrm>
            <a:off x="393285" y="2335739"/>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1" name="Oval 30">
            <a:extLst>
              <a:ext uri="{FF2B5EF4-FFF2-40B4-BE49-F238E27FC236}">
                <a16:creationId xmlns:a16="http://schemas.microsoft.com/office/drawing/2014/main" id="{BF9A28F0-1B96-478D-0A61-346CC95533A6}"/>
              </a:ext>
            </a:extLst>
          </p:cNvPr>
          <p:cNvSpPr>
            <a:spLocks noChangeAspect="1"/>
          </p:cNvSpPr>
          <p:nvPr/>
        </p:nvSpPr>
        <p:spPr>
          <a:xfrm>
            <a:off x="1523377" y="5183425"/>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2" name="Oval 31">
            <a:extLst>
              <a:ext uri="{FF2B5EF4-FFF2-40B4-BE49-F238E27FC236}">
                <a16:creationId xmlns:a16="http://schemas.microsoft.com/office/drawing/2014/main" id="{A56FA44E-E9C4-220D-CF49-B964E7F3AC76}"/>
              </a:ext>
            </a:extLst>
          </p:cNvPr>
          <p:cNvSpPr>
            <a:spLocks noChangeAspect="1"/>
          </p:cNvSpPr>
          <p:nvPr/>
        </p:nvSpPr>
        <p:spPr>
          <a:xfrm>
            <a:off x="1829708" y="4425899"/>
            <a:ext cx="228600" cy="2286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3" name="Oval 32">
            <a:extLst>
              <a:ext uri="{FF2B5EF4-FFF2-40B4-BE49-F238E27FC236}">
                <a16:creationId xmlns:a16="http://schemas.microsoft.com/office/drawing/2014/main" id="{CE00CB88-247C-65A5-0F8A-93225CAE02BE}"/>
              </a:ext>
            </a:extLst>
          </p:cNvPr>
          <p:cNvSpPr>
            <a:spLocks noChangeAspect="1"/>
          </p:cNvSpPr>
          <p:nvPr/>
        </p:nvSpPr>
        <p:spPr>
          <a:xfrm>
            <a:off x="1211742" y="2677343"/>
            <a:ext cx="228600" cy="2286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4" name="TextBox 33">
            <a:extLst>
              <a:ext uri="{FF2B5EF4-FFF2-40B4-BE49-F238E27FC236}">
                <a16:creationId xmlns:a16="http://schemas.microsoft.com/office/drawing/2014/main" id="{972D23EF-3EFF-643A-9F94-04C5CCEAA0EF}"/>
              </a:ext>
            </a:extLst>
          </p:cNvPr>
          <p:cNvSpPr txBox="1"/>
          <p:nvPr/>
        </p:nvSpPr>
        <p:spPr>
          <a:xfrm>
            <a:off x="2312529" y="2487568"/>
            <a:ext cx="5076065" cy="665952"/>
          </a:xfrm>
          <a:prstGeom prst="rect">
            <a:avLst/>
          </a:prstGeom>
          <a:noFill/>
        </p:spPr>
        <p:txBody>
          <a:bodyPr wrap="squar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Increased local ownership </a:t>
            </a:r>
          </a:p>
          <a:p>
            <a:pPr algn="ctr">
              <a:lnSpc>
                <a:spcPts val="2250"/>
              </a:lnSpc>
            </a:pPr>
            <a:r>
              <a:rPr lang="en-US" sz="1600" b="1" dirty="0">
                <a:solidFill>
                  <a:schemeClr val="bg1"/>
                </a:solidFill>
                <a:latin typeface="Poppins" pitchFamily="2" charset="77"/>
                <a:ea typeface="League Spartan" charset="0"/>
                <a:cs typeface="Poppins" pitchFamily="2" charset="77"/>
              </a:rPr>
              <a:t>in the tourism sector</a:t>
            </a:r>
          </a:p>
        </p:txBody>
      </p:sp>
      <p:sp>
        <p:nvSpPr>
          <p:cNvPr id="35" name="TextBox 34">
            <a:extLst>
              <a:ext uri="{FF2B5EF4-FFF2-40B4-BE49-F238E27FC236}">
                <a16:creationId xmlns:a16="http://schemas.microsoft.com/office/drawing/2014/main" id="{E3798A0A-60EB-DFFD-C999-04FABEBD1802}"/>
              </a:ext>
            </a:extLst>
          </p:cNvPr>
          <p:cNvSpPr txBox="1"/>
          <p:nvPr/>
        </p:nvSpPr>
        <p:spPr>
          <a:xfrm>
            <a:off x="3187455" y="5240490"/>
            <a:ext cx="5413661" cy="665952"/>
          </a:xfrm>
          <a:prstGeom prst="rect">
            <a:avLst/>
          </a:prstGeom>
          <a:noFill/>
        </p:spPr>
        <p:txBody>
          <a:bodyPr wrap="non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Collection of data and information to guide policy</a:t>
            </a:r>
          </a:p>
          <a:p>
            <a:pPr algn="ctr">
              <a:lnSpc>
                <a:spcPts val="2250"/>
              </a:lnSpc>
            </a:pPr>
            <a:r>
              <a:rPr lang="en-US" sz="1600" b="1" dirty="0">
                <a:solidFill>
                  <a:schemeClr val="bg1"/>
                </a:solidFill>
                <a:latin typeface="Poppins" pitchFamily="2" charset="77"/>
                <a:ea typeface="League Spartan" charset="0"/>
                <a:cs typeface="Poppins" pitchFamily="2" charset="77"/>
              </a:rPr>
              <a:t> within the tourism sector</a:t>
            </a:r>
          </a:p>
        </p:txBody>
      </p:sp>
      <p:pic>
        <p:nvPicPr>
          <p:cNvPr id="36" name="Content Placeholder 10">
            <a:extLst>
              <a:ext uri="{FF2B5EF4-FFF2-40B4-BE49-F238E27FC236}">
                <a16:creationId xmlns:a16="http://schemas.microsoft.com/office/drawing/2014/main" id="{0E9CA5A8-D7B8-701D-A54C-B176150BA96F}"/>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027828" y="1809352"/>
            <a:ext cx="3150791" cy="1464829"/>
          </a:xfrm>
          <a:prstGeom prst="rect">
            <a:avLst/>
          </a:prstGeom>
        </p:spPr>
      </p:pic>
      <p:sp>
        <p:nvSpPr>
          <p:cNvPr id="37" name="Oval 36">
            <a:extLst>
              <a:ext uri="{FF2B5EF4-FFF2-40B4-BE49-F238E27FC236}">
                <a16:creationId xmlns:a16="http://schemas.microsoft.com/office/drawing/2014/main" id="{4B3E587A-3611-CFF0-B05A-34E564FF683A}"/>
              </a:ext>
            </a:extLst>
          </p:cNvPr>
          <p:cNvSpPr>
            <a:spLocks noChangeAspect="1"/>
          </p:cNvSpPr>
          <p:nvPr/>
        </p:nvSpPr>
        <p:spPr>
          <a:xfrm>
            <a:off x="576810" y="5721447"/>
            <a:ext cx="228600" cy="2286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8" name="Rounded Rectangle 64">
            <a:extLst>
              <a:ext uri="{FF2B5EF4-FFF2-40B4-BE49-F238E27FC236}">
                <a16:creationId xmlns:a16="http://schemas.microsoft.com/office/drawing/2014/main" id="{65DBCC0B-E247-428D-BB6C-CF2C843E1BE8}"/>
              </a:ext>
            </a:extLst>
          </p:cNvPr>
          <p:cNvSpPr/>
          <p:nvPr/>
        </p:nvSpPr>
        <p:spPr>
          <a:xfrm>
            <a:off x="973161" y="5991344"/>
            <a:ext cx="9414758" cy="774826"/>
          </a:xfrm>
          <a:prstGeom prst="roundRect">
            <a:avLst>
              <a:gd name="adj" fmla="val 5000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9" name="Oval 38">
            <a:extLst>
              <a:ext uri="{FF2B5EF4-FFF2-40B4-BE49-F238E27FC236}">
                <a16:creationId xmlns:a16="http://schemas.microsoft.com/office/drawing/2014/main" id="{E71D79EC-A70B-46FF-3CBD-6A2950F15134}"/>
              </a:ext>
            </a:extLst>
          </p:cNvPr>
          <p:cNvSpPr/>
          <p:nvPr/>
        </p:nvSpPr>
        <p:spPr>
          <a:xfrm>
            <a:off x="874284" y="5985582"/>
            <a:ext cx="774826" cy="77482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40" name="TextBox 39">
            <a:extLst>
              <a:ext uri="{FF2B5EF4-FFF2-40B4-BE49-F238E27FC236}">
                <a16:creationId xmlns:a16="http://schemas.microsoft.com/office/drawing/2014/main" id="{3C4607F9-0E3B-B824-46CE-3266FDFAC542}"/>
              </a:ext>
            </a:extLst>
          </p:cNvPr>
          <p:cNvSpPr txBox="1"/>
          <p:nvPr/>
        </p:nvSpPr>
        <p:spPr>
          <a:xfrm>
            <a:off x="1046734" y="6125544"/>
            <a:ext cx="429926" cy="553998"/>
          </a:xfrm>
          <a:prstGeom prst="rect">
            <a:avLst/>
          </a:prstGeom>
          <a:noFill/>
        </p:spPr>
        <p:txBody>
          <a:bodyPr wrap="none" rtlCol="0" anchor="ctr">
            <a:spAutoFit/>
          </a:bodyPr>
          <a:lstStyle/>
          <a:p>
            <a:pPr algn="ctr"/>
            <a:r>
              <a:rPr lang="en-US" sz="3000" b="1" dirty="0">
                <a:solidFill>
                  <a:schemeClr val="bg1"/>
                </a:solidFill>
                <a:latin typeface="Poppins" pitchFamily="2" charset="77"/>
                <a:cs typeface="Poppins" pitchFamily="2" charset="77"/>
              </a:rPr>
              <a:t>6</a:t>
            </a:r>
          </a:p>
        </p:txBody>
      </p:sp>
      <p:sp>
        <p:nvSpPr>
          <p:cNvPr id="41" name="TextBox 40">
            <a:extLst>
              <a:ext uri="{FF2B5EF4-FFF2-40B4-BE49-F238E27FC236}">
                <a16:creationId xmlns:a16="http://schemas.microsoft.com/office/drawing/2014/main" id="{E697B504-09B6-B4C5-7E7E-6BC55D7BD632}"/>
              </a:ext>
            </a:extLst>
          </p:cNvPr>
          <p:cNvSpPr txBox="1"/>
          <p:nvPr/>
        </p:nvSpPr>
        <p:spPr>
          <a:xfrm>
            <a:off x="1550233" y="6018749"/>
            <a:ext cx="8520867" cy="665952"/>
          </a:xfrm>
          <a:prstGeom prst="rect">
            <a:avLst/>
          </a:prstGeom>
          <a:noFill/>
        </p:spPr>
        <p:txBody>
          <a:bodyPr wrap="square" rtlCol="0" anchor="ctr" anchorCtr="0">
            <a:spAutoFit/>
          </a:bodyPr>
          <a:lstStyle/>
          <a:p>
            <a:pPr algn="ctr">
              <a:lnSpc>
                <a:spcPts val="2250"/>
              </a:lnSpc>
            </a:pPr>
            <a:r>
              <a:rPr lang="en-US" sz="1600" b="1" dirty="0">
                <a:solidFill>
                  <a:schemeClr val="bg1"/>
                </a:solidFill>
                <a:latin typeface="Poppins" pitchFamily="2" charset="77"/>
                <a:ea typeface="League Spartan" charset="0"/>
                <a:cs typeface="Poppins" pitchFamily="2" charset="77"/>
              </a:rPr>
              <a:t>Provision of incentives to new and emerging subsectors such as MICE, Wellness, Yachting and Marine services </a:t>
            </a:r>
            <a:r>
              <a:rPr lang="en-US" sz="1600" b="1" dirty="0" err="1">
                <a:solidFill>
                  <a:schemeClr val="bg1"/>
                </a:solidFill>
                <a:latin typeface="Poppins" pitchFamily="2" charset="77"/>
                <a:ea typeface="League Spartan" charset="0"/>
                <a:cs typeface="Poppins" pitchFamily="2" charset="77"/>
              </a:rPr>
              <a:t>etc</a:t>
            </a:r>
            <a:endParaRPr lang="en-US" sz="1600" b="1" dirty="0">
              <a:solidFill>
                <a:schemeClr val="bg1"/>
              </a:solidFill>
              <a:latin typeface="Poppins" pitchFamily="2" charset="77"/>
              <a:ea typeface="League Spartan" charset="0"/>
              <a:cs typeface="Poppins" pitchFamily="2" charset="77"/>
            </a:endParaRPr>
          </a:p>
        </p:txBody>
      </p:sp>
      <p:sp>
        <p:nvSpPr>
          <p:cNvPr id="2" name="TextBox 1">
            <a:extLst>
              <a:ext uri="{FF2B5EF4-FFF2-40B4-BE49-F238E27FC236}">
                <a16:creationId xmlns:a16="http://schemas.microsoft.com/office/drawing/2014/main" id="{558D77D3-E7D4-B649-C879-12DCD1A12CB4}"/>
              </a:ext>
            </a:extLst>
          </p:cNvPr>
          <p:cNvSpPr txBox="1"/>
          <p:nvPr/>
        </p:nvSpPr>
        <p:spPr>
          <a:xfrm>
            <a:off x="1847528" y="43766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KEY ISSUES IDENTIFIED</a:t>
            </a:r>
          </a:p>
        </p:txBody>
      </p:sp>
    </p:spTree>
    <p:extLst>
      <p:ext uri="{BB962C8B-B14F-4D97-AF65-F5344CB8AC3E}">
        <p14:creationId xmlns:p14="http://schemas.microsoft.com/office/powerpoint/2010/main" val="16130683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8D68DE75-F359-68DF-4773-F69312314428}"/>
              </a:ext>
            </a:extLst>
          </p:cNvPr>
          <p:cNvSpPr txBox="1"/>
          <p:nvPr/>
        </p:nvSpPr>
        <p:spPr>
          <a:xfrm>
            <a:off x="1847528" y="227729"/>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LEGISLATIVE IMPLICATIONS</a:t>
            </a:r>
          </a:p>
        </p:txBody>
      </p:sp>
      <p:sp>
        <p:nvSpPr>
          <p:cNvPr id="5" name="Rectangle 4">
            <a:extLst>
              <a:ext uri="{FF2B5EF4-FFF2-40B4-BE49-F238E27FC236}">
                <a16:creationId xmlns:a16="http://schemas.microsoft.com/office/drawing/2014/main" id="{8D0BAD36-F80B-D9A0-E2A9-BAE098A27FDF}"/>
              </a:ext>
            </a:extLst>
          </p:cNvPr>
          <p:cNvSpPr/>
          <p:nvPr/>
        </p:nvSpPr>
        <p:spPr>
          <a:xfrm>
            <a:off x="4514282" y="2414578"/>
            <a:ext cx="7244080" cy="3600141"/>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662712E-71BF-F19C-17B3-60C5C9004F37}"/>
              </a:ext>
            </a:extLst>
          </p:cNvPr>
          <p:cNvSpPr txBox="1"/>
          <p:nvPr/>
        </p:nvSpPr>
        <p:spPr>
          <a:xfrm>
            <a:off x="4604848" y="2468281"/>
            <a:ext cx="7153514" cy="1766189"/>
          </a:xfrm>
          <a:prstGeom prst="rect">
            <a:avLst/>
          </a:prstGeom>
          <a:noFill/>
        </p:spPr>
        <p:txBody>
          <a:bodyPr wrap="square">
            <a:spAutoFit/>
          </a:bodyPr>
          <a:lstStyle/>
          <a:p>
            <a:pPr marL="0" marR="45720" lvl="2" algn="just">
              <a:lnSpc>
                <a:spcPct val="107000"/>
              </a:lnSpc>
              <a:spcAft>
                <a:spcPts val="400"/>
              </a:spcAft>
            </a:pPr>
            <a:r>
              <a:rPr lang="en-GB" b="1" dirty="0">
                <a:ea typeface="Calibri" panose="020F0502020204030204" pitchFamily="34" charset="0"/>
              </a:rPr>
              <a:t>Acts to be repealed:</a:t>
            </a:r>
          </a:p>
          <a:p>
            <a:pPr marL="355600" marR="45720" lvl="2" indent="-355600" algn="just">
              <a:lnSpc>
                <a:spcPct val="107000"/>
              </a:lnSpc>
              <a:spcAft>
                <a:spcPts val="400"/>
              </a:spcAft>
              <a:buFont typeface="Arial" panose="020B0604020202020204" pitchFamily="34" charset="0"/>
              <a:buChar char="•"/>
            </a:pPr>
            <a:r>
              <a:rPr lang="en-GB" sz="1800" dirty="0">
                <a:effectLst/>
                <a:ea typeface="Calibri" panose="020F0502020204030204" pitchFamily="34" charset="0"/>
              </a:rPr>
              <a:t>The </a:t>
            </a:r>
            <a:r>
              <a:rPr lang="en-US" sz="1800" dirty="0">
                <a:solidFill>
                  <a:srgbClr val="000000"/>
                </a:solidFill>
                <a:effectLst/>
                <a:ea typeface="Times New Roman" panose="02020603050405020304" pitchFamily="18" charset="0"/>
              </a:rPr>
              <a:t>Tourism Incentives Act, Chapter 15.30, and </a:t>
            </a:r>
            <a:endParaRPr lang="en-US" sz="1800" dirty="0">
              <a:effectLst/>
              <a:ea typeface="Times New Roman" panose="02020603050405020304" pitchFamily="18" charset="0"/>
            </a:endParaRPr>
          </a:p>
          <a:p>
            <a:pPr marL="355600" marR="45720" lvl="2" indent="-355600" algn="just">
              <a:lnSpc>
                <a:spcPct val="107000"/>
              </a:lnSpc>
              <a:spcAft>
                <a:spcPts val="400"/>
              </a:spcAft>
              <a:buFont typeface="Arial" panose="020B0604020202020204" pitchFamily="34" charset="0"/>
              <a:buChar char="•"/>
            </a:pPr>
            <a:r>
              <a:rPr lang="en-GB" sz="1800" dirty="0">
                <a:effectLst/>
                <a:ea typeface="Calibri" panose="020F0502020204030204" pitchFamily="34" charset="0"/>
              </a:rPr>
              <a:t>The </a:t>
            </a:r>
            <a:r>
              <a:rPr lang="en-US" sz="1800" dirty="0">
                <a:solidFill>
                  <a:srgbClr val="000000"/>
                </a:solidFill>
                <a:effectLst/>
                <a:ea typeface="Times New Roman" panose="02020603050405020304" pitchFamily="18" charset="0"/>
              </a:rPr>
              <a:t>Tourism Stimulus and Investment Act, Chapter 15.03</a:t>
            </a:r>
          </a:p>
          <a:p>
            <a:pPr marL="355600" marR="45720" lvl="2" indent="-355600" algn="just">
              <a:lnSpc>
                <a:spcPct val="107000"/>
              </a:lnSpc>
              <a:spcAft>
                <a:spcPts val="400"/>
              </a:spcAft>
              <a:buFont typeface="Arial" panose="020B0604020202020204" pitchFamily="34" charset="0"/>
              <a:buChar char="•"/>
            </a:pPr>
            <a:r>
              <a:rPr lang="en-US" sz="1800" dirty="0">
                <a:solidFill>
                  <a:srgbClr val="000000"/>
                </a:solidFill>
                <a:effectLst/>
                <a:ea typeface="Times New Roman" panose="02020603050405020304" pitchFamily="18" charset="0"/>
              </a:rPr>
              <a:t>Tourism Levy Act  No. 11 of 2020</a:t>
            </a:r>
            <a:endParaRPr lang="en-US" sz="1800" dirty="0">
              <a:effectLst/>
              <a:ea typeface="Times New Roman" panose="02020603050405020304" pitchFamily="18" charset="0"/>
            </a:endParaRPr>
          </a:p>
          <a:p>
            <a:pPr marL="355600" marR="45720" lvl="2" indent="-355600" algn="just">
              <a:lnSpc>
                <a:spcPct val="107000"/>
              </a:lnSpc>
              <a:spcAft>
                <a:spcPts val="400"/>
              </a:spcAft>
              <a:buFont typeface="Arial" panose="020B0604020202020204" pitchFamily="34" charset="0"/>
              <a:buChar char="•"/>
            </a:pPr>
            <a:endParaRPr lang="en-US" sz="1800" dirty="0">
              <a:solidFill>
                <a:srgbClr val="000000"/>
              </a:solidFill>
              <a:effectLst/>
              <a:latin typeface="Calibri Light" panose="020F0302020204030204" pitchFamily="34" charset="0"/>
              <a:ea typeface="Times New Roman" panose="02020603050405020304" pitchFamily="18" charset="0"/>
            </a:endParaRPr>
          </a:p>
        </p:txBody>
      </p:sp>
      <p:sp>
        <p:nvSpPr>
          <p:cNvPr id="7" name="TextBox 6">
            <a:extLst>
              <a:ext uri="{FF2B5EF4-FFF2-40B4-BE49-F238E27FC236}">
                <a16:creationId xmlns:a16="http://schemas.microsoft.com/office/drawing/2014/main" id="{87D676D3-2AA6-47EE-0118-1DEC5747D38F}"/>
              </a:ext>
            </a:extLst>
          </p:cNvPr>
          <p:cNvSpPr txBox="1"/>
          <p:nvPr/>
        </p:nvSpPr>
        <p:spPr>
          <a:xfrm>
            <a:off x="193978" y="4337885"/>
            <a:ext cx="4116261" cy="1367234"/>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wrap="square">
            <a:spAutoFit/>
          </a:bodyPr>
          <a:lstStyle/>
          <a:p>
            <a:pPr marL="0" marR="45720" lvl="2" algn="just">
              <a:lnSpc>
                <a:spcPct val="107000"/>
              </a:lnSpc>
              <a:spcAft>
                <a:spcPts val="400"/>
              </a:spcAft>
            </a:pPr>
            <a:r>
              <a:rPr lang="en-US" b="1" dirty="0">
                <a:solidFill>
                  <a:srgbClr val="000000"/>
                </a:solidFill>
                <a:ea typeface="Times New Roman" panose="02020603050405020304" pitchFamily="18" charset="0"/>
              </a:rPr>
              <a:t>Acts Retained &amp; In Place:</a:t>
            </a:r>
          </a:p>
          <a:p>
            <a:pPr marL="355600" marR="45720" lvl="2" indent="-355600" algn="just">
              <a:lnSpc>
                <a:spcPct val="107000"/>
              </a:lnSpc>
              <a:spcAft>
                <a:spcPts val="400"/>
              </a:spcAft>
              <a:buFont typeface="Arial" panose="020B0604020202020204" pitchFamily="34" charset="0"/>
              <a:buChar char="•"/>
            </a:pPr>
            <a:r>
              <a:rPr lang="en-US" dirty="0">
                <a:solidFill>
                  <a:srgbClr val="000000"/>
                </a:solidFill>
                <a:ea typeface="Times New Roman" panose="02020603050405020304" pitchFamily="18" charset="0"/>
              </a:rPr>
              <a:t>The Saint Lucia Tourism Authority Act</a:t>
            </a:r>
          </a:p>
          <a:p>
            <a:pPr marL="355600" marR="45720" lvl="2" indent="-355600" algn="just">
              <a:lnSpc>
                <a:spcPct val="107000"/>
              </a:lnSpc>
              <a:spcAft>
                <a:spcPts val="400"/>
              </a:spcAft>
              <a:buFont typeface="Arial" panose="020B0604020202020204" pitchFamily="34" charset="0"/>
              <a:buChar char="•"/>
            </a:pPr>
            <a:r>
              <a:rPr lang="en-US" sz="1800" dirty="0">
                <a:solidFill>
                  <a:srgbClr val="000000"/>
                </a:solidFill>
                <a:effectLst/>
                <a:ea typeface="Times New Roman" panose="02020603050405020304" pitchFamily="18" charset="0"/>
              </a:rPr>
              <a:t>Community Tourism Development Act </a:t>
            </a:r>
          </a:p>
        </p:txBody>
      </p:sp>
      <p:sp>
        <p:nvSpPr>
          <p:cNvPr id="8" name="TextBox 7">
            <a:extLst>
              <a:ext uri="{FF2B5EF4-FFF2-40B4-BE49-F238E27FC236}">
                <a16:creationId xmlns:a16="http://schemas.microsoft.com/office/drawing/2014/main" id="{35F55574-B5BF-C373-0437-D00EF52DC704}"/>
              </a:ext>
            </a:extLst>
          </p:cNvPr>
          <p:cNvSpPr txBox="1"/>
          <p:nvPr/>
        </p:nvSpPr>
        <p:spPr>
          <a:xfrm>
            <a:off x="4604848" y="3837542"/>
            <a:ext cx="6948044" cy="2086725"/>
          </a:xfrm>
          <a:prstGeom prst="rect">
            <a:avLst/>
          </a:prstGeom>
          <a:noFill/>
        </p:spPr>
        <p:txBody>
          <a:bodyPr wrap="square">
            <a:spAutoFit/>
          </a:bodyPr>
          <a:lstStyle/>
          <a:p>
            <a:pPr lvl="0" algn="just">
              <a:lnSpc>
                <a:spcPct val="107000"/>
              </a:lnSpc>
              <a:spcAft>
                <a:spcPts val="600"/>
              </a:spcAft>
            </a:pPr>
            <a:r>
              <a:rPr lang="en-US" sz="1800" b="1" dirty="0">
                <a:effectLst/>
                <a:ea typeface="Times New Roman" panose="02020603050405020304" pitchFamily="18" charset="0"/>
              </a:rPr>
              <a:t>Cabinet Conclusions Superseded:</a:t>
            </a:r>
          </a:p>
          <a:p>
            <a:pPr marL="342900" indent="-342900" algn="just">
              <a:lnSpc>
                <a:spcPct val="107000"/>
              </a:lnSpc>
              <a:spcAft>
                <a:spcPts val="600"/>
              </a:spcAft>
              <a:buFont typeface="+mj-lt"/>
              <a:buAutoNum type="romanLcParenBoth"/>
            </a:pPr>
            <a:r>
              <a:rPr lang="en-US" sz="1800" dirty="0">
                <a:effectLst/>
                <a:ea typeface="Times New Roman" panose="02020603050405020304" pitchFamily="18" charset="0"/>
              </a:rPr>
              <a:t>Cabinet Conclusion No. 717 of 2011: Yachting Sector</a:t>
            </a:r>
            <a:endParaRPr lang="en-US" sz="2000" dirty="0">
              <a:effectLst/>
              <a:ea typeface="Times New Roman" panose="02020603050405020304" pitchFamily="18" charset="0"/>
            </a:endParaRPr>
          </a:p>
          <a:p>
            <a:pPr marL="342900" lvl="0" indent="-342900" algn="just">
              <a:lnSpc>
                <a:spcPct val="107000"/>
              </a:lnSpc>
              <a:spcAft>
                <a:spcPts val="600"/>
              </a:spcAft>
              <a:buFont typeface="+mj-lt"/>
              <a:buAutoNum type="romanLcParenBoth"/>
            </a:pPr>
            <a:r>
              <a:rPr lang="en-US" sz="1800" dirty="0">
                <a:effectLst/>
                <a:ea typeface="Times New Roman" panose="02020603050405020304" pitchFamily="18" charset="0"/>
              </a:rPr>
              <a:t>Cabinet Conclusion No. </a:t>
            </a:r>
            <a:r>
              <a:rPr lang="en-US" dirty="0">
                <a:ea typeface="Times New Roman" panose="02020603050405020304" pitchFamily="18" charset="0"/>
              </a:rPr>
              <a:t>504</a:t>
            </a:r>
            <a:r>
              <a:rPr lang="en-US" sz="1800" dirty="0">
                <a:effectLst/>
                <a:ea typeface="Times New Roman" panose="02020603050405020304" pitchFamily="18" charset="0"/>
              </a:rPr>
              <a:t> of 2023:  Incentives Regime for the Car Rental Subsector</a:t>
            </a:r>
          </a:p>
          <a:p>
            <a:pPr marL="342900" lvl="0" indent="-342900" algn="just">
              <a:lnSpc>
                <a:spcPct val="107000"/>
              </a:lnSpc>
              <a:spcAft>
                <a:spcPts val="600"/>
              </a:spcAft>
              <a:buFont typeface="+mj-lt"/>
              <a:buAutoNum type="romanLcParenBoth"/>
            </a:pPr>
            <a:r>
              <a:rPr lang="en-US" sz="1800" dirty="0">
                <a:effectLst/>
                <a:ea typeface="Times New Roman" panose="02020603050405020304" pitchFamily="18" charset="0"/>
              </a:rPr>
              <a:t>Cabinet Conclusion No 1189 of 2020: Incentives for Tourism Transportation (extended)</a:t>
            </a:r>
            <a:endParaRPr lang="en-US" sz="2000" dirty="0">
              <a:effectLst/>
              <a:ea typeface="Times New Roman" panose="02020603050405020304" pitchFamily="18" charset="0"/>
            </a:endParaRPr>
          </a:p>
        </p:txBody>
      </p:sp>
      <p:pic>
        <p:nvPicPr>
          <p:cNvPr id="10" name="Picture 9">
            <a:extLst>
              <a:ext uri="{FF2B5EF4-FFF2-40B4-BE49-F238E27FC236}">
                <a16:creationId xmlns:a16="http://schemas.microsoft.com/office/drawing/2014/main" id="{92C24FA2-3DE7-6588-9612-E0C01EE35D9D}"/>
              </a:ext>
            </a:extLst>
          </p:cNvPr>
          <p:cNvPicPr>
            <a:picLocks noChangeAspect="1"/>
          </p:cNvPicPr>
          <p:nvPr/>
        </p:nvPicPr>
        <p:blipFill>
          <a:blip r:embed="rId3"/>
          <a:stretch>
            <a:fillRect/>
          </a:stretch>
        </p:blipFill>
        <p:spPr>
          <a:xfrm>
            <a:off x="192552" y="2414578"/>
            <a:ext cx="4116260" cy="1418529"/>
          </a:xfrm>
          <a:prstGeom prst="rect">
            <a:avLst/>
          </a:prstGeom>
          <a:solidFill>
            <a:schemeClr val="accent6">
              <a:lumMod val="50000"/>
            </a:schemeClr>
          </a:solidFill>
          <a:ln>
            <a:solidFill>
              <a:schemeClr val="tx1"/>
            </a:solidFill>
          </a:ln>
        </p:spPr>
      </p:pic>
    </p:spTree>
    <p:extLst>
      <p:ext uri="{BB962C8B-B14F-4D97-AF65-F5344CB8AC3E}">
        <p14:creationId xmlns:p14="http://schemas.microsoft.com/office/powerpoint/2010/main" val="7900694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42EFE1-2EC0-920F-9874-1AC960FD726A}"/>
              </a:ext>
            </a:extLst>
          </p:cNvPr>
          <p:cNvSpPr txBox="1"/>
          <p:nvPr/>
        </p:nvSpPr>
        <p:spPr>
          <a:xfrm>
            <a:off x="1847528" y="437664"/>
            <a:ext cx="8496944" cy="707886"/>
          </a:xfrm>
          <a:prstGeom prst="rect">
            <a:avLst/>
          </a:prstGeom>
          <a:noFill/>
        </p:spPr>
        <p:txBody>
          <a:bodyPr wrap="square" rtlCol="0" anchor="ctr">
            <a:spAutoFit/>
          </a:bodyPr>
          <a:lstStyle/>
          <a:p>
            <a:pPr algn="ctr"/>
            <a:r>
              <a:rPr lang="en-US" sz="4000" b="1" dirty="0">
                <a:solidFill>
                  <a:schemeClr val="tx2"/>
                </a:solidFill>
                <a:latin typeface="Poppins" pitchFamily="2" charset="77"/>
                <a:cs typeface="Poppins" pitchFamily="2" charset="77"/>
              </a:rPr>
              <a:t>TOURISM DEVELOPMENT ACT</a:t>
            </a:r>
          </a:p>
        </p:txBody>
      </p:sp>
      <p:pic>
        <p:nvPicPr>
          <p:cNvPr id="3" name="Picture 2">
            <a:extLst>
              <a:ext uri="{FF2B5EF4-FFF2-40B4-BE49-F238E27FC236}">
                <a16:creationId xmlns:a16="http://schemas.microsoft.com/office/drawing/2014/main" id="{8A4EE73B-FB33-8418-B3ED-0FF7D40B153F}"/>
              </a:ext>
            </a:extLst>
          </p:cNvPr>
          <p:cNvPicPr>
            <a:picLocks noChangeAspect="1"/>
          </p:cNvPicPr>
          <p:nvPr/>
        </p:nvPicPr>
        <p:blipFill>
          <a:blip r:embed="rId3"/>
          <a:stretch>
            <a:fillRect/>
          </a:stretch>
        </p:blipFill>
        <p:spPr>
          <a:xfrm rot="938026">
            <a:off x="9210404" y="1913457"/>
            <a:ext cx="2889094" cy="1083117"/>
          </a:xfrm>
          <a:prstGeom prst="rect">
            <a:avLst/>
          </a:prstGeom>
        </p:spPr>
      </p:pic>
      <p:pic>
        <p:nvPicPr>
          <p:cNvPr id="4" name="Picture 3">
            <a:extLst>
              <a:ext uri="{FF2B5EF4-FFF2-40B4-BE49-F238E27FC236}">
                <a16:creationId xmlns:a16="http://schemas.microsoft.com/office/drawing/2014/main" id="{AA307B30-82D0-EE69-1DB3-251175396D1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210" y="2098390"/>
            <a:ext cx="3103058" cy="2534875"/>
          </a:xfrm>
          <a:prstGeom prst="rect">
            <a:avLst/>
          </a:prstGeom>
        </p:spPr>
      </p:pic>
      <p:sp>
        <p:nvSpPr>
          <p:cNvPr id="5" name="Rectangle 4">
            <a:extLst>
              <a:ext uri="{FF2B5EF4-FFF2-40B4-BE49-F238E27FC236}">
                <a16:creationId xmlns:a16="http://schemas.microsoft.com/office/drawing/2014/main" id="{6A6A170E-DBB7-93E9-77EB-71318DA3793F}"/>
              </a:ext>
            </a:extLst>
          </p:cNvPr>
          <p:cNvSpPr/>
          <p:nvPr/>
        </p:nvSpPr>
        <p:spPr>
          <a:xfrm>
            <a:off x="415974" y="2098390"/>
            <a:ext cx="3118294" cy="4678682"/>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effectLst/>
              <a:latin typeface="Calibri" panose="020F0502020204030204" pitchFamily="34" charset="0"/>
              <a:ea typeface="Times New Roman" panose="02020603050405020304" pitchFamily="18" charset="0"/>
              <a:cs typeface="Calibri Light" panose="020F0302020204030204" pitchFamily="34" charset="0"/>
            </a:endParaRPr>
          </a:p>
          <a:p>
            <a:pPr marL="0" marR="0" algn="ctr">
              <a:lnSpc>
                <a:spcPct val="107000"/>
              </a:lnSpc>
              <a:spcBef>
                <a:spcPts val="0"/>
              </a:spcBef>
              <a:spcAft>
                <a:spcPts val="0"/>
              </a:spcAft>
            </a:pPr>
            <a:endParaRPr lang="en-GB" sz="1000" b="1" cap="all" dirty="0">
              <a:solidFill>
                <a:schemeClr val="bg1"/>
              </a:solidFill>
              <a:latin typeface="Calibri" panose="020F0502020204030204" pitchFamily="34" charset="0"/>
              <a:ea typeface="Times New Roman" panose="02020603050405020304" pitchFamily="18" charset="0"/>
              <a:cs typeface="Calibri Light" panose="020F0302020204030204" pitchFamily="34" charset="0"/>
            </a:endParaRPr>
          </a:p>
        </p:txBody>
      </p:sp>
      <p:pic>
        <p:nvPicPr>
          <p:cNvPr id="6" name="Picture 5">
            <a:extLst>
              <a:ext uri="{FF2B5EF4-FFF2-40B4-BE49-F238E27FC236}">
                <a16:creationId xmlns:a16="http://schemas.microsoft.com/office/drawing/2014/main" id="{B184C3F1-C09B-1E82-E79A-AA30CB933F6B}"/>
              </a:ext>
            </a:extLst>
          </p:cNvPr>
          <p:cNvPicPr>
            <a:picLocks noChangeAspect="1"/>
          </p:cNvPicPr>
          <p:nvPr/>
        </p:nvPicPr>
        <p:blipFill>
          <a:blip r:embed="rId5">
            <a:clrChange>
              <a:clrFrom>
                <a:srgbClr val="FCFEFF"/>
              </a:clrFrom>
              <a:clrTo>
                <a:srgbClr val="FCFEFF">
                  <a:alpha val="0"/>
                </a:srgbClr>
              </a:clrTo>
            </a:clrChange>
            <a:grayscl/>
          </a:blip>
          <a:stretch>
            <a:fillRect/>
          </a:stretch>
        </p:blipFill>
        <p:spPr>
          <a:xfrm>
            <a:off x="2544398" y="3154487"/>
            <a:ext cx="946694" cy="352502"/>
          </a:xfrm>
          <a:prstGeom prst="rect">
            <a:avLst/>
          </a:prstGeom>
        </p:spPr>
      </p:pic>
      <p:sp>
        <p:nvSpPr>
          <p:cNvPr id="7" name="Rectangle 6">
            <a:extLst>
              <a:ext uri="{FF2B5EF4-FFF2-40B4-BE49-F238E27FC236}">
                <a16:creationId xmlns:a16="http://schemas.microsoft.com/office/drawing/2014/main" id="{076EE5CD-BC40-9BD2-EF94-9B9B66D0A5C6}"/>
              </a:ext>
            </a:extLst>
          </p:cNvPr>
          <p:cNvSpPr/>
          <p:nvPr/>
        </p:nvSpPr>
        <p:spPr>
          <a:xfrm>
            <a:off x="3646513" y="3063745"/>
            <a:ext cx="6603388" cy="326425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9D21AF4-9C1B-1EF1-9BC9-7AC6294AC8B1}"/>
              </a:ext>
            </a:extLst>
          </p:cNvPr>
          <p:cNvSpPr txBox="1"/>
          <p:nvPr/>
        </p:nvSpPr>
        <p:spPr>
          <a:xfrm>
            <a:off x="3937648" y="3563795"/>
            <a:ext cx="6021118" cy="1815882"/>
          </a:xfrm>
          <a:prstGeom prst="rect">
            <a:avLst/>
          </a:prstGeom>
          <a:noFill/>
        </p:spPr>
        <p:txBody>
          <a:bodyPr wrap="square">
            <a:spAutoFit/>
          </a:bodyPr>
          <a:lstStyle/>
          <a:p>
            <a:pPr algn="just"/>
            <a:r>
              <a:rPr lang="en-US" sz="2800" dirty="0">
                <a:effectLst/>
                <a:ea typeface="Times New Roman" panose="02020603050405020304" pitchFamily="18" charset="0"/>
              </a:rPr>
              <a:t>To establish a </a:t>
            </a:r>
            <a:r>
              <a:rPr lang="en-US" sz="2800" b="1" dirty="0">
                <a:effectLst/>
                <a:ea typeface="Times New Roman" panose="02020603050405020304" pitchFamily="18" charset="0"/>
              </a:rPr>
              <a:t>SINGLE</a:t>
            </a:r>
            <a:r>
              <a:rPr lang="en-US" sz="2800" dirty="0">
                <a:ea typeface="Times New Roman" panose="02020603050405020304" pitchFamily="18" charset="0"/>
              </a:rPr>
              <a:t> but </a:t>
            </a:r>
            <a:r>
              <a:rPr lang="en-US" sz="2800" b="1" dirty="0">
                <a:ea typeface="Times New Roman" panose="02020603050405020304" pitchFamily="18" charset="0"/>
              </a:rPr>
              <a:t>COMPREHENSIVE</a:t>
            </a:r>
            <a:r>
              <a:rPr lang="en-US" sz="2800" dirty="0">
                <a:effectLst/>
                <a:ea typeface="Times New Roman" panose="02020603050405020304" pitchFamily="18" charset="0"/>
              </a:rPr>
              <a:t> legal framework for </a:t>
            </a:r>
            <a:r>
              <a:rPr lang="en-US" sz="2800" b="1" dirty="0">
                <a:effectLst/>
                <a:ea typeface="Times New Roman" panose="02020603050405020304" pitchFamily="18" charset="0"/>
              </a:rPr>
              <a:t>encouraging </a:t>
            </a:r>
            <a:r>
              <a:rPr lang="en-US" sz="2800" dirty="0">
                <a:effectLst/>
                <a:ea typeface="Times New Roman" panose="02020603050405020304" pitchFamily="18" charset="0"/>
              </a:rPr>
              <a:t>and</a:t>
            </a:r>
            <a:r>
              <a:rPr lang="en-US" sz="2800" b="1" dirty="0">
                <a:effectLst/>
                <a:ea typeface="Times New Roman" panose="02020603050405020304" pitchFamily="18" charset="0"/>
              </a:rPr>
              <a:t> advancing </a:t>
            </a:r>
            <a:r>
              <a:rPr lang="en-US" sz="2800" dirty="0">
                <a:effectLst/>
                <a:ea typeface="Times New Roman" panose="02020603050405020304" pitchFamily="18" charset="0"/>
              </a:rPr>
              <a:t>tourism</a:t>
            </a:r>
            <a:r>
              <a:rPr lang="en-US" sz="2800" b="1" dirty="0">
                <a:effectLst/>
                <a:ea typeface="Times New Roman" panose="02020603050405020304" pitchFamily="18" charset="0"/>
              </a:rPr>
              <a:t> </a:t>
            </a:r>
            <a:r>
              <a:rPr lang="en-US" sz="2800" dirty="0">
                <a:effectLst/>
                <a:ea typeface="Times New Roman" panose="02020603050405020304" pitchFamily="18" charset="0"/>
              </a:rPr>
              <a:t>development in Saint Lucia.</a:t>
            </a:r>
          </a:p>
        </p:txBody>
      </p:sp>
      <p:sp>
        <p:nvSpPr>
          <p:cNvPr id="9" name="Title 1">
            <a:extLst>
              <a:ext uri="{FF2B5EF4-FFF2-40B4-BE49-F238E27FC236}">
                <a16:creationId xmlns:a16="http://schemas.microsoft.com/office/drawing/2014/main" id="{1CC42D92-3221-FF57-8EC5-10CB4E445EFE}"/>
              </a:ext>
            </a:extLst>
          </p:cNvPr>
          <p:cNvSpPr txBox="1">
            <a:spLocks/>
          </p:cNvSpPr>
          <p:nvPr/>
        </p:nvSpPr>
        <p:spPr>
          <a:xfrm>
            <a:off x="5276932" y="2877152"/>
            <a:ext cx="2947626" cy="500050"/>
          </a:xfrm>
          <a:prstGeom prst="rect">
            <a:avLst/>
          </a:prstGeom>
          <a:solidFill>
            <a:schemeClr val="accent4">
              <a:lumMod val="20000"/>
              <a:lumOff val="80000"/>
            </a:schemeClr>
          </a:solidFill>
          <a:ln>
            <a:solidFill>
              <a:srgbClr val="00B050"/>
            </a:solidFill>
          </a:ln>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Bef>
                <a:spcPts val="1200"/>
              </a:spcBef>
              <a:spcAft>
                <a:spcPts val="1200"/>
              </a:spcAft>
            </a:pPr>
            <a:r>
              <a:rPr lang="en-US" sz="2700" b="1" dirty="0"/>
              <a:t>AIM</a:t>
            </a:r>
            <a:endParaRPr lang="en-US" sz="2700" dirty="0"/>
          </a:p>
        </p:txBody>
      </p:sp>
      <p:pic>
        <p:nvPicPr>
          <p:cNvPr id="10" name="Picture 9">
            <a:extLst>
              <a:ext uri="{FF2B5EF4-FFF2-40B4-BE49-F238E27FC236}">
                <a16:creationId xmlns:a16="http://schemas.microsoft.com/office/drawing/2014/main" id="{06420B08-9B47-F991-B6F4-BD51D1738E2F}"/>
              </a:ext>
            </a:extLst>
          </p:cNvPr>
          <p:cNvPicPr>
            <a:picLocks noChangeAspect="1"/>
          </p:cNvPicPr>
          <p:nvPr/>
        </p:nvPicPr>
        <p:blipFill>
          <a:blip r:embed="rId6"/>
          <a:stretch>
            <a:fillRect/>
          </a:stretch>
        </p:blipFill>
        <p:spPr>
          <a:xfrm>
            <a:off x="4651169" y="5539340"/>
            <a:ext cx="4678379" cy="525433"/>
          </a:xfrm>
          <a:prstGeom prst="rect">
            <a:avLst/>
          </a:prstGeom>
        </p:spPr>
      </p:pic>
      <p:pic>
        <p:nvPicPr>
          <p:cNvPr id="11" name="Picture 10">
            <a:extLst>
              <a:ext uri="{FF2B5EF4-FFF2-40B4-BE49-F238E27FC236}">
                <a16:creationId xmlns:a16="http://schemas.microsoft.com/office/drawing/2014/main" id="{A0BB1798-8D59-4DA6-AE08-E210FDE67F63}"/>
              </a:ext>
            </a:extLst>
          </p:cNvPr>
          <p:cNvPicPr>
            <a:picLocks noChangeAspect="1"/>
          </p:cNvPicPr>
          <p:nvPr/>
        </p:nvPicPr>
        <p:blipFill>
          <a:blip r:embed="rId7"/>
          <a:stretch>
            <a:fillRect/>
          </a:stretch>
        </p:blipFill>
        <p:spPr>
          <a:xfrm>
            <a:off x="528219" y="4866991"/>
            <a:ext cx="2662195" cy="1283059"/>
          </a:xfrm>
          <a:prstGeom prst="rect">
            <a:avLst/>
          </a:prstGeom>
        </p:spPr>
      </p:pic>
    </p:spTree>
    <p:extLst>
      <p:ext uri="{BB962C8B-B14F-4D97-AF65-F5344CB8AC3E}">
        <p14:creationId xmlns:p14="http://schemas.microsoft.com/office/powerpoint/2010/main" val="59470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9uUzphTSWinzLlxzPMF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9Rn1_JOT1qqj2W5QlYC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9uUzphTSWinzLlxzPMF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9uUzphTSWinzLlxzPMF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d.1k8P1UjgkCklJEYf1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IUuWSoeRHmGddJdzGKK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9Rn1_JOT1qqj2W5QlYC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z2PRUTWQUOo6p_1g5EB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tL Template">
  <a:themeElements>
    <a:clrScheme name="SLU Blue">
      <a:dk1>
        <a:srgbClr val="000000"/>
      </a:dk1>
      <a:lt1>
        <a:srgbClr val="FFFFFF"/>
      </a:lt1>
      <a:dk2>
        <a:srgbClr val="5A5A5A"/>
      </a:dk2>
      <a:lt2>
        <a:srgbClr val="C6C6C6"/>
      </a:lt2>
      <a:accent1>
        <a:srgbClr val="005390"/>
      </a:accent1>
      <a:accent2>
        <a:srgbClr val="BFE4FF"/>
      </a:accent2>
      <a:accent3>
        <a:srgbClr val="40AFFF"/>
      </a:accent3>
      <a:accent4>
        <a:srgbClr val="0070C0"/>
      </a:accent4>
      <a:accent5>
        <a:srgbClr val="66CCFF"/>
      </a:accent5>
      <a:accent6>
        <a:srgbClr val="FCD11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CE80FA6E-862E-43A9-886D-43F42912FB1C}" vid="{E2BACAA4-624B-4A26-A11C-5004CFB3ACF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08</TotalTime>
  <Words>3616</Words>
  <Application>Microsoft Office PowerPoint</Application>
  <PresentationFormat>Widescreen</PresentationFormat>
  <Paragraphs>812</Paragraphs>
  <Slides>68</Slides>
  <Notes>26</Notes>
  <HiddenSlides>0</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89" baseType="lpstr">
      <vt:lpstr>Agency FB</vt:lpstr>
      <vt:lpstr>Alexandria</vt:lpstr>
      <vt:lpstr>Arial</vt:lpstr>
      <vt:lpstr>Axiforma</vt:lpstr>
      <vt:lpstr>Bebas Neue</vt:lpstr>
      <vt:lpstr>Bookman Old Style</vt:lpstr>
      <vt:lpstr>Calibri</vt:lpstr>
      <vt:lpstr>Calibri Light</vt:lpstr>
      <vt:lpstr>Calibri Light (Body)</vt:lpstr>
      <vt:lpstr>Calisto MT</vt:lpstr>
      <vt:lpstr>Georgia</vt:lpstr>
      <vt:lpstr>Lato Light</vt:lpstr>
      <vt:lpstr>Open Sans</vt:lpstr>
      <vt:lpstr>Open Sans</vt:lpstr>
      <vt:lpstr>Poppins</vt:lpstr>
      <vt:lpstr>Posterama Text SemiBold</vt:lpstr>
      <vt:lpstr>Times New Roman</vt:lpstr>
      <vt:lpstr>Wingdings</vt:lpstr>
      <vt:lpstr>Office Theme</vt:lpstr>
      <vt:lpstr>1_StL Template</vt:lpstr>
      <vt:lpstr>think-cell Slide</vt:lpstr>
      <vt:lpstr>SLHTA CHEF’S FORUM PRESENTATION</vt:lpstr>
      <vt:lpstr>PowerPoint Presentation</vt:lpstr>
      <vt:lpstr>Progress has been made so Far ...</vt:lpstr>
      <vt:lpstr>TOURISM DEVELOPMENT ACT</vt:lpstr>
      <vt:lpstr>PowerPoint Presentation</vt:lpstr>
      <vt:lpstr>PowerPoint Presentation</vt:lpstr>
      <vt:lpstr>PowerPoint Presentation</vt:lpstr>
      <vt:lpstr>PowerPoint Presentation</vt:lpstr>
      <vt:lpstr>PowerPoint Presentation</vt:lpstr>
      <vt:lpstr>PowerPoint Presentation</vt:lpstr>
      <vt:lpstr>NEW LEGISLATIVE FRAMEWORK</vt:lpstr>
      <vt:lpstr>CERTIFICATION UNIT UPDATE</vt:lpstr>
      <vt:lpstr>PowerPoint Presentation</vt:lpstr>
      <vt:lpstr>PowerPoint Presentation</vt:lpstr>
      <vt:lpstr>TOURISM CERTIFICATION COMMITTEE</vt:lpstr>
      <vt:lpstr>PowerPoint Presentation</vt:lpstr>
      <vt:lpstr>PowerPoint Presentation</vt:lpstr>
      <vt:lpstr>PowerPoint Presentation</vt:lpstr>
      <vt:lpstr>PowerPoint Presentation</vt:lpstr>
      <vt:lpstr>PowerPoint Presentation</vt:lpstr>
      <vt:lpstr>PowerPoint Presentation</vt:lpstr>
      <vt:lpstr>ROOMSTOCK</vt:lpstr>
      <vt:lpstr>PowerPoint Presentation</vt:lpstr>
      <vt:lpstr>PowerPoint Presentation</vt:lpstr>
      <vt:lpstr>PowerPoint Presentation</vt:lpstr>
      <vt:lpstr>TOURISM INCENTIVES</vt:lpstr>
      <vt:lpstr>PURPOSE OF INCENTIVES</vt:lpstr>
      <vt:lpstr>TYPES OF INCENTIVES</vt:lpstr>
      <vt:lpstr>PowerPoint Presentation</vt:lpstr>
      <vt:lpstr>PowerPoint Presentation</vt:lpstr>
      <vt:lpstr>PowerPoint Presentation</vt:lpstr>
      <vt:lpstr>COMPOSITION OF  THE COMMITTE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OVERNMENT’S INVESTMENT IN TOURISM DEVELOP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URISM DEVELOPMENT ACT, NO.1 OF 2024</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van Lewis</dc:creator>
  <cp:lastModifiedBy>Coms Officer</cp:lastModifiedBy>
  <cp:revision>47</cp:revision>
  <dcterms:created xsi:type="dcterms:W3CDTF">2024-08-14T16:15:13Z</dcterms:created>
  <dcterms:modified xsi:type="dcterms:W3CDTF">2024-08-16T17:55:12Z</dcterms:modified>
</cp:coreProperties>
</file>